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2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3" r:id="rId4"/>
    <p:sldMasterId id="2147484619" r:id="rId5"/>
  </p:sldMasterIdLst>
  <p:notesMasterIdLst>
    <p:notesMasterId r:id="rId7"/>
  </p:notesMasterIdLst>
  <p:handoutMasterIdLst>
    <p:handoutMasterId r:id="rId8"/>
  </p:handoutMasterIdLst>
  <p:sldIdLst>
    <p:sldId id="2147482081" r:id="rId6"/>
  </p:sldIdLst>
  <p:sldSz cx="12192000" cy="6858000"/>
  <p:notesSz cx="6761163" cy="9942513"/>
  <p:custDataLst>
    <p:tags r:id="rId9"/>
  </p:custDataLst>
  <p:defaultTextStyle>
    <a:defPPr>
      <a:defRPr lang="en-US"/>
    </a:defPPr>
    <a:lvl1pPr marL="0" indent="0" algn="l" defTabSz="914400" rtl="0" eaLnBrk="1" latinLnBrk="0" hangingPunct="1">
      <a:lnSpc>
        <a:spcPct val="95000"/>
      </a:lnSpc>
      <a:spcBef>
        <a:spcPts val="600"/>
      </a:spcBef>
      <a:buClr>
        <a:srgbClr val="281805"/>
      </a:buClr>
      <a:buFont typeface="Arial" panose="020B0604020202020204" pitchFamily="34" charset="0"/>
      <a:buChar char="​"/>
      <a:defRPr sz="1800" b="0" kern="100" spc="-30" baseline="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95000"/>
      </a:lnSpc>
      <a:spcBef>
        <a:spcPts val="600"/>
      </a:spcBef>
      <a:buClrTx/>
      <a:buFont typeface="Arial" panose="020B0604020202020204" pitchFamily="34" charset="0"/>
      <a:buChar char="▪"/>
      <a:defRPr sz="1800" b="0" kern="100" spc="-30" baseline="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95000"/>
      </a:lnSpc>
      <a:spcBef>
        <a:spcPts val="300"/>
      </a:spcBef>
      <a:buClrTx/>
      <a:buFont typeface="Arial" panose="020B0604020202020204" pitchFamily="34" charset="0"/>
      <a:buChar char="•"/>
      <a:defRPr sz="1600" b="0" kern="100" spc="-30" baseline="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95000"/>
      </a:lnSpc>
      <a:spcBef>
        <a:spcPts val="300"/>
      </a:spcBef>
      <a:buClrTx/>
      <a:buFont typeface="Arial" panose="020B0604020202020204" pitchFamily="34" charset="0"/>
      <a:buChar char="◦"/>
      <a:defRPr sz="1600" kern="100" spc="-30" baseline="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95000"/>
      </a:lnSpc>
      <a:spcBef>
        <a:spcPts val="300"/>
      </a:spcBef>
      <a:buClrTx/>
      <a:buSzPct val="100000"/>
      <a:buFont typeface="Arial" panose="020E0502030303020204" pitchFamily="34" charset="0"/>
      <a:buChar char="–"/>
      <a:defRPr sz="1600" kern="100" spc="-30" baseline="0">
        <a:solidFill>
          <a:schemeClr val="tx1"/>
        </a:solidFill>
        <a:latin typeface="+mn-lt"/>
        <a:ea typeface="+mn-ea"/>
        <a:cs typeface="+mn-cs"/>
      </a:defRPr>
    </a:lvl5pPr>
    <a:lvl6pPr marL="358775" indent="-358775" algn="l" defTabSz="914400" rtl="0" eaLnBrk="1" latinLnBrk="0" hangingPunct="1">
      <a:lnSpc>
        <a:spcPct val="95000"/>
      </a:lnSpc>
      <a:spcBef>
        <a:spcPts val="600"/>
      </a:spcBef>
      <a:buClr>
        <a:srgbClr val="281805"/>
      </a:buClr>
      <a:buSzPct val="90000"/>
      <a:buFont typeface="+mj-lt"/>
      <a:buAutoNum type="arabicPeriod"/>
      <a:tabLst/>
      <a:defRPr sz="1800" kern="100" spc="-30" baseline="0">
        <a:solidFill>
          <a:schemeClr val="tx1"/>
        </a:solidFill>
        <a:latin typeface="+mn-lt"/>
        <a:ea typeface="+mn-ea"/>
        <a:cs typeface="+mn-cs"/>
      </a:defRPr>
    </a:lvl6pPr>
    <a:lvl7pPr marL="540000" indent="-180000" algn="l" defTabSz="914400" rtl="0" eaLnBrk="1" latinLnBrk="0" hangingPunct="1">
      <a:lnSpc>
        <a:spcPct val="95000"/>
      </a:lnSpc>
      <a:spcBef>
        <a:spcPts val="300"/>
      </a:spcBef>
      <a:buClr>
        <a:srgbClr val="281805"/>
      </a:buClr>
      <a:buSzPct val="100000"/>
      <a:buFont typeface="Arial" panose="020E0502030303020204" pitchFamily="34" charset="0"/>
      <a:buChar char="–"/>
      <a:defRPr sz="1600" kern="100" spc="-30" baseline="0">
        <a:solidFill>
          <a:schemeClr val="tx1"/>
        </a:solidFill>
        <a:latin typeface="+mn-lt"/>
        <a:ea typeface="+mn-ea"/>
        <a:cs typeface="+mn-cs"/>
      </a:defRPr>
    </a:lvl7pPr>
    <a:lvl8pPr marL="360000" indent="-360000" algn="l" defTabSz="914400" rtl="0" eaLnBrk="1" latinLnBrk="0" hangingPunct="1">
      <a:lnSpc>
        <a:spcPct val="95000"/>
      </a:lnSpc>
      <a:spcBef>
        <a:spcPts val="600"/>
      </a:spcBef>
      <a:buClr>
        <a:srgbClr val="281805"/>
      </a:buClr>
      <a:buFont typeface="+mj-lt"/>
      <a:buAutoNum type="alphaLcPeriod"/>
      <a:defRPr sz="1800" b="0" kern="100" spc="-30" baseline="0">
        <a:solidFill>
          <a:srgbClr val="281805"/>
        </a:solidFill>
        <a:latin typeface="+mn-lt"/>
        <a:ea typeface="+mn-ea"/>
        <a:cs typeface="+mn-cs"/>
      </a:defRPr>
    </a:lvl8pPr>
    <a:lvl9pPr marL="540000" indent="-180000" algn="l" defTabSz="914400" rtl="0" eaLnBrk="1" latinLnBrk="0" hangingPunct="1">
      <a:lnSpc>
        <a:spcPct val="95000"/>
      </a:lnSpc>
      <a:spcBef>
        <a:spcPts val="300"/>
      </a:spcBef>
      <a:buClrTx/>
      <a:buFont typeface="Arial" panose="02040503050406030204" pitchFamily="18" charset="0"/>
      <a:buChar char="–"/>
      <a:defRPr sz="1600" b="0" kern="100" spc="-30" baseline="0">
        <a:solidFill>
          <a:srgbClr val="281805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63" userDrawn="1">
          <p15:clr>
            <a:srgbClr val="A4A3A4"/>
          </p15:clr>
        </p15:guide>
        <p15:guide id="3" orient="horz" pos="2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180B1F-8D3D-919A-7E59-92116E26B6A2}" name="Balaam, Antonia" initials="BA" userId="S::antonia.balaam@aegon.co.uk::88dd9437-9e1d-49d9-bbb5-f30d3a80a767" providerId="AD"/>
  <p188:author id="{08618338-AAD7-A48E-8395-2D24B4236737}" name="Lynch, Sylvia" initials="LS" userId="S::sylvia.lynch@aegon.co.uk::1281e4fe-e8ba-44f0-b749-3d478bd585a7" providerId="AD"/>
  <p188:author id="{B48C9E47-4F78-2E8F-DC97-EEE38AF03F3D}" name="Allan, Katie" initials="" userId="S::Katie.Allan@aegon.co.uk::86450ffe-e2b9-4c8f-b204-14a7af3b8a3f" providerId="AD"/>
  <p188:author id="{3E0F4155-2217-1C21-DF94-47B193521675}" name="Martin, Ross" initials="MR" userId="S::ross.martin@aegon.co.uk::dd7fecde-416a-4a63-b3bb-669418f970a7" providerId="AD"/>
  <p188:author id="{B9AAE759-7C9E-D2D5-4DA0-01AB4E9D9021}" name="Renna, Mauro" initials="RM" userId="S::mauro.renna@aegon.co.uk::791e90bf-419d-40be-8f15-160ef826f862" providerId="AD"/>
  <p188:author id="{8952F85A-AF40-DD9A-C539-4AC772109DE8}" name="Williams, Melanie" initials="WM" userId="S::melanie.williams@aegon.co.uk::87944c95-ca46-48b5-aa8e-6e61a1e9212d" providerId="AD"/>
  <p188:author id="{FCF7B45E-824E-0802-17D3-45632CA3E826}" name="Russell-Wood, Mark" initials="MR" userId="S::Mark.Russell-Wood@aegon.co.uk::6c7f3544-56f9-49cf-9fc1-9bd2cef69b35" providerId="AD"/>
  <p188:author id="{779DCB5F-3759-339A-FBE7-A0A35B98CD1B}" name="Amanda McNelis" initials="AM" userId="S::amanda.mcnelis@theapsgroup.com::f794b515-f2cf-490d-a394-eca07b661120" providerId="AD"/>
  <p188:author id="{6D8E4261-23D6-CD6A-BC91-D454468ACBA1}" name="Brogan, Helen - AEGON UK" initials="BHAU" userId="S::Helen.Brogan@aegon.co.uk::b3d138ff-4d58-49a4-89a6-e1cbdceed475" providerId="AD"/>
  <p188:author id="{5603B466-C4EF-B739-CC84-6965196711A1}" name="Tidey, Claire" initials="CT" userId="S::Claire.Tidey@aegon.co.uk::15685465-25b6-4a57-8ea0-9f9c15615838" providerId="AD"/>
  <p188:author id="{D1BD3D83-BCBB-90C0-20C4-D6435CA87A3C}" name="CAV Multimedia" initials="CM" userId="S::studio@cav.nl::a8a5c6e0-9d5c-4d85-93ad-43b3c6c0e1b6" providerId="AD"/>
  <p188:author id="{237A01A6-11F2-EF15-5881-75323DFF3672}" name="Hilhorst, Cindi" initials="CH" userId="S::Cindi.Hilhorst@aegon.com::36122424-264c-499c-9809-59a4f586049d" providerId="AD"/>
  <p188:author id="{3C4E74AF-A3C9-C344-13E3-0F88402369CA}" name="Buchanan, Lauren" initials="BL" userId="S::lauren.buchanan@aegon.co.uk::8a172861-7ce1-4990-a6a2-cb2ed323183a" providerId="AD"/>
  <p188:author id="{CA2E2FC1-9892-92DC-1432-D799EA3AEE41}" name="Imai, Shuhei" initials="SI" userId="S::shuhei.imai@aegon.co.uk::c4233ba4-437e-4114-9af2-39aa1a0d713e" providerId="AD"/>
  <p188:author id="{288B77C2-5A68-1EDA-61A5-2447679BE25C}" name="Alicia Castro" initials="AC" userId="S::alicia@totaldesign.com::3977efb3-a04f-4d2d-b648-9a767114394d" providerId="AD"/>
  <p188:author id="{418A36C4-36FC-9151-7B81-932E9ADB3CAD}" name="O'Connor, Iain" initials="IO" userId="S::iain.oconnor@aegon.co.uk::edecdf6e-26bf-42e0-af2a-22d074c2979f" providerId="AD"/>
  <p188:author id="{2F6461CC-B372-333C-454C-4A1F447EE35D}" name="Gordon, Sarah" initials="GS" userId="S::Sarah.Gordon@aegon.co.uk::a5768f06-eb2f-4707-9379-49610fa62fc0" providerId="AD"/>
  <p188:author id="{1162BEDE-BC10-6E0C-ED50-B85783873DF2}" name="Allan, Katie" initials="AK" userId="S::katie.allan@aegon.co.uk::86450ffe-e2b9-4c8f-b204-14a7af3b8a3f" providerId="AD"/>
  <p188:author id="{29EEE9F2-FB5C-6E0B-3ABD-D6E5105003A4}" name="Amanda McNelis" initials="" userId="S::Amanda.McNelis@theapsgroup.com::f794b515-f2cf-490d-a394-eca07b661120" providerId="AD"/>
  <p188:author id="{2F4D44FB-5AAC-3E8C-9705-AEF3958B5004}" name="Griffiths, Sian" initials="GS" userId="S::sian.griffiths@aegon.co.uk::3736150a-21d8-459c-a9af-2437c2c4a5b4" providerId="AD"/>
  <p188:author id="{80B923FD-45B3-C0D0-6443-5A20A47C8ED3}" name="Baird, Victoria" initials="VB" userId="S::victoria.baird@aegon.co.uk::2a91099c-426a-4447-95af-c2557cba04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1D1A"/>
    <a:srgbClr val="1D1D1B"/>
    <a:srgbClr val="D1E6F8"/>
    <a:srgbClr val="E5E4E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3B4B98B0-60AC-42C2-AFA5-B58CD77FA1A2}" styleName="Grass Green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4CD300"/>
              </a:solidFill>
            </a:ln>
          </a:top>
          <a:bottom>
            <a:ln w="12700" cmpd="sng">
              <a:solidFill>
                <a:srgbClr val="4CD3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CCEEB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CCEEB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4CD30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4CD300"/>
              </a:solidFill>
            </a:ln>
          </a:bottom>
        </a:tcBdr>
        <a:fill>
          <a:noFill/>
        </a:fill>
      </a:tcStyle>
    </a:firstRow>
  </a:tblStyle>
  <a:tblStyle styleId="{C083E6E3-FA7D-4D7B-A595-EF9225AFEAA4}" styleName="Hot Pin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FA69FF"/>
              </a:solidFill>
            </a:ln>
          </a:top>
          <a:bottom>
            <a:ln w="12700" cmpd="sng">
              <a:solidFill>
                <a:srgbClr val="FA69FF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F7D2F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F7D2F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FA69FF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FA69FF"/>
              </a:solidFill>
            </a:ln>
          </a:bottom>
        </a:tcBdr>
        <a:fill>
          <a:noFill/>
        </a:fill>
      </a:tcStyle>
    </a:firstRow>
  </a:tblStyle>
  <a:tblStyle styleId="{5FD0F851-EC5A-4D38-B0AD-8093EC10F3A6}" styleName="Sky Blu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63B6FF"/>
              </a:solidFill>
            </a:ln>
          </a:top>
          <a:bottom>
            <a:ln w="12700" cmpd="sng">
              <a:solidFill>
                <a:srgbClr val="63B6FF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D1E6F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D1E6F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63B6FF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63B6FF"/>
              </a:solidFill>
            </a:ln>
          </a:bottom>
        </a:tcBdr>
        <a:fill>
          <a:noFill/>
        </a:fill>
      </a:tcStyle>
    </a:firstRow>
  </a:tblStyle>
  <a:tblStyle styleId="{0E3FDE45-AF77-4B5C-9715-49D594BDF0A3}" styleName="Lavender Purp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641EE0"/>
              </a:solidFill>
            </a:ln>
          </a:top>
          <a:bottom>
            <a:ln w="12700" cmpd="sng">
              <a:solidFill>
                <a:srgbClr val="641EE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D2BCF1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D2BCF1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641EE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641EE0"/>
              </a:solidFill>
            </a:ln>
          </a:bottom>
        </a:tcBdr>
        <a:fill>
          <a:noFill/>
        </a:fill>
      </a:tcStyle>
    </a:firstRow>
  </a:tblStyle>
  <a:tblStyle styleId="{68D230F3-CF80-4859-8CE7-A43EE81993A7}" styleName="Crimson Re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CF0000"/>
              </a:solidFill>
            </a:ln>
          </a:top>
          <a:bottom>
            <a:ln w="12700" cmpd="sng">
              <a:solidFill>
                <a:srgbClr val="CF00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BB8B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EBB8B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CF000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CF0000"/>
              </a:solidFill>
            </a:ln>
          </a:bottom>
        </a:tcBdr>
        <a:fill>
          <a:noFill/>
        </a:fill>
      </a:tcStyle>
    </a:firstRow>
  </a:tblStyle>
  <a:tblStyle styleId="{D27102A9-8310-4765-A935-A1911B00CAA5}" styleName="Night Blu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1D2550"/>
              </a:solidFill>
            </a:ln>
          </a:top>
          <a:bottom>
            <a:ln w="12700" cmpd="sng">
              <a:solidFill>
                <a:srgbClr val="1D255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C6C8D3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C6C8D3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1D255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1D2550"/>
              </a:solidFill>
            </a:ln>
          </a:bottom>
        </a:tcBdr>
        <a:fill>
          <a:noFill/>
        </a:fill>
      </a:tcStyle>
    </a:firstRow>
  </a:tblStyle>
  <a:tblStyle styleId="{9D7B26C5-4107-4FEC-AEDC-1716B250A1A1}" styleName="Warm Gre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6F6B66"/>
              </a:solidFill>
            </a:ln>
          </a:top>
          <a:bottom>
            <a:ln w="12700" cmpd="sng">
              <a:solidFill>
                <a:srgbClr val="6F6B6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5E4E0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E5E4E0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6F6B6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6F6B66"/>
              </a:solidFill>
            </a:ln>
          </a:bottom>
        </a:tcBdr>
        <a:fill>
          <a:noFill/>
        </a:fill>
      </a:tcStyle>
    </a:firstRow>
  </a:tblStyle>
  <a:tblStyle styleId="{3B4B98B0-60AC-42C2-AFA5-B58CD77FA1E5}" styleName="Grass Green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4CD300"/>
              </a:solidFill>
            </a:ln>
          </a:top>
          <a:bottom>
            <a:ln w="12700" cmpd="sng">
              <a:solidFill>
                <a:srgbClr val="4CD3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CCEEB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CCEEB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4CD30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4CD300"/>
              </a:solidFill>
            </a:ln>
          </a:bottom>
        </a:tcBdr>
        <a:fill>
          <a:noFill/>
        </a:fill>
      </a:tcStyle>
    </a:firstRow>
  </a:tblStyle>
  <a:tblStyle styleId="{0E3FDE45-AF77-4B5C-9715-49D594BDF05E}" styleName="Hot Pin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FA69FF"/>
              </a:solidFill>
            </a:ln>
          </a:top>
          <a:bottom>
            <a:ln w="12700" cmpd="sng">
              <a:solidFill>
                <a:srgbClr val="FA69FF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F7D2F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F7D2F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FA69FF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FA69FF"/>
              </a:solidFill>
            </a:ln>
          </a:bottom>
        </a:tcBdr>
        <a:fill>
          <a:noFill/>
        </a:fill>
      </a:tcStyle>
    </a:firstRow>
  </a:tblStyle>
  <a:tblStyle styleId="{C083E6E3-FA7D-4D7B-A595-EF9225AFEA82}" styleName="Sky Blu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63B6FF"/>
              </a:solidFill>
            </a:ln>
          </a:top>
          <a:bottom>
            <a:ln w="12700" cmpd="sng">
              <a:solidFill>
                <a:srgbClr val="63B6FF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D1E6F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D1E6F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63B6FF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63B6FF"/>
              </a:solidFill>
            </a:ln>
          </a:bottom>
        </a:tcBdr>
        <a:fill>
          <a:noFill/>
        </a:fill>
      </a:tcStyle>
    </a:firstRow>
  </a:tblStyle>
  <a:tblStyle styleId="{D27102A9-8310-4765-A935-A1911B00CA55}" styleName="Lavender Purp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641EE0"/>
              </a:solidFill>
            </a:ln>
          </a:top>
          <a:bottom>
            <a:ln w="12700" cmpd="sng">
              <a:solidFill>
                <a:srgbClr val="641EE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D2BCF1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D2BCF1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641EE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641EE0"/>
              </a:solidFill>
            </a:ln>
          </a:bottom>
        </a:tcBdr>
        <a:fill>
          <a:noFill/>
        </a:fill>
      </a:tcStyle>
    </a:firstRow>
  </a:tblStyle>
  <a:tblStyle styleId="{5FD0F851-EC5A-4D38-B0AD-8093EC10F338}" styleName="Crimson Re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CF0000"/>
              </a:solidFill>
            </a:ln>
          </a:top>
          <a:bottom>
            <a:ln w="12700" cmpd="sng">
              <a:solidFill>
                <a:srgbClr val="CF00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BB8B8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EBB8B8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CF000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CF0000"/>
              </a:solidFill>
            </a:ln>
          </a:bottom>
        </a:tcBdr>
        <a:fill>
          <a:noFill/>
        </a:fill>
      </a:tcStyle>
    </a:firstRow>
  </a:tblStyle>
  <a:tblStyle styleId="{68D230F3-CF80-4859-8CE7-A43EE81993B5}" styleName="Night Blu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1D2550"/>
              </a:solidFill>
            </a:ln>
          </a:top>
          <a:bottom>
            <a:ln w="12700" cmpd="sng">
              <a:solidFill>
                <a:srgbClr val="1D255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C6C8D3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C6C8D3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1D2550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1D2550"/>
              </a:solidFill>
            </a:ln>
          </a:bottom>
        </a:tcBdr>
        <a:fill>
          <a:noFill/>
        </a:fill>
      </a:tcStyle>
    </a:firstRow>
  </a:tblStyle>
  <a:tblStyle styleId="{9D7B26C5-4107-4FEC-AEDC-1716B250A1EF}" styleName="Warm Gre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rgbClr val="6F6B66"/>
              </a:solidFill>
            </a:ln>
          </a:top>
          <a:bottom>
            <a:ln w="12700" cmpd="sng">
              <a:solidFill>
                <a:srgbClr val="6F6B6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5E4E0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E5E4E0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rgbClr val="6F6B6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rgbClr val="6F6B66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6877" autoAdjust="0"/>
  </p:normalViewPr>
  <p:slideViewPr>
    <p:cSldViewPr snapToGrid="0">
      <p:cViewPr>
        <p:scale>
          <a:sx n="70" d="100"/>
          <a:sy n="70" d="100"/>
        </p:scale>
        <p:origin x="512" y="-972"/>
      </p:cViewPr>
      <p:guideLst>
        <p:guide pos="3863"/>
        <p:guide orient="horz" pos="213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2C53C66-4E0F-4E98-61C1-2D66F8D5143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57B237-9685-D8EA-D770-8D21917414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B698E3-1BF5-416C-AA27-7FC310EBF94F}" type="datetimeFigureOut">
              <a:rPr lang="en-US" smtClean="0"/>
              <a:t>6/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5D2E32-5E6C-3D5E-0ED0-DE0D01F757D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80DCA4-8EA3-CD58-B535-4D19F687F9C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EDB665-0922-435D-A8F8-146386179D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178808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32" userDrawn="1">
          <p15:clr>
            <a:srgbClr val="F26B43"/>
          </p15:clr>
        </p15:guide>
        <p15:guide id="2" pos="213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139B51-E015-40B8-89BF-480588B58013}" type="datetimeFigureOut">
              <a:rPr lang="nl-NL" smtClean="0"/>
              <a:t>4-6-2026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43FB1B-E0F4-426A-B06A-F89B35785A4F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700525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3B0A7-46E2-D553-0830-EFF08DCA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846411-F754-001F-CFDA-1E68B8BF0F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98C24F-5A61-3313-80AB-562B2B762D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257584-6A62-36B3-DFEC-6B6D641D35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3FB1B-E0F4-426A-B06A-F89B35785A4F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8852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6.svg"/><Relationship Id="rId12" Type="http://schemas.openxmlformats.org/officeDocument/2006/relationships/image" Target="../media/image2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svg"/><Relationship Id="rId11" Type="http://schemas.openxmlformats.org/officeDocument/2006/relationships/image" Target="../media/image20.svg"/><Relationship Id="rId5" Type="http://schemas.openxmlformats.org/officeDocument/2006/relationships/image" Target="../media/image2.svg"/><Relationship Id="rId10" Type="http://schemas.openxmlformats.org/officeDocument/2006/relationships/image" Target="../media/image19.svg"/><Relationship Id="rId4" Type="http://schemas.openxmlformats.org/officeDocument/2006/relationships/image" Target="../media/image1.emf"/><Relationship Id="rId9" Type="http://schemas.openxmlformats.org/officeDocument/2006/relationships/image" Target="../media/image18.svg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12.sv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6" Type="http://schemas.openxmlformats.org/officeDocument/2006/relationships/image" Target="../media/image3.svg"/><Relationship Id="rId11" Type="http://schemas.openxmlformats.org/officeDocument/2006/relationships/image" Target="../media/image22.svg"/><Relationship Id="rId5" Type="http://schemas.openxmlformats.org/officeDocument/2006/relationships/image" Target="../media/image2.sv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6" Type="http://schemas.openxmlformats.org/officeDocument/2006/relationships/image" Target="../media/image7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6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8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sv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7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sv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sv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6" Type="http://schemas.openxmlformats.org/officeDocument/2006/relationships/image" Target="../media/image10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6" Type="http://schemas.openxmlformats.org/officeDocument/2006/relationships/image" Target="../media/image31.svg"/><Relationship Id="rId5" Type="http://schemas.openxmlformats.org/officeDocument/2006/relationships/image" Target="../media/image35.svg"/><Relationship Id="rId4" Type="http://schemas.openxmlformats.org/officeDocument/2006/relationships/image" Target="../media/image33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6" Type="http://schemas.openxmlformats.org/officeDocument/2006/relationships/image" Target="../media/image36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6" Type="http://schemas.openxmlformats.org/officeDocument/2006/relationships/image" Target="../media/image37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6" Type="http://schemas.openxmlformats.org/officeDocument/2006/relationships/image" Target="../media/image38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6" Type="http://schemas.openxmlformats.org/officeDocument/2006/relationships/image" Target="../media/image39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4" Type="http://schemas.openxmlformats.org/officeDocument/2006/relationships/image" Target="../media/image33.emf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6" Type="http://schemas.openxmlformats.org/officeDocument/2006/relationships/image" Target="../media/image43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6" Type="http://schemas.openxmlformats.org/officeDocument/2006/relationships/image" Target="../media/image29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6" Type="http://schemas.openxmlformats.org/officeDocument/2006/relationships/image" Target="../media/image43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4.svg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6" Type="http://schemas.openxmlformats.org/officeDocument/2006/relationships/image" Target="../media/image29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4.svg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6" Type="http://schemas.openxmlformats.org/officeDocument/2006/relationships/image" Target="../media/image26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4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sv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sv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6" Type="http://schemas.openxmlformats.org/officeDocument/2006/relationships/image" Target="../media/image2.sv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6" Type="http://schemas.openxmlformats.org/officeDocument/2006/relationships/image" Target="../media/image2.svg"/><Relationship Id="rId5" Type="http://schemas.openxmlformats.org/officeDocument/2006/relationships/image" Target="../media/image30.svg"/><Relationship Id="rId4" Type="http://schemas.openxmlformats.org/officeDocument/2006/relationships/image" Target="../media/image33.emf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sv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6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sv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sv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sv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5" Type="http://schemas.openxmlformats.org/officeDocument/2006/relationships/image" Target="../media/image49.svg"/><Relationship Id="rId4" Type="http://schemas.openxmlformats.org/officeDocument/2006/relationships/image" Target="../media/image33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5" Type="http://schemas.openxmlformats.org/officeDocument/2006/relationships/image" Target="../media/image49.svg"/><Relationship Id="rId4" Type="http://schemas.openxmlformats.org/officeDocument/2006/relationships/image" Target="../media/image33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5" Type="http://schemas.openxmlformats.org/officeDocument/2006/relationships/image" Target="../media/image49.svg"/><Relationship Id="rId4" Type="http://schemas.openxmlformats.org/officeDocument/2006/relationships/image" Target="../media/image3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8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4.sv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sv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sv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0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1.svg"/><Relationship Id="rId5" Type="http://schemas.openxmlformats.org/officeDocument/2006/relationships/image" Target="../media/image35.svg"/><Relationship Id="rId4" Type="http://schemas.openxmlformats.org/officeDocument/2006/relationships/image" Target="../media/image33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36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7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8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9.svg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33.em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.svg"/><Relationship Id="rId4" Type="http://schemas.openxmlformats.org/officeDocument/2006/relationships/image" Target="../media/image3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43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12.sv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29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43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4.sv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29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4.sv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26.svg"/><Relationship Id="rId5" Type="http://schemas.openxmlformats.org/officeDocument/2006/relationships/image" Target="../media/image2.svg"/><Relationship Id="rId4" Type="http://schemas.openxmlformats.org/officeDocument/2006/relationships/image" Target="../media/image1.emf"/><Relationship Id="rId9" Type="http://schemas.openxmlformats.org/officeDocument/2006/relationships/image" Target="../media/image34.sv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2.svg"/><Relationship Id="rId5" Type="http://schemas.openxmlformats.org/officeDocument/2006/relationships/image" Target="../media/image44.svg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2.svg"/><Relationship Id="rId5" Type="http://schemas.openxmlformats.org/officeDocument/2006/relationships/image" Target="../media/image30.svg"/><Relationship Id="rId4" Type="http://schemas.openxmlformats.org/officeDocument/2006/relationships/image" Target="../media/image33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2.sv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2.sv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2.sv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4.sv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9DA44C5-759C-86D6-2BFE-0A72E0BD5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30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DA44C5-759C-86D6-2BFE-0A72E0BD523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B22594F9-0BB8-7792-AE0C-94FE452A5C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8675378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A69F945-AD9B-325F-DF07-52216CBE6C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EBBE698-1152-EE3E-6379-0B931EBA4A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1B23141-87E5-384D-30A4-B09644DA6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94137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95C3106-D51A-4B26-F01B-6C92F09A7E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3FD9A8E-D3C5-9FC9-DBF8-EF5B3E7931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89ECC432-A351-15AA-6B5D-CC39368396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951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7333" userDrawn="1">
          <p15:clr>
            <a:srgbClr val="FBAE40"/>
          </p15:clr>
        </p15:guide>
        <p15:guide id="3" pos="370" userDrawn="1">
          <p15:clr>
            <a:srgbClr val="FBAE40"/>
          </p15:clr>
        </p15:guide>
        <p15:guide id="4" orient="horz" pos="36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936B769-2E77-B65C-6A02-44673F9A11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03498" y="1589148"/>
            <a:ext cx="5743087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heading</a:t>
            </a:r>
            <a:br>
              <a:rPr lang="en-GB"/>
            </a:br>
            <a:r>
              <a:rPr lang="en-GB"/>
              <a:t>over two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38EA0-C645-0060-E956-90116B3D79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03498" y="3571605"/>
            <a:ext cx="5743087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F9D1396-7C6C-EAB6-3F89-AD4400337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3498" y="5679508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DD818CB-33E1-D091-0383-21957D1F17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03498" y="1589218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D228D44-AD11-2B7B-8B26-DAC64B1F6C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03498" y="4587469"/>
            <a:ext cx="5743087" cy="29887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FB39728-1EEF-562E-0605-7E73439D94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3498" y="4912604"/>
            <a:ext cx="5743087" cy="26151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7155137-FAA1-1713-95F7-18079B576E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58FB5AE-260C-01C8-2D88-6C9A44091F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3958216" y="3507719"/>
            <a:ext cx="1308100" cy="26289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6FDE0B30-807F-5BE5-C90C-79F752C1024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-1" y="0"/>
            <a:ext cx="3445095" cy="692363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BEB9A9F8-6368-CE14-907A-9B84B0A23F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3410021" y="5619750"/>
            <a:ext cx="2628900" cy="13081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E1D64A82-85AD-5E96-B97C-9A51B68F42F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3087320" y="2331665"/>
            <a:ext cx="1308100" cy="26162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B97A5CA6-C3DA-63AA-4086-5361256848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3467659" y="2375525"/>
            <a:ext cx="2616200" cy="26162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25AF313-398E-BE90-7080-81049615B2E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23816"/>
          <a:stretch>
            <a:fillRect/>
          </a:stretch>
        </p:blipFill>
        <p:spPr>
          <a:xfrm>
            <a:off x="333552" y="911153"/>
            <a:ext cx="6119751" cy="56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254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5382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48B5E5E6-46C5-C5FB-B84C-8786631B6A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2273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56E353B-FE13-3E43-79DF-F5007735A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2272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D142ECC-8720-B38C-F938-BEE77618D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2272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B4BDA9A-EAAE-5D7C-031C-0C032BBF48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2272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9B26A0F-2CBF-58D1-5428-894A4AC424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2272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DDADA2B-D2CF-39B5-8286-AD5CD424B1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2272" y="2127876"/>
            <a:ext cx="5015681" cy="1555667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D0F4BD37-F703-3C6F-A72C-3EF89F70DB5C}"/>
              </a:ext>
            </a:extLst>
          </p:cNvPr>
          <p:cNvGrpSpPr/>
          <p:nvPr userDrawn="1"/>
        </p:nvGrpSpPr>
        <p:grpSpPr>
          <a:xfrm>
            <a:off x="-1037312" y="896107"/>
            <a:ext cx="8250014" cy="5804357"/>
            <a:chOff x="-1037312" y="825767"/>
            <a:chExt cx="8250014" cy="5804357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BD236820-F1A3-037F-2F07-93A009C968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7489" y="1191966"/>
              <a:ext cx="4615031" cy="4615031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C18C845B-EAB7-1FD3-C99C-921309E33D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-1037312" y="825767"/>
              <a:ext cx="8250014" cy="58043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969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538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664AEBBB-2859-0CCA-5FC3-17E4F41BC5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-2" y="0"/>
            <a:ext cx="3445097" cy="6923638"/>
          </a:xfrm>
          <a:prstGeom prst="rect">
            <a:avLst/>
          </a:prstGeom>
        </p:spPr>
      </p:pic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48B5E5E6-46C5-C5FB-B84C-8786631B6A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2273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56E353B-FE13-3E43-79DF-F5007735A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2272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D142ECC-8720-B38C-F938-BEE77618D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2272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B4BDA9A-EAAE-5D7C-031C-0C032BBF48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2272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9B26A0F-2CBF-58D1-5428-894A4AC424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2272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DDADA2B-D2CF-39B5-8286-AD5CD424B1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2272" y="2127876"/>
            <a:ext cx="5015681" cy="155566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E1E3A28-A138-C70F-0619-D3A80A1AB4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4606" r="1621"/>
          <a:stretch>
            <a:fillRect/>
          </a:stretch>
        </p:blipFill>
        <p:spPr>
          <a:xfrm>
            <a:off x="531103" y="627374"/>
            <a:ext cx="5208515" cy="566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21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538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48B5E5E6-46C5-C5FB-B84C-8786631B6A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2273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56E353B-FE13-3E43-79DF-F5007735A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2272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D142ECC-8720-B38C-F938-BEE77618D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2272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B4BDA9A-EAAE-5D7C-031C-0C032BBF48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2272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9B26A0F-2CBF-58D1-5428-894A4AC424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2272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DDADA2B-D2CF-39B5-8286-AD5CD424B1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2272" y="2127876"/>
            <a:ext cx="5015681" cy="1555667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9EE4BD78-C610-03A0-0D74-43B7DEA792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622" y="3028348"/>
            <a:ext cx="5339782" cy="265699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2F73341-2F13-5FBA-4514-FFA008B6CEB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6611" y="-80533"/>
            <a:ext cx="5859941" cy="5859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265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538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936B769-2E77-B65C-6A02-44673F9A11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03498" y="1589148"/>
            <a:ext cx="5743087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heading</a:t>
            </a:r>
            <a:br>
              <a:rPr lang="en-GB"/>
            </a:br>
            <a:r>
              <a:rPr lang="en-GB"/>
              <a:t>over two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38EA0-C645-0060-E956-90116B3D79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03498" y="3571605"/>
            <a:ext cx="5743087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F9D1396-7C6C-EAB6-3F89-AD4400337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3498" y="5679508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DD818CB-33E1-D091-0383-21957D1F17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03498" y="1589218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D228D44-AD11-2B7B-8B26-DAC64B1F6C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03498" y="4587469"/>
            <a:ext cx="5743087" cy="29887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FB39728-1EEF-562E-0605-7E73439D94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3498" y="4912604"/>
            <a:ext cx="5743087" cy="26151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7155137-FAA1-1713-95F7-18079B576E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58FB5AE-260C-01C8-2D88-6C9A44091F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3958216" y="3507719"/>
            <a:ext cx="1308100" cy="26289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BEB9A9F8-6368-CE14-907A-9B84B0A23F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410021" y="5619750"/>
            <a:ext cx="2628900" cy="13081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E1D64A82-85AD-5E96-B97C-9A51B68F42F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3087320" y="2331665"/>
            <a:ext cx="1308100" cy="26162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B97A5CA6-C3DA-63AA-4086-5361256848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3467659" y="2375525"/>
            <a:ext cx="2616200" cy="26162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027A0504-55ED-82BC-1A04-F1C735D1C7C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-1994097" y="1994096"/>
            <a:ext cx="6858002" cy="2869811"/>
          </a:xfrm>
          <a:prstGeom prst="rect">
            <a:avLst/>
          </a:prstGeom>
        </p:spPr>
      </p:pic>
      <p:grpSp>
        <p:nvGrpSpPr>
          <p:cNvPr id="14" name="Graphic 6">
            <a:extLst>
              <a:ext uri="{FF2B5EF4-FFF2-40B4-BE49-F238E27FC236}">
                <a16:creationId xmlns:a16="http://schemas.microsoft.com/office/drawing/2014/main" id="{76AEB0F9-4376-4204-2AAB-96DE5ABA0C4E}"/>
              </a:ext>
            </a:extLst>
          </p:cNvPr>
          <p:cNvGrpSpPr/>
          <p:nvPr userDrawn="1"/>
        </p:nvGrpSpPr>
        <p:grpSpPr>
          <a:xfrm flipH="1">
            <a:off x="-1409039" y="968342"/>
            <a:ext cx="4274730" cy="4921315"/>
            <a:chOff x="-9291728" y="2405438"/>
            <a:chExt cx="2953726" cy="3400500"/>
          </a:xfrm>
        </p:grpSpPr>
        <p:sp>
          <p:nvSpPr>
            <p:cNvPr id="15" name="Freeform 95">
              <a:extLst>
                <a:ext uri="{FF2B5EF4-FFF2-40B4-BE49-F238E27FC236}">
                  <a16:creationId xmlns:a16="http://schemas.microsoft.com/office/drawing/2014/main" id="{CD3D41F9-4CE0-D20B-1DA1-E81DA4F143F3}"/>
                </a:ext>
              </a:extLst>
            </p:cNvPr>
            <p:cNvSpPr/>
            <p:nvPr/>
          </p:nvSpPr>
          <p:spPr>
            <a:xfrm>
              <a:off x="-8300192" y="5624427"/>
              <a:ext cx="147544" cy="60667"/>
            </a:xfrm>
            <a:custGeom>
              <a:avLst/>
              <a:gdLst>
                <a:gd name="connsiteX0" fmla="*/ 9661 w 147544"/>
                <a:gd name="connsiteY0" fmla="*/ 60667 h 60667"/>
                <a:gd name="connsiteX1" fmla="*/ 147545 w 147544"/>
                <a:gd name="connsiteY1" fmla="*/ 60667 h 60667"/>
                <a:gd name="connsiteX2" fmla="*/ 142275 w 147544"/>
                <a:gd name="connsiteY2" fmla="*/ 0 h 60667"/>
                <a:gd name="connsiteX3" fmla="*/ 0 w 147544"/>
                <a:gd name="connsiteY3" fmla="*/ 0 h 60667"/>
                <a:gd name="connsiteX4" fmla="*/ 9661 w 147544"/>
                <a:gd name="connsiteY4" fmla="*/ 60667 h 6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544" h="60667">
                  <a:moveTo>
                    <a:pt x="9661" y="60667"/>
                  </a:moveTo>
                  <a:cubicBezTo>
                    <a:pt x="69381" y="53633"/>
                    <a:pt x="143153" y="60667"/>
                    <a:pt x="147545" y="60667"/>
                  </a:cubicBezTo>
                  <a:lnTo>
                    <a:pt x="142275" y="0"/>
                  </a:lnTo>
                  <a:lnTo>
                    <a:pt x="0" y="0"/>
                  </a:lnTo>
                  <a:lnTo>
                    <a:pt x="9661" y="60667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96">
              <a:extLst>
                <a:ext uri="{FF2B5EF4-FFF2-40B4-BE49-F238E27FC236}">
                  <a16:creationId xmlns:a16="http://schemas.microsoft.com/office/drawing/2014/main" id="{A925022A-AB12-1748-BB61-C5ED80748974}"/>
                </a:ext>
              </a:extLst>
            </p:cNvPr>
            <p:cNvSpPr/>
            <p:nvPr/>
          </p:nvSpPr>
          <p:spPr>
            <a:xfrm>
              <a:off x="-8861389" y="5624427"/>
              <a:ext cx="147544" cy="91440"/>
            </a:xfrm>
            <a:custGeom>
              <a:avLst/>
              <a:gdLst>
                <a:gd name="connsiteX0" fmla="*/ 0 w 147544"/>
                <a:gd name="connsiteY0" fmla="*/ 51875 h 91440"/>
                <a:gd name="connsiteX1" fmla="*/ 145788 w 147544"/>
                <a:gd name="connsiteY1" fmla="*/ 91440 h 91440"/>
                <a:gd name="connsiteX2" fmla="*/ 147545 w 147544"/>
                <a:gd name="connsiteY2" fmla="*/ 0 h 91440"/>
                <a:gd name="connsiteX3" fmla="*/ 5269 w 147544"/>
                <a:gd name="connsiteY3" fmla="*/ 0 h 91440"/>
                <a:gd name="connsiteX4" fmla="*/ 0 w 147544"/>
                <a:gd name="connsiteY4" fmla="*/ 51875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544" h="91440">
                  <a:moveTo>
                    <a:pt x="0" y="51875"/>
                  </a:moveTo>
                  <a:cubicBezTo>
                    <a:pt x="7026" y="48358"/>
                    <a:pt x="88702" y="83527"/>
                    <a:pt x="145788" y="91440"/>
                  </a:cubicBezTo>
                  <a:lnTo>
                    <a:pt x="147545" y="0"/>
                  </a:lnTo>
                  <a:lnTo>
                    <a:pt x="5269" y="0"/>
                  </a:lnTo>
                  <a:lnTo>
                    <a:pt x="0" y="51875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97">
              <a:extLst>
                <a:ext uri="{FF2B5EF4-FFF2-40B4-BE49-F238E27FC236}">
                  <a16:creationId xmlns:a16="http://schemas.microsoft.com/office/drawing/2014/main" id="{E9726B09-F83D-1047-BBBA-47F1069FECAE}"/>
                </a:ext>
              </a:extLst>
            </p:cNvPr>
            <p:cNvSpPr/>
            <p:nvPr/>
          </p:nvSpPr>
          <p:spPr>
            <a:xfrm>
              <a:off x="-8995978" y="5666818"/>
              <a:ext cx="310676" cy="134333"/>
            </a:xfrm>
            <a:custGeom>
              <a:avLst/>
              <a:gdLst>
                <a:gd name="connsiteX0" fmla="*/ 282134 w 310676"/>
                <a:gd name="connsiteY0" fmla="*/ 23551 h 134333"/>
                <a:gd name="connsiteX1" fmla="*/ 131076 w 310676"/>
                <a:gd name="connsiteY1" fmla="*/ 1570 h 134333"/>
                <a:gd name="connsiteX2" fmla="*/ 36226 w 310676"/>
                <a:gd name="connsiteY2" fmla="*/ 56082 h 134333"/>
                <a:gd name="connsiteX3" fmla="*/ 218 w 310676"/>
                <a:gd name="connsiteY3" fmla="*/ 134334 h 134333"/>
                <a:gd name="connsiteX4" fmla="*/ 309359 w 310676"/>
                <a:gd name="connsiteY4" fmla="*/ 134334 h 134333"/>
                <a:gd name="connsiteX5" fmla="*/ 282134 w 310676"/>
                <a:gd name="connsiteY5" fmla="*/ 22672 h 134333"/>
                <a:gd name="connsiteX6" fmla="*/ 282134 w 310676"/>
                <a:gd name="connsiteY6" fmla="*/ 22672 h 13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676" h="134333">
                  <a:moveTo>
                    <a:pt x="282134" y="23551"/>
                  </a:moveTo>
                  <a:cubicBezTo>
                    <a:pt x="176745" y="37618"/>
                    <a:pt x="234709" y="-8981"/>
                    <a:pt x="131076" y="1570"/>
                  </a:cubicBezTo>
                  <a:cubicBezTo>
                    <a:pt x="117024" y="5966"/>
                    <a:pt x="97703" y="43773"/>
                    <a:pt x="36226" y="56082"/>
                  </a:cubicBezTo>
                  <a:cubicBezTo>
                    <a:pt x="-5052" y="63995"/>
                    <a:pt x="218" y="134334"/>
                    <a:pt x="218" y="134334"/>
                  </a:cubicBezTo>
                  <a:lnTo>
                    <a:pt x="309359" y="134334"/>
                  </a:lnTo>
                  <a:cubicBezTo>
                    <a:pt x="316385" y="93010"/>
                    <a:pt x="293551" y="35860"/>
                    <a:pt x="282134" y="22672"/>
                  </a:cubicBezTo>
                  <a:lnTo>
                    <a:pt x="282134" y="22672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98">
              <a:extLst>
                <a:ext uri="{FF2B5EF4-FFF2-40B4-BE49-F238E27FC236}">
                  <a16:creationId xmlns:a16="http://schemas.microsoft.com/office/drawing/2014/main" id="{BB26D933-AB7C-845D-EC47-353E85311699}"/>
                </a:ext>
              </a:extLst>
            </p:cNvPr>
            <p:cNvSpPr/>
            <p:nvPr/>
          </p:nvSpPr>
          <p:spPr>
            <a:xfrm>
              <a:off x="-8311648" y="5657922"/>
              <a:ext cx="241960" cy="148016"/>
            </a:xfrm>
            <a:custGeom>
              <a:avLst/>
              <a:gdLst>
                <a:gd name="connsiteX0" fmla="*/ 917 w 241960"/>
                <a:gd name="connsiteY0" fmla="*/ 125645 h 148016"/>
                <a:gd name="connsiteX1" fmla="*/ 7065 w 241960"/>
                <a:gd name="connsiteY1" fmla="*/ 64978 h 148016"/>
                <a:gd name="connsiteX2" fmla="*/ 20239 w 241960"/>
                <a:gd name="connsiteY2" fmla="*/ 28930 h 148016"/>
                <a:gd name="connsiteX3" fmla="*/ 68542 w 241960"/>
                <a:gd name="connsiteY3" fmla="*/ 13983 h 148016"/>
                <a:gd name="connsiteX4" fmla="*/ 172175 w 241960"/>
                <a:gd name="connsiteY4" fmla="*/ 19258 h 148016"/>
                <a:gd name="connsiteX5" fmla="*/ 238043 w 241960"/>
                <a:gd name="connsiteY5" fmla="*/ 99268 h 148016"/>
                <a:gd name="connsiteX6" fmla="*/ 216965 w 241960"/>
                <a:gd name="connsiteY6" fmla="*/ 147626 h 148016"/>
                <a:gd name="connsiteX7" fmla="*/ 24630 w 241960"/>
                <a:gd name="connsiteY7" fmla="*/ 147626 h 148016"/>
                <a:gd name="connsiteX8" fmla="*/ 39 w 241960"/>
                <a:gd name="connsiteY8" fmla="*/ 124766 h 148016"/>
                <a:gd name="connsiteX9" fmla="*/ 917 w 241960"/>
                <a:gd name="connsiteY9" fmla="*/ 124766 h 14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960" h="148016">
                  <a:moveTo>
                    <a:pt x="917" y="125645"/>
                  </a:moveTo>
                  <a:cubicBezTo>
                    <a:pt x="917" y="125645"/>
                    <a:pt x="917" y="83442"/>
                    <a:pt x="7065" y="64978"/>
                  </a:cubicBezTo>
                  <a:cubicBezTo>
                    <a:pt x="13213" y="46515"/>
                    <a:pt x="20239" y="28930"/>
                    <a:pt x="20239" y="28930"/>
                  </a:cubicBezTo>
                  <a:cubicBezTo>
                    <a:pt x="25508" y="24534"/>
                    <a:pt x="29021" y="35085"/>
                    <a:pt x="68542" y="13983"/>
                  </a:cubicBezTo>
                  <a:cubicBezTo>
                    <a:pt x="134410" y="-20307"/>
                    <a:pt x="172175" y="19258"/>
                    <a:pt x="172175" y="19258"/>
                  </a:cubicBezTo>
                  <a:cubicBezTo>
                    <a:pt x="196766" y="48273"/>
                    <a:pt x="234530" y="89597"/>
                    <a:pt x="238043" y="99268"/>
                  </a:cubicBezTo>
                  <a:cubicBezTo>
                    <a:pt x="250338" y="129162"/>
                    <a:pt x="231017" y="146747"/>
                    <a:pt x="216965" y="147626"/>
                  </a:cubicBezTo>
                  <a:cubicBezTo>
                    <a:pt x="202913" y="148505"/>
                    <a:pt x="36047" y="147626"/>
                    <a:pt x="24630" y="147626"/>
                  </a:cubicBezTo>
                  <a:cubicBezTo>
                    <a:pt x="13213" y="147626"/>
                    <a:pt x="-839" y="130921"/>
                    <a:pt x="39" y="124766"/>
                  </a:cubicBezTo>
                  <a:lnTo>
                    <a:pt x="917" y="124766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99">
              <a:extLst>
                <a:ext uri="{FF2B5EF4-FFF2-40B4-BE49-F238E27FC236}">
                  <a16:creationId xmlns:a16="http://schemas.microsoft.com/office/drawing/2014/main" id="{BFCCD8AD-5844-85CE-2A7C-EF8BE9CD24D0}"/>
                </a:ext>
              </a:extLst>
            </p:cNvPr>
            <p:cNvSpPr/>
            <p:nvPr/>
          </p:nvSpPr>
          <p:spPr>
            <a:xfrm>
              <a:off x="-7981919" y="4211763"/>
              <a:ext cx="180568" cy="386710"/>
            </a:xfrm>
            <a:custGeom>
              <a:avLst/>
              <a:gdLst>
                <a:gd name="connsiteX0" fmla="*/ 118213 w 180568"/>
                <a:gd name="connsiteY0" fmla="*/ 352311 h 386710"/>
                <a:gd name="connsiteX1" fmla="*/ 118213 w 180568"/>
                <a:gd name="connsiteY1" fmla="*/ 267905 h 386710"/>
                <a:gd name="connsiteX2" fmla="*/ 118213 w 180568"/>
                <a:gd name="connsiteY2" fmla="*/ 267905 h 386710"/>
                <a:gd name="connsiteX3" fmla="*/ 90988 w 180568"/>
                <a:gd name="connsiteY3" fmla="*/ 385722 h 386710"/>
                <a:gd name="connsiteX4" fmla="*/ 76058 w 180568"/>
                <a:gd name="connsiteY4" fmla="*/ 351432 h 386710"/>
                <a:gd name="connsiteX5" fmla="*/ 79570 w 180568"/>
                <a:gd name="connsiteY5" fmla="*/ 274939 h 386710"/>
                <a:gd name="connsiteX6" fmla="*/ 79570 w 180568"/>
                <a:gd name="connsiteY6" fmla="*/ 274939 h 386710"/>
                <a:gd name="connsiteX7" fmla="*/ 54980 w 180568"/>
                <a:gd name="connsiteY7" fmla="*/ 354070 h 386710"/>
                <a:gd name="connsiteX8" fmla="*/ 32146 w 180568"/>
                <a:gd name="connsiteY8" fmla="*/ 351432 h 386710"/>
                <a:gd name="connsiteX9" fmla="*/ 50589 w 180568"/>
                <a:gd name="connsiteY9" fmla="*/ 252958 h 386710"/>
                <a:gd name="connsiteX10" fmla="*/ 47954 w 180568"/>
                <a:gd name="connsiteY10" fmla="*/ 201963 h 386710"/>
                <a:gd name="connsiteX11" fmla="*/ 42685 w 180568"/>
                <a:gd name="connsiteY11" fmla="*/ 211634 h 386710"/>
                <a:gd name="connsiteX12" fmla="*/ 6676 w 180568"/>
                <a:gd name="connsiteY12" fmla="*/ 256475 h 386710"/>
                <a:gd name="connsiteX13" fmla="*/ 2285 w 180568"/>
                <a:gd name="connsiteY13" fmla="*/ 240649 h 386710"/>
                <a:gd name="connsiteX14" fmla="*/ 10190 w 180568"/>
                <a:gd name="connsiteY14" fmla="*/ 184378 h 386710"/>
                <a:gd name="connsiteX15" fmla="*/ 37415 w 180568"/>
                <a:gd name="connsiteY15" fmla="*/ 114040 h 386710"/>
                <a:gd name="connsiteX16" fmla="*/ 26876 w 180568"/>
                <a:gd name="connsiteY16" fmla="*/ 47218 h 386710"/>
                <a:gd name="connsiteX17" fmla="*/ 103283 w 180568"/>
                <a:gd name="connsiteY17" fmla="*/ 11170 h 386710"/>
                <a:gd name="connsiteX18" fmla="*/ 144561 w 180568"/>
                <a:gd name="connsiteY18" fmla="*/ 92059 h 386710"/>
                <a:gd name="connsiteX19" fmla="*/ 162125 w 180568"/>
                <a:gd name="connsiteY19" fmla="*/ 132504 h 386710"/>
                <a:gd name="connsiteX20" fmla="*/ 178812 w 180568"/>
                <a:gd name="connsiteY20" fmla="*/ 241528 h 386710"/>
                <a:gd name="connsiteX21" fmla="*/ 171786 w 180568"/>
                <a:gd name="connsiteY21" fmla="*/ 332089 h 386710"/>
                <a:gd name="connsiteX22" fmla="*/ 156856 w 180568"/>
                <a:gd name="connsiteY22" fmla="*/ 328572 h 386710"/>
                <a:gd name="connsiteX23" fmla="*/ 151586 w 180568"/>
                <a:gd name="connsiteY23" fmla="*/ 257354 h 386710"/>
                <a:gd name="connsiteX24" fmla="*/ 134022 w 180568"/>
                <a:gd name="connsiteY24" fmla="*/ 370775 h 386710"/>
                <a:gd name="connsiteX25" fmla="*/ 117335 w 180568"/>
                <a:gd name="connsiteY25" fmla="*/ 354070 h 386710"/>
                <a:gd name="connsiteX26" fmla="*/ 117335 w 180568"/>
                <a:gd name="connsiteY26" fmla="*/ 352311 h 3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0568" h="386710">
                  <a:moveTo>
                    <a:pt x="118213" y="352311"/>
                  </a:moveTo>
                  <a:cubicBezTo>
                    <a:pt x="123483" y="324176"/>
                    <a:pt x="118213" y="267905"/>
                    <a:pt x="118213" y="267905"/>
                  </a:cubicBezTo>
                  <a:lnTo>
                    <a:pt x="118213" y="267905"/>
                  </a:lnTo>
                  <a:cubicBezTo>
                    <a:pt x="118213" y="267905"/>
                    <a:pt x="112066" y="377809"/>
                    <a:pt x="90988" y="385722"/>
                  </a:cubicBezTo>
                  <a:cubicBezTo>
                    <a:pt x="69910" y="393635"/>
                    <a:pt x="76058" y="351432"/>
                    <a:pt x="76058" y="351432"/>
                  </a:cubicBezTo>
                  <a:cubicBezTo>
                    <a:pt x="76058" y="351432"/>
                    <a:pt x="82206" y="304833"/>
                    <a:pt x="79570" y="274939"/>
                  </a:cubicBezTo>
                  <a:lnTo>
                    <a:pt x="79570" y="274939"/>
                  </a:lnTo>
                  <a:cubicBezTo>
                    <a:pt x="79570" y="274939"/>
                    <a:pt x="68153" y="340881"/>
                    <a:pt x="54980" y="354070"/>
                  </a:cubicBezTo>
                  <a:cubicBezTo>
                    <a:pt x="41806" y="366379"/>
                    <a:pt x="30389" y="361983"/>
                    <a:pt x="32146" y="351432"/>
                  </a:cubicBezTo>
                  <a:cubicBezTo>
                    <a:pt x="33902" y="340881"/>
                    <a:pt x="50589" y="275818"/>
                    <a:pt x="50589" y="252958"/>
                  </a:cubicBezTo>
                  <a:cubicBezTo>
                    <a:pt x="50589" y="230098"/>
                    <a:pt x="48832" y="213393"/>
                    <a:pt x="47954" y="201963"/>
                  </a:cubicBezTo>
                  <a:cubicBezTo>
                    <a:pt x="47954" y="185258"/>
                    <a:pt x="42685" y="210755"/>
                    <a:pt x="42685" y="211634"/>
                  </a:cubicBezTo>
                  <a:cubicBezTo>
                    <a:pt x="40928" y="277577"/>
                    <a:pt x="6676" y="256475"/>
                    <a:pt x="6676" y="256475"/>
                  </a:cubicBezTo>
                  <a:cubicBezTo>
                    <a:pt x="6676" y="256475"/>
                    <a:pt x="-4741" y="252079"/>
                    <a:pt x="2285" y="240649"/>
                  </a:cubicBezTo>
                  <a:cubicBezTo>
                    <a:pt x="9311" y="229219"/>
                    <a:pt x="7555" y="194929"/>
                    <a:pt x="10190" y="184378"/>
                  </a:cubicBezTo>
                  <a:cubicBezTo>
                    <a:pt x="13702" y="172069"/>
                    <a:pt x="42685" y="143934"/>
                    <a:pt x="37415" y="114040"/>
                  </a:cubicBezTo>
                  <a:cubicBezTo>
                    <a:pt x="33902" y="95576"/>
                    <a:pt x="40050" y="95576"/>
                    <a:pt x="26876" y="47218"/>
                  </a:cubicBezTo>
                  <a:cubicBezTo>
                    <a:pt x="13702" y="-1139"/>
                    <a:pt x="61128" y="-10811"/>
                    <a:pt x="103283" y="11170"/>
                  </a:cubicBezTo>
                  <a:cubicBezTo>
                    <a:pt x="139291" y="30513"/>
                    <a:pt x="144561" y="92059"/>
                    <a:pt x="144561" y="92059"/>
                  </a:cubicBezTo>
                  <a:cubicBezTo>
                    <a:pt x="156856" y="112281"/>
                    <a:pt x="163882" y="135141"/>
                    <a:pt x="162125" y="132504"/>
                  </a:cubicBezTo>
                  <a:cubicBezTo>
                    <a:pt x="168273" y="149209"/>
                    <a:pt x="178812" y="241528"/>
                    <a:pt x="178812" y="241528"/>
                  </a:cubicBezTo>
                  <a:cubicBezTo>
                    <a:pt x="178812" y="241528"/>
                    <a:pt x="185838" y="323297"/>
                    <a:pt x="171786" y="332089"/>
                  </a:cubicBezTo>
                  <a:cubicBezTo>
                    <a:pt x="156856" y="340881"/>
                    <a:pt x="156856" y="328572"/>
                    <a:pt x="156856" y="328572"/>
                  </a:cubicBezTo>
                  <a:lnTo>
                    <a:pt x="151586" y="257354"/>
                  </a:lnTo>
                  <a:cubicBezTo>
                    <a:pt x="151586" y="257354"/>
                    <a:pt x="155100" y="345277"/>
                    <a:pt x="134022" y="370775"/>
                  </a:cubicBezTo>
                  <a:cubicBezTo>
                    <a:pt x="134022" y="370775"/>
                    <a:pt x="112066" y="382205"/>
                    <a:pt x="117335" y="354070"/>
                  </a:cubicBezTo>
                  <a:lnTo>
                    <a:pt x="117335" y="352311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100">
              <a:extLst>
                <a:ext uri="{FF2B5EF4-FFF2-40B4-BE49-F238E27FC236}">
                  <a16:creationId xmlns:a16="http://schemas.microsoft.com/office/drawing/2014/main" id="{7F0B8060-C077-DB26-FE9E-663D30F73AAF}"/>
                </a:ext>
              </a:extLst>
            </p:cNvPr>
            <p:cNvSpPr/>
            <p:nvPr/>
          </p:nvSpPr>
          <p:spPr>
            <a:xfrm>
              <a:off x="-8939042" y="4057638"/>
              <a:ext cx="864133" cy="1569426"/>
            </a:xfrm>
            <a:custGeom>
              <a:avLst/>
              <a:gdLst>
                <a:gd name="connsiteX0" fmla="*/ 14419 w 864133"/>
                <a:gd name="connsiteY0" fmla="*/ 879 h 1569426"/>
                <a:gd name="connsiteX1" fmla="*/ 845236 w 864133"/>
                <a:gd name="connsiteY1" fmla="*/ 40445 h 1569426"/>
                <a:gd name="connsiteX2" fmla="*/ 845236 w 864133"/>
                <a:gd name="connsiteY2" fmla="*/ 1569427 h 1569426"/>
                <a:gd name="connsiteX3" fmla="*/ 576494 w 864133"/>
                <a:gd name="connsiteY3" fmla="*/ 1569427 h 1569426"/>
                <a:gd name="connsiteX4" fmla="*/ 439488 w 864133"/>
                <a:gd name="connsiteY4" fmla="*/ 451045 h 1569426"/>
                <a:gd name="connsiteX5" fmla="*/ 297213 w 864133"/>
                <a:gd name="connsiteY5" fmla="*/ 1569427 h 1569426"/>
                <a:gd name="connsiteX6" fmla="*/ 26714 w 864133"/>
                <a:gd name="connsiteY6" fmla="*/ 1569427 h 1569426"/>
                <a:gd name="connsiteX7" fmla="*/ 14419 w 864133"/>
                <a:gd name="connsiteY7" fmla="*/ 0 h 1569426"/>
                <a:gd name="connsiteX8" fmla="*/ 14419 w 864133"/>
                <a:gd name="connsiteY8" fmla="*/ 0 h 156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4133" h="1569426">
                  <a:moveTo>
                    <a:pt x="14419" y="879"/>
                  </a:moveTo>
                  <a:lnTo>
                    <a:pt x="845236" y="40445"/>
                  </a:lnTo>
                  <a:cubicBezTo>
                    <a:pt x="861923" y="451925"/>
                    <a:pt x="877732" y="962758"/>
                    <a:pt x="845236" y="1569427"/>
                  </a:cubicBezTo>
                  <a:lnTo>
                    <a:pt x="576494" y="1569427"/>
                  </a:lnTo>
                  <a:lnTo>
                    <a:pt x="439488" y="451045"/>
                  </a:lnTo>
                  <a:lnTo>
                    <a:pt x="297213" y="1569427"/>
                  </a:lnTo>
                  <a:lnTo>
                    <a:pt x="26714" y="1569427"/>
                  </a:lnTo>
                  <a:cubicBezTo>
                    <a:pt x="-25102" y="1132449"/>
                    <a:pt x="14419" y="0"/>
                    <a:pt x="14419" y="0"/>
                  </a:cubicBezTo>
                  <a:lnTo>
                    <a:pt x="14419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101">
              <a:extLst>
                <a:ext uri="{FF2B5EF4-FFF2-40B4-BE49-F238E27FC236}">
                  <a16:creationId xmlns:a16="http://schemas.microsoft.com/office/drawing/2014/main" id="{345B891D-D6DA-826A-A63E-C6116F5ABD34}"/>
                </a:ext>
              </a:extLst>
            </p:cNvPr>
            <p:cNvSpPr/>
            <p:nvPr/>
          </p:nvSpPr>
          <p:spPr>
            <a:xfrm>
              <a:off x="-8904423" y="4180730"/>
              <a:ext cx="98363" cy="225083"/>
            </a:xfrm>
            <a:custGeom>
              <a:avLst/>
              <a:gdLst>
                <a:gd name="connsiteX0" fmla="*/ 0 w 98363"/>
                <a:gd name="connsiteY0" fmla="*/ 225083 h 225083"/>
                <a:gd name="connsiteX1" fmla="*/ 98363 w 98363"/>
                <a:gd name="connsiteY1" fmla="*/ 0 h 22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363" h="225083">
                  <a:moveTo>
                    <a:pt x="0" y="225083"/>
                  </a:moveTo>
                  <a:lnTo>
                    <a:pt x="98363" y="0"/>
                  </a:lnTo>
                </a:path>
              </a:pathLst>
            </a:custGeom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102">
              <a:extLst>
                <a:ext uri="{FF2B5EF4-FFF2-40B4-BE49-F238E27FC236}">
                  <a16:creationId xmlns:a16="http://schemas.microsoft.com/office/drawing/2014/main" id="{018E61C4-5E69-A1EB-2BED-CBCD2C81B29D}"/>
                </a:ext>
              </a:extLst>
            </p:cNvPr>
            <p:cNvSpPr/>
            <p:nvPr/>
          </p:nvSpPr>
          <p:spPr>
            <a:xfrm>
              <a:off x="-8927257" y="4199194"/>
              <a:ext cx="93093" cy="169691"/>
            </a:xfrm>
            <a:custGeom>
              <a:avLst/>
              <a:gdLst>
                <a:gd name="connsiteX0" fmla="*/ 45668 w 93093"/>
                <a:gd name="connsiteY0" fmla="*/ 0 h 169691"/>
                <a:gd name="connsiteX1" fmla="*/ 93093 w 93093"/>
                <a:gd name="connsiteY1" fmla="*/ 40444 h 169691"/>
                <a:gd name="connsiteX2" fmla="*/ 38642 w 93093"/>
                <a:gd name="connsiteY2" fmla="*/ 169691 h 169691"/>
                <a:gd name="connsiteX3" fmla="*/ 0 w 93093"/>
                <a:gd name="connsiteY3" fmla="*/ 133643 h 169691"/>
                <a:gd name="connsiteX4" fmla="*/ 45668 w 93093"/>
                <a:gd name="connsiteY4" fmla="*/ 0 h 16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093" h="169691">
                  <a:moveTo>
                    <a:pt x="45668" y="0"/>
                  </a:moveTo>
                  <a:cubicBezTo>
                    <a:pt x="58842" y="5275"/>
                    <a:pt x="83433" y="35169"/>
                    <a:pt x="93093" y="40444"/>
                  </a:cubicBezTo>
                  <a:lnTo>
                    <a:pt x="38642" y="169691"/>
                  </a:lnTo>
                  <a:lnTo>
                    <a:pt x="0" y="133643"/>
                  </a:lnTo>
                  <a:lnTo>
                    <a:pt x="45668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103">
              <a:extLst>
                <a:ext uri="{FF2B5EF4-FFF2-40B4-BE49-F238E27FC236}">
                  <a16:creationId xmlns:a16="http://schemas.microsoft.com/office/drawing/2014/main" id="{5DCA3889-4558-92E8-E2DD-199D56D31772}"/>
                </a:ext>
              </a:extLst>
            </p:cNvPr>
            <p:cNvSpPr/>
            <p:nvPr/>
          </p:nvSpPr>
          <p:spPr>
            <a:xfrm>
              <a:off x="-7966460" y="4261619"/>
              <a:ext cx="152814" cy="58908"/>
            </a:xfrm>
            <a:custGeom>
              <a:avLst/>
              <a:gdLst>
                <a:gd name="connsiteX0" fmla="*/ 151058 w 152814"/>
                <a:gd name="connsiteY0" fmla="*/ 0 h 58908"/>
                <a:gd name="connsiteX1" fmla="*/ 151058 w 152814"/>
                <a:gd name="connsiteY1" fmla="*/ 45720 h 58908"/>
                <a:gd name="connsiteX2" fmla="*/ 2635 w 152814"/>
                <a:gd name="connsiteY2" fmla="*/ 58909 h 58908"/>
                <a:gd name="connsiteX3" fmla="*/ 0 w 152814"/>
                <a:gd name="connsiteY3" fmla="*/ 10551 h 58908"/>
                <a:gd name="connsiteX4" fmla="*/ 152814 w 152814"/>
                <a:gd name="connsiteY4" fmla="*/ 0 h 58908"/>
                <a:gd name="connsiteX5" fmla="*/ 151936 w 152814"/>
                <a:gd name="connsiteY5" fmla="*/ 0 h 5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814" h="58908">
                  <a:moveTo>
                    <a:pt x="151058" y="0"/>
                  </a:moveTo>
                  <a:cubicBezTo>
                    <a:pt x="148423" y="15826"/>
                    <a:pt x="152814" y="34290"/>
                    <a:pt x="151058" y="45720"/>
                  </a:cubicBezTo>
                  <a:lnTo>
                    <a:pt x="2635" y="58909"/>
                  </a:lnTo>
                  <a:cubicBezTo>
                    <a:pt x="2635" y="58909"/>
                    <a:pt x="2635" y="34290"/>
                    <a:pt x="0" y="10551"/>
                  </a:cubicBezTo>
                  <a:lnTo>
                    <a:pt x="152814" y="0"/>
                  </a:lnTo>
                  <a:lnTo>
                    <a:pt x="151936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104">
              <a:extLst>
                <a:ext uri="{FF2B5EF4-FFF2-40B4-BE49-F238E27FC236}">
                  <a16:creationId xmlns:a16="http://schemas.microsoft.com/office/drawing/2014/main" id="{423E3068-F7BF-DA2E-B9F6-643776E4F97C}"/>
                </a:ext>
              </a:extLst>
            </p:cNvPr>
            <p:cNvSpPr/>
            <p:nvPr/>
          </p:nvSpPr>
          <p:spPr>
            <a:xfrm>
              <a:off x="-8642707" y="2929585"/>
              <a:ext cx="253812" cy="564466"/>
            </a:xfrm>
            <a:custGeom>
              <a:avLst/>
              <a:gdLst>
                <a:gd name="connsiteX0" fmla="*/ 10539 w 253812"/>
                <a:gd name="connsiteY0" fmla="*/ 3517 h 564466"/>
                <a:gd name="connsiteX1" fmla="*/ 157206 w 253812"/>
                <a:gd name="connsiteY1" fmla="*/ 30773 h 564466"/>
                <a:gd name="connsiteX2" fmla="*/ 223952 w 253812"/>
                <a:gd name="connsiteY2" fmla="*/ 0 h 564466"/>
                <a:gd name="connsiteX3" fmla="*/ 253812 w 253812"/>
                <a:gd name="connsiteY3" fmla="*/ 7913 h 564466"/>
                <a:gd name="connsiteX4" fmla="*/ 144032 w 253812"/>
                <a:gd name="connsiteY4" fmla="*/ 564466 h 564466"/>
                <a:gd name="connsiteX5" fmla="*/ 0 w 253812"/>
                <a:gd name="connsiteY5" fmla="*/ 15826 h 564466"/>
                <a:gd name="connsiteX6" fmla="*/ 10539 w 253812"/>
                <a:gd name="connsiteY6" fmla="*/ 3517 h 56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812" h="564466">
                  <a:moveTo>
                    <a:pt x="10539" y="3517"/>
                  </a:moveTo>
                  <a:lnTo>
                    <a:pt x="157206" y="30773"/>
                  </a:lnTo>
                  <a:lnTo>
                    <a:pt x="223952" y="0"/>
                  </a:lnTo>
                  <a:cubicBezTo>
                    <a:pt x="225708" y="0"/>
                    <a:pt x="253812" y="7913"/>
                    <a:pt x="253812" y="7913"/>
                  </a:cubicBezTo>
                  <a:lnTo>
                    <a:pt x="144032" y="564466"/>
                  </a:lnTo>
                  <a:lnTo>
                    <a:pt x="0" y="15826"/>
                  </a:lnTo>
                  <a:lnTo>
                    <a:pt x="10539" y="3517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105">
              <a:extLst>
                <a:ext uri="{FF2B5EF4-FFF2-40B4-BE49-F238E27FC236}">
                  <a16:creationId xmlns:a16="http://schemas.microsoft.com/office/drawing/2014/main" id="{BC667AD8-B793-7511-B0E0-183BB1976EFE}"/>
                </a:ext>
              </a:extLst>
            </p:cNvPr>
            <p:cNvSpPr/>
            <p:nvPr/>
          </p:nvSpPr>
          <p:spPr>
            <a:xfrm>
              <a:off x="-8638315" y="2640303"/>
              <a:ext cx="253812" cy="362257"/>
            </a:xfrm>
            <a:custGeom>
              <a:avLst/>
              <a:gdLst>
                <a:gd name="connsiteX0" fmla="*/ 207266 w 253812"/>
                <a:gd name="connsiteY0" fmla="*/ 167069 h 362257"/>
                <a:gd name="connsiteX1" fmla="*/ 144032 w 253812"/>
                <a:gd name="connsiteY1" fmla="*/ 104643 h 362257"/>
                <a:gd name="connsiteX2" fmla="*/ 165988 w 253812"/>
                <a:gd name="connsiteY2" fmla="*/ 75629 h 362257"/>
                <a:gd name="connsiteX3" fmla="*/ 126467 w 253812"/>
                <a:gd name="connsiteY3" fmla="*/ 15 h 362257"/>
                <a:gd name="connsiteX4" fmla="*/ 85190 w 253812"/>
                <a:gd name="connsiteY4" fmla="*/ 41339 h 362257"/>
                <a:gd name="connsiteX5" fmla="*/ 92215 w 253812"/>
                <a:gd name="connsiteY5" fmla="*/ 167948 h 362257"/>
                <a:gd name="connsiteX6" fmla="*/ 0 w 253812"/>
                <a:gd name="connsiteY6" fmla="*/ 251475 h 362257"/>
                <a:gd name="connsiteX7" fmla="*/ 3513 w 253812"/>
                <a:gd name="connsiteY7" fmla="*/ 300712 h 362257"/>
                <a:gd name="connsiteX8" fmla="*/ 110659 w 253812"/>
                <a:gd name="connsiteY8" fmla="*/ 362258 h 362257"/>
                <a:gd name="connsiteX9" fmla="*/ 253812 w 253812"/>
                <a:gd name="connsiteY9" fmla="*/ 292798 h 362257"/>
                <a:gd name="connsiteX10" fmla="*/ 206387 w 253812"/>
                <a:gd name="connsiteY10" fmla="*/ 167069 h 362257"/>
                <a:gd name="connsiteX11" fmla="*/ 207266 w 253812"/>
                <a:gd name="connsiteY11" fmla="*/ 167069 h 36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812" h="362257">
                  <a:moveTo>
                    <a:pt x="207266" y="167069"/>
                  </a:moveTo>
                  <a:cubicBezTo>
                    <a:pt x="204630" y="167069"/>
                    <a:pt x="144910" y="108160"/>
                    <a:pt x="144032" y="104643"/>
                  </a:cubicBezTo>
                  <a:cubicBezTo>
                    <a:pt x="153692" y="99368"/>
                    <a:pt x="162475" y="90575"/>
                    <a:pt x="165988" y="75629"/>
                  </a:cubicBezTo>
                  <a:cubicBezTo>
                    <a:pt x="173014" y="37822"/>
                    <a:pt x="163353" y="-865"/>
                    <a:pt x="126467" y="15"/>
                  </a:cubicBezTo>
                  <a:cubicBezTo>
                    <a:pt x="95729" y="1773"/>
                    <a:pt x="87824" y="24633"/>
                    <a:pt x="85190" y="41339"/>
                  </a:cubicBezTo>
                  <a:cubicBezTo>
                    <a:pt x="85190" y="60682"/>
                    <a:pt x="92215" y="167948"/>
                    <a:pt x="92215" y="167948"/>
                  </a:cubicBezTo>
                  <a:cubicBezTo>
                    <a:pt x="79920" y="199600"/>
                    <a:pt x="37764" y="204875"/>
                    <a:pt x="0" y="251475"/>
                  </a:cubicBezTo>
                  <a:lnTo>
                    <a:pt x="3513" y="300712"/>
                  </a:lnTo>
                  <a:lnTo>
                    <a:pt x="110659" y="362258"/>
                  </a:lnTo>
                  <a:lnTo>
                    <a:pt x="253812" y="292798"/>
                  </a:lnTo>
                  <a:cubicBezTo>
                    <a:pt x="247665" y="276972"/>
                    <a:pt x="211657" y="183774"/>
                    <a:pt x="206387" y="167069"/>
                  </a:cubicBezTo>
                  <a:lnTo>
                    <a:pt x="207266" y="167069"/>
                  </a:lnTo>
                  <a:close/>
                </a:path>
              </a:pathLst>
            </a:custGeom>
            <a:solidFill>
              <a:srgbClr val="DE9C74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0" name="Graphic 6">
              <a:extLst>
                <a:ext uri="{FF2B5EF4-FFF2-40B4-BE49-F238E27FC236}">
                  <a16:creationId xmlns:a16="http://schemas.microsoft.com/office/drawing/2014/main" id="{427893B6-7E51-3E88-E7BA-959AB12EDA1E}"/>
                </a:ext>
              </a:extLst>
            </p:cNvPr>
            <p:cNvGrpSpPr/>
            <p:nvPr/>
          </p:nvGrpSpPr>
          <p:grpSpPr>
            <a:xfrm>
              <a:off x="-8804027" y="2405438"/>
              <a:ext cx="896444" cy="500660"/>
              <a:chOff x="-8804027" y="2405438"/>
              <a:chExt cx="896444" cy="500660"/>
            </a:xfrm>
          </p:grpSpPr>
          <p:sp>
            <p:nvSpPr>
              <p:cNvPr id="35" name="Freeform 107">
                <a:extLst>
                  <a:ext uri="{FF2B5EF4-FFF2-40B4-BE49-F238E27FC236}">
                    <a16:creationId xmlns:a16="http://schemas.microsoft.com/office/drawing/2014/main" id="{9A5F0BDD-17E9-C6F2-89D3-17EB5FFA2E6D}"/>
                  </a:ext>
                </a:extLst>
              </p:cNvPr>
              <p:cNvSpPr/>
              <p:nvPr/>
            </p:nvSpPr>
            <p:spPr>
              <a:xfrm>
                <a:off x="-8779712" y="2778357"/>
                <a:ext cx="60251" cy="53633"/>
              </a:xfrm>
              <a:custGeom>
                <a:avLst/>
                <a:gdLst>
                  <a:gd name="connsiteX0" fmla="*/ 59720 w 60251"/>
                  <a:gd name="connsiteY0" fmla="*/ 16705 h 53633"/>
                  <a:gd name="connsiteX1" fmla="*/ 33373 w 60251"/>
                  <a:gd name="connsiteY1" fmla="*/ 2638 h 53633"/>
                  <a:gd name="connsiteX2" fmla="*/ 0 w 60251"/>
                  <a:gd name="connsiteY2" fmla="*/ 0 h 53633"/>
                  <a:gd name="connsiteX3" fmla="*/ 19321 w 60251"/>
                  <a:gd name="connsiteY3" fmla="*/ 14947 h 53633"/>
                  <a:gd name="connsiteX4" fmla="*/ 7904 w 60251"/>
                  <a:gd name="connsiteY4" fmla="*/ 30773 h 53633"/>
                  <a:gd name="connsiteX5" fmla="*/ 21956 w 60251"/>
                  <a:gd name="connsiteY5" fmla="*/ 53633 h 53633"/>
                  <a:gd name="connsiteX6" fmla="*/ 59720 w 60251"/>
                  <a:gd name="connsiteY6" fmla="*/ 16705 h 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251" h="53633">
                    <a:moveTo>
                      <a:pt x="59720" y="16705"/>
                    </a:moveTo>
                    <a:cubicBezTo>
                      <a:pt x="57964" y="9672"/>
                      <a:pt x="41278" y="2638"/>
                      <a:pt x="33373" y="2638"/>
                    </a:cubicBezTo>
                    <a:cubicBezTo>
                      <a:pt x="20199" y="2638"/>
                      <a:pt x="7904" y="1759"/>
                      <a:pt x="0" y="0"/>
                    </a:cubicBezTo>
                    <a:cubicBezTo>
                      <a:pt x="1757" y="8792"/>
                      <a:pt x="14052" y="14068"/>
                      <a:pt x="19321" y="14947"/>
                    </a:cubicBezTo>
                    <a:cubicBezTo>
                      <a:pt x="27225" y="16705"/>
                      <a:pt x="10539" y="15826"/>
                      <a:pt x="7904" y="30773"/>
                    </a:cubicBezTo>
                    <a:cubicBezTo>
                      <a:pt x="5269" y="45720"/>
                      <a:pt x="21956" y="53633"/>
                      <a:pt x="21956" y="53633"/>
                    </a:cubicBezTo>
                    <a:cubicBezTo>
                      <a:pt x="49181" y="41324"/>
                      <a:pt x="63234" y="30773"/>
                      <a:pt x="59720" y="16705"/>
                    </a:cubicBezTo>
                    <a:close/>
                  </a:path>
                </a:pathLst>
              </a:custGeom>
              <a:solidFill>
                <a:srgbClr val="DE9C74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108">
                <a:extLst>
                  <a:ext uri="{FF2B5EF4-FFF2-40B4-BE49-F238E27FC236}">
                    <a16:creationId xmlns:a16="http://schemas.microsoft.com/office/drawing/2014/main" id="{11F515E7-25D0-6105-04A0-ED56B52F43DE}"/>
                  </a:ext>
                </a:extLst>
              </p:cNvPr>
              <p:cNvSpPr/>
              <p:nvPr/>
            </p:nvSpPr>
            <p:spPr>
              <a:xfrm>
                <a:off x="-8788532" y="2405438"/>
                <a:ext cx="445358" cy="500660"/>
              </a:xfrm>
              <a:custGeom>
                <a:avLst/>
                <a:gdLst>
                  <a:gd name="connsiteX0" fmla="*/ 250336 w 445358"/>
                  <a:gd name="connsiteY0" fmla="*/ 16831 h 500660"/>
                  <a:gd name="connsiteX1" fmla="*/ 80836 w 445358"/>
                  <a:gd name="connsiteY1" fmla="*/ 1004 h 500660"/>
                  <a:gd name="connsiteX2" fmla="*/ 74688 w 445358"/>
                  <a:gd name="connsiteY2" fmla="*/ 91565 h 500660"/>
                  <a:gd name="connsiteX3" fmla="*/ 74688 w 445358"/>
                  <a:gd name="connsiteY3" fmla="*/ 93324 h 500660"/>
                  <a:gd name="connsiteX4" fmla="*/ 175686 w 445358"/>
                  <a:gd name="connsiteY4" fmla="*/ 132889 h 500660"/>
                  <a:gd name="connsiteX5" fmla="*/ 171294 w 445358"/>
                  <a:gd name="connsiteY5" fmla="*/ 187401 h 500660"/>
                  <a:gd name="connsiteX6" fmla="*/ 201154 w 445358"/>
                  <a:gd name="connsiteY6" fmla="*/ 240155 h 500660"/>
                  <a:gd name="connsiteX7" fmla="*/ 187981 w 445358"/>
                  <a:gd name="connsiteY7" fmla="*/ 316648 h 500660"/>
                  <a:gd name="connsiteX8" fmla="*/ 116843 w 445358"/>
                  <a:gd name="connsiteY8" fmla="*/ 361489 h 500660"/>
                  <a:gd name="connsiteX9" fmla="*/ 15845 w 445358"/>
                  <a:gd name="connsiteY9" fmla="*/ 336871 h 500660"/>
                  <a:gd name="connsiteX10" fmla="*/ 15845 w 445358"/>
                  <a:gd name="connsiteY10" fmla="*/ 336871 h 500660"/>
                  <a:gd name="connsiteX11" fmla="*/ 7941 w 445358"/>
                  <a:gd name="connsiteY11" fmla="*/ 367644 h 500660"/>
                  <a:gd name="connsiteX12" fmla="*/ 46584 w 445358"/>
                  <a:gd name="connsiteY12" fmla="*/ 377315 h 500660"/>
                  <a:gd name="connsiteX13" fmla="*/ 68540 w 445358"/>
                  <a:gd name="connsiteY13" fmla="*/ 391383 h 500660"/>
                  <a:gd name="connsiteX14" fmla="*/ 30776 w 445358"/>
                  <a:gd name="connsiteY14" fmla="*/ 429190 h 500660"/>
                  <a:gd name="connsiteX15" fmla="*/ 30776 w 445358"/>
                  <a:gd name="connsiteY15" fmla="*/ 429190 h 500660"/>
                  <a:gd name="connsiteX16" fmla="*/ 39558 w 445358"/>
                  <a:gd name="connsiteY16" fmla="*/ 492494 h 500660"/>
                  <a:gd name="connsiteX17" fmla="*/ 109818 w 445358"/>
                  <a:gd name="connsiteY17" fmla="*/ 497770 h 500660"/>
                  <a:gd name="connsiteX18" fmla="*/ 152851 w 445358"/>
                  <a:gd name="connsiteY18" fmla="*/ 488098 h 500660"/>
                  <a:gd name="connsiteX19" fmla="*/ 231893 w 445358"/>
                  <a:gd name="connsiteY19" fmla="*/ 436224 h 500660"/>
                  <a:gd name="connsiteX20" fmla="*/ 244189 w 445358"/>
                  <a:gd name="connsiteY20" fmla="*/ 404571 h 500660"/>
                  <a:gd name="connsiteX21" fmla="*/ 238919 w 445358"/>
                  <a:gd name="connsiteY21" fmla="*/ 366764 h 500660"/>
                  <a:gd name="connsiteX22" fmla="*/ 237163 w 445358"/>
                  <a:gd name="connsiteY22" fmla="*/ 277962 h 500660"/>
                  <a:gd name="connsiteX23" fmla="*/ 278440 w 445358"/>
                  <a:gd name="connsiteY23" fmla="*/ 236638 h 500660"/>
                  <a:gd name="connsiteX24" fmla="*/ 317961 w 445358"/>
                  <a:gd name="connsiteY24" fmla="*/ 312252 h 500660"/>
                  <a:gd name="connsiteX25" fmla="*/ 296005 w 445358"/>
                  <a:gd name="connsiteY25" fmla="*/ 341267 h 500660"/>
                  <a:gd name="connsiteX26" fmla="*/ 298640 w 445358"/>
                  <a:gd name="connsiteY26" fmla="*/ 353576 h 500660"/>
                  <a:gd name="connsiteX27" fmla="*/ 342552 w 445358"/>
                  <a:gd name="connsiteY27" fmla="*/ 404571 h 500660"/>
                  <a:gd name="connsiteX28" fmla="*/ 372412 w 445358"/>
                  <a:gd name="connsiteY28" fmla="*/ 392262 h 500660"/>
                  <a:gd name="connsiteX29" fmla="*/ 384707 w 445358"/>
                  <a:gd name="connsiteY29" fmla="*/ 383470 h 500660"/>
                  <a:gd name="connsiteX30" fmla="*/ 441793 w 445358"/>
                  <a:gd name="connsiteY30" fmla="*/ 265653 h 500660"/>
                  <a:gd name="connsiteX31" fmla="*/ 251214 w 445358"/>
                  <a:gd name="connsiteY31" fmla="*/ 17710 h 500660"/>
                  <a:gd name="connsiteX32" fmla="*/ 249458 w 445358"/>
                  <a:gd name="connsiteY32" fmla="*/ 17710 h 5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45358" h="500660">
                    <a:moveTo>
                      <a:pt x="250336" y="16831"/>
                    </a:moveTo>
                    <a:cubicBezTo>
                      <a:pt x="169538" y="10676"/>
                      <a:pt x="121235" y="27381"/>
                      <a:pt x="80836" y="1004"/>
                    </a:cubicBezTo>
                    <a:cubicBezTo>
                      <a:pt x="66783" y="-8667"/>
                      <a:pt x="43071" y="53758"/>
                      <a:pt x="74688" y="91565"/>
                    </a:cubicBezTo>
                    <a:cubicBezTo>
                      <a:pt x="74688" y="91565"/>
                      <a:pt x="74688" y="91565"/>
                      <a:pt x="74688" y="93324"/>
                    </a:cubicBezTo>
                    <a:cubicBezTo>
                      <a:pt x="86105" y="93324"/>
                      <a:pt x="167781" y="102995"/>
                      <a:pt x="175686" y="132889"/>
                    </a:cubicBezTo>
                    <a:cubicBezTo>
                      <a:pt x="183590" y="164541"/>
                      <a:pt x="171294" y="187401"/>
                      <a:pt x="171294" y="187401"/>
                    </a:cubicBezTo>
                    <a:cubicBezTo>
                      <a:pt x="171294" y="187401"/>
                      <a:pt x="190616" y="204107"/>
                      <a:pt x="201154" y="240155"/>
                    </a:cubicBezTo>
                    <a:cubicBezTo>
                      <a:pt x="204668" y="276204"/>
                      <a:pt x="198520" y="299943"/>
                      <a:pt x="187981" y="316648"/>
                    </a:cubicBezTo>
                    <a:cubicBezTo>
                      <a:pt x="166903" y="350059"/>
                      <a:pt x="128260" y="354455"/>
                      <a:pt x="116843" y="361489"/>
                    </a:cubicBezTo>
                    <a:cubicBezTo>
                      <a:pt x="98400" y="372919"/>
                      <a:pt x="36045" y="323682"/>
                      <a:pt x="15845" y="336871"/>
                    </a:cubicBezTo>
                    <a:lnTo>
                      <a:pt x="15845" y="336871"/>
                    </a:lnTo>
                    <a:cubicBezTo>
                      <a:pt x="-6111" y="343904"/>
                      <a:pt x="-1719" y="365885"/>
                      <a:pt x="7941" y="367644"/>
                    </a:cubicBezTo>
                    <a:cubicBezTo>
                      <a:pt x="7941" y="367644"/>
                      <a:pt x="33410" y="379074"/>
                      <a:pt x="46584" y="377315"/>
                    </a:cubicBezTo>
                    <a:cubicBezTo>
                      <a:pt x="55366" y="375557"/>
                      <a:pt x="65905" y="382590"/>
                      <a:pt x="68540" y="391383"/>
                    </a:cubicBezTo>
                    <a:cubicBezTo>
                      <a:pt x="72053" y="405451"/>
                      <a:pt x="58001" y="416001"/>
                      <a:pt x="30776" y="429190"/>
                    </a:cubicBezTo>
                    <a:lnTo>
                      <a:pt x="30776" y="429190"/>
                    </a:lnTo>
                    <a:cubicBezTo>
                      <a:pt x="11454" y="438861"/>
                      <a:pt x="39558" y="492494"/>
                      <a:pt x="39558" y="492494"/>
                    </a:cubicBezTo>
                    <a:cubicBezTo>
                      <a:pt x="39558" y="492494"/>
                      <a:pt x="53610" y="506562"/>
                      <a:pt x="109818" y="497770"/>
                    </a:cubicBezTo>
                    <a:cubicBezTo>
                      <a:pt x="124748" y="495132"/>
                      <a:pt x="138799" y="491615"/>
                      <a:pt x="152851" y="488098"/>
                    </a:cubicBezTo>
                    <a:cubicBezTo>
                      <a:pt x="152851" y="488098"/>
                      <a:pt x="217841" y="458204"/>
                      <a:pt x="231893" y="436224"/>
                    </a:cubicBezTo>
                    <a:cubicBezTo>
                      <a:pt x="236284" y="426552"/>
                      <a:pt x="241554" y="418639"/>
                      <a:pt x="244189" y="404571"/>
                    </a:cubicBezTo>
                    <a:cubicBezTo>
                      <a:pt x="244189" y="401054"/>
                      <a:pt x="239797" y="372919"/>
                      <a:pt x="238919" y="366764"/>
                    </a:cubicBezTo>
                    <a:cubicBezTo>
                      <a:pt x="235406" y="333354"/>
                      <a:pt x="236284" y="297305"/>
                      <a:pt x="237163" y="277962"/>
                    </a:cubicBezTo>
                    <a:cubicBezTo>
                      <a:pt x="239797" y="261257"/>
                      <a:pt x="247702" y="238397"/>
                      <a:pt x="278440" y="236638"/>
                    </a:cubicBezTo>
                    <a:cubicBezTo>
                      <a:pt x="315326" y="234880"/>
                      <a:pt x="325865" y="274445"/>
                      <a:pt x="317961" y="312252"/>
                    </a:cubicBezTo>
                    <a:cubicBezTo>
                      <a:pt x="315326" y="328078"/>
                      <a:pt x="305666" y="336871"/>
                      <a:pt x="296005" y="341267"/>
                    </a:cubicBezTo>
                    <a:cubicBezTo>
                      <a:pt x="296005" y="344784"/>
                      <a:pt x="297761" y="349180"/>
                      <a:pt x="298640" y="353576"/>
                    </a:cubicBezTo>
                    <a:cubicBezTo>
                      <a:pt x="298640" y="354455"/>
                      <a:pt x="326744" y="402813"/>
                      <a:pt x="342552" y="404571"/>
                    </a:cubicBezTo>
                    <a:cubicBezTo>
                      <a:pt x="358360" y="404571"/>
                      <a:pt x="365386" y="394900"/>
                      <a:pt x="372412" y="392262"/>
                    </a:cubicBezTo>
                    <a:cubicBezTo>
                      <a:pt x="375047" y="390504"/>
                      <a:pt x="383829" y="384349"/>
                      <a:pt x="384707" y="383470"/>
                    </a:cubicBezTo>
                    <a:cubicBezTo>
                      <a:pt x="418080" y="357093"/>
                      <a:pt x="433011" y="312252"/>
                      <a:pt x="441793" y="265653"/>
                    </a:cubicBezTo>
                    <a:cubicBezTo>
                      <a:pt x="464627" y="143440"/>
                      <a:pt x="375047" y="27381"/>
                      <a:pt x="251214" y="17710"/>
                    </a:cubicBezTo>
                    <a:lnTo>
                      <a:pt x="249458" y="17710"/>
                    </a:lnTo>
                    <a:close/>
                  </a:path>
                </a:pathLst>
              </a:custGeom>
              <a:solidFill>
                <a:srgbClr val="DEDDDC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109">
                <a:extLst>
                  <a:ext uri="{FF2B5EF4-FFF2-40B4-BE49-F238E27FC236}">
                    <a16:creationId xmlns:a16="http://schemas.microsoft.com/office/drawing/2014/main" id="{EBD30C51-0475-7DD6-E486-9F297AED5FAD}"/>
                  </a:ext>
                </a:extLst>
              </p:cNvPr>
              <p:cNvSpPr/>
              <p:nvPr/>
            </p:nvSpPr>
            <p:spPr>
              <a:xfrm>
                <a:off x="-8804027" y="2497883"/>
                <a:ext cx="217642" cy="270128"/>
              </a:xfrm>
              <a:custGeom>
                <a:avLst/>
                <a:gdLst>
                  <a:gd name="connsiteX0" fmla="*/ 216650 w 217642"/>
                  <a:gd name="connsiteY0" fmla="*/ 146832 h 270128"/>
                  <a:gd name="connsiteX1" fmla="*/ 186790 w 217642"/>
                  <a:gd name="connsiteY1" fmla="*/ 94078 h 270128"/>
                  <a:gd name="connsiteX2" fmla="*/ 191181 w 217642"/>
                  <a:gd name="connsiteY2" fmla="*/ 39565 h 270128"/>
                  <a:gd name="connsiteX3" fmla="*/ 90183 w 217642"/>
                  <a:gd name="connsiteY3" fmla="*/ 0 h 270128"/>
                  <a:gd name="connsiteX4" fmla="*/ 88427 w 217642"/>
                  <a:gd name="connsiteY4" fmla="*/ 0 h 270128"/>
                  <a:gd name="connsiteX5" fmla="*/ 46271 w 217642"/>
                  <a:gd name="connsiteY5" fmla="*/ 88802 h 270128"/>
                  <a:gd name="connsiteX6" fmla="*/ 50662 w 217642"/>
                  <a:gd name="connsiteY6" fmla="*/ 137160 h 270128"/>
                  <a:gd name="connsiteX7" fmla="*/ 37489 w 217642"/>
                  <a:gd name="connsiteY7" fmla="*/ 160020 h 270128"/>
                  <a:gd name="connsiteX8" fmla="*/ 602 w 217642"/>
                  <a:gd name="connsiteY8" fmla="*/ 218049 h 270128"/>
                  <a:gd name="connsiteX9" fmla="*/ 11141 w 217642"/>
                  <a:gd name="connsiteY9" fmla="*/ 237392 h 270128"/>
                  <a:gd name="connsiteX10" fmla="*/ 132339 w 217642"/>
                  <a:gd name="connsiteY10" fmla="*/ 268165 h 270128"/>
                  <a:gd name="connsiteX11" fmla="*/ 203476 w 217642"/>
                  <a:gd name="connsiteY11" fmla="*/ 223325 h 270128"/>
                  <a:gd name="connsiteX12" fmla="*/ 216650 w 217642"/>
                  <a:gd name="connsiteY12" fmla="*/ 146832 h 270128"/>
                  <a:gd name="connsiteX13" fmla="*/ 216650 w 217642"/>
                  <a:gd name="connsiteY13" fmla="*/ 146832 h 270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7642" h="270128">
                    <a:moveTo>
                      <a:pt x="216650" y="146832"/>
                    </a:moveTo>
                    <a:cubicBezTo>
                      <a:pt x="206989" y="116938"/>
                      <a:pt x="186790" y="94078"/>
                      <a:pt x="186790" y="94078"/>
                    </a:cubicBezTo>
                    <a:cubicBezTo>
                      <a:pt x="186790" y="94078"/>
                      <a:pt x="199085" y="72097"/>
                      <a:pt x="191181" y="39565"/>
                    </a:cubicBezTo>
                    <a:cubicBezTo>
                      <a:pt x="184155" y="9672"/>
                      <a:pt x="102478" y="1759"/>
                      <a:pt x="90183" y="0"/>
                    </a:cubicBezTo>
                    <a:lnTo>
                      <a:pt x="88427" y="0"/>
                    </a:lnTo>
                    <a:cubicBezTo>
                      <a:pt x="78766" y="16705"/>
                      <a:pt x="57688" y="55392"/>
                      <a:pt x="46271" y="88802"/>
                    </a:cubicBezTo>
                    <a:cubicBezTo>
                      <a:pt x="41001" y="104628"/>
                      <a:pt x="44514" y="121334"/>
                      <a:pt x="50662" y="137160"/>
                    </a:cubicBezTo>
                    <a:cubicBezTo>
                      <a:pt x="56810" y="152986"/>
                      <a:pt x="41880" y="152107"/>
                      <a:pt x="37489" y="160020"/>
                    </a:cubicBezTo>
                    <a:lnTo>
                      <a:pt x="602" y="218049"/>
                    </a:lnTo>
                    <a:cubicBezTo>
                      <a:pt x="602" y="218049"/>
                      <a:pt x="-3789" y="238272"/>
                      <a:pt x="11141" y="237392"/>
                    </a:cubicBezTo>
                    <a:cubicBezTo>
                      <a:pt x="26072" y="237392"/>
                      <a:pt x="113896" y="279595"/>
                      <a:pt x="132339" y="268165"/>
                    </a:cubicBezTo>
                    <a:cubicBezTo>
                      <a:pt x="143756" y="261132"/>
                      <a:pt x="182399" y="257615"/>
                      <a:pt x="203476" y="223325"/>
                    </a:cubicBezTo>
                    <a:cubicBezTo>
                      <a:pt x="214015" y="206619"/>
                      <a:pt x="220163" y="182001"/>
                      <a:pt x="216650" y="146832"/>
                    </a:cubicBezTo>
                    <a:lnTo>
                      <a:pt x="216650" y="146832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943A4BA8-CF1D-3343-A57D-E847547DAB46}"/>
                </a:ext>
              </a:extLst>
            </p:cNvPr>
            <p:cNvSpPr/>
            <p:nvPr/>
          </p:nvSpPr>
          <p:spPr>
            <a:xfrm>
              <a:off x="-9289971" y="2933981"/>
              <a:ext cx="1516724" cy="1346102"/>
            </a:xfrm>
            <a:custGeom>
              <a:avLst/>
              <a:gdLst>
                <a:gd name="connsiteX0" fmla="*/ 349541 w 1516724"/>
                <a:gd name="connsiteY0" fmla="*/ 654148 h 1346102"/>
                <a:gd name="connsiteX1" fmla="*/ 345149 w 1516724"/>
                <a:gd name="connsiteY1" fmla="*/ 805375 h 1346102"/>
                <a:gd name="connsiteX2" fmla="*/ 340758 w 1516724"/>
                <a:gd name="connsiteY2" fmla="*/ 1253783 h 1346102"/>
                <a:gd name="connsiteX3" fmla="*/ 753532 w 1516724"/>
                <a:gd name="connsiteY3" fmla="*/ 1269609 h 1346102"/>
                <a:gd name="connsiteX4" fmla="*/ 783392 w 1516724"/>
                <a:gd name="connsiteY4" fmla="*/ 1219493 h 1346102"/>
                <a:gd name="connsiteX5" fmla="*/ 822035 w 1516724"/>
                <a:gd name="connsiteY5" fmla="*/ 1272247 h 1346102"/>
                <a:gd name="connsiteX6" fmla="*/ 1222514 w 1516724"/>
                <a:gd name="connsiteY6" fmla="*/ 1287194 h 1346102"/>
                <a:gd name="connsiteX7" fmla="*/ 1208462 w 1516724"/>
                <a:gd name="connsiteY7" fmla="*/ 867801 h 1346102"/>
                <a:gd name="connsiteX8" fmla="*/ 1182993 w 1516724"/>
                <a:gd name="connsiteY8" fmla="*/ 659423 h 1346102"/>
                <a:gd name="connsiteX9" fmla="*/ 1219879 w 1516724"/>
                <a:gd name="connsiteY9" fmla="*/ 859888 h 1346102"/>
                <a:gd name="connsiteX10" fmla="*/ 1311216 w 1516724"/>
                <a:gd name="connsiteY10" fmla="*/ 1346102 h 1346102"/>
                <a:gd name="connsiteX11" fmla="*/ 1516725 w 1516724"/>
                <a:gd name="connsiteY11" fmla="*/ 1337310 h 1346102"/>
                <a:gd name="connsiteX12" fmla="*/ 1459639 w 1516724"/>
                <a:gd name="connsiteY12" fmla="*/ 726244 h 1346102"/>
                <a:gd name="connsiteX13" fmla="*/ 1283990 w 1516724"/>
                <a:gd name="connsiteY13" fmla="*/ 144194 h 1346102"/>
                <a:gd name="connsiteX14" fmla="*/ 1214610 w 1516724"/>
                <a:gd name="connsiteY14" fmla="*/ 76493 h 1346102"/>
                <a:gd name="connsiteX15" fmla="*/ 994170 w 1516724"/>
                <a:gd name="connsiteY15" fmla="*/ 13188 h 1346102"/>
                <a:gd name="connsiteX16" fmla="*/ 908103 w 1516724"/>
                <a:gd name="connsiteY16" fmla="*/ 0 h 1346102"/>
                <a:gd name="connsiteX17" fmla="*/ 784271 w 1516724"/>
                <a:gd name="connsiteY17" fmla="*/ 555674 h 1346102"/>
                <a:gd name="connsiteX18" fmla="*/ 647265 w 1516724"/>
                <a:gd name="connsiteY18" fmla="*/ 4396 h 1346102"/>
                <a:gd name="connsiteX19" fmla="*/ 329341 w 1516724"/>
                <a:gd name="connsiteY19" fmla="*/ 88802 h 1346102"/>
                <a:gd name="connsiteX20" fmla="*/ 5270 w 1516724"/>
                <a:gd name="connsiteY20" fmla="*/ 729761 h 1346102"/>
                <a:gd name="connsiteX21" fmla="*/ 0 w 1516724"/>
                <a:gd name="connsiteY21" fmla="*/ 766689 h 134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16724" h="1346102">
                  <a:moveTo>
                    <a:pt x="349541" y="654148"/>
                  </a:moveTo>
                  <a:lnTo>
                    <a:pt x="345149" y="805375"/>
                  </a:lnTo>
                  <a:cubicBezTo>
                    <a:pt x="324071" y="962758"/>
                    <a:pt x="323193" y="1152671"/>
                    <a:pt x="340758" y="1253783"/>
                  </a:cubicBezTo>
                  <a:lnTo>
                    <a:pt x="753532" y="1269609"/>
                  </a:lnTo>
                  <a:lnTo>
                    <a:pt x="783392" y="1219493"/>
                  </a:lnTo>
                  <a:lnTo>
                    <a:pt x="822035" y="1272247"/>
                  </a:lnTo>
                  <a:lnTo>
                    <a:pt x="1222514" y="1287194"/>
                  </a:lnTo>
                  <a:lnTo>
                    <a:pt x="1208462" y="867801"/>
                  </a:lnTo>
                  <a:lnTo>
                    <a:pt x="1182993" y="659423"/>
                  </a:lnTo>
                  <a:lnTo>
                    <a:pt x="1219879" y="859888"/>
                  </a:lnTo>
                  <a:cubicBezTo>
                    <a:pt x="1243592" y="1108710"/>
                    <a:pt x="1311216" y="1346102"/>
                    <a:pt x="1311216" y="1346102"/>
                  </a:cubicBezTo>
                  <a:lnTo>
                    <a:pt x="1516725" y="1337310"/>
                  </a:lnTo>
                  <a:cubicBezTo>
                    <a:pt x="1516725" y="1337310"/>
                    <a:pt x="1486865" y="1076178"/>
                    <a:pt x="1459639" y="726244"/>
                  </a:cubicBezTo>
                  <a:cubicBezTo>
                    <a:pt x="1431535" y="376311"/>
                    <a:pt x="1283990" y="144194"/>
                    <a:pt x="1283990" y="144194"/>
                  </a:cubicBezTo>
                  <a:cubicBezTo>
                    <a:pt x="1283990" y="144194"/>
                    <a:pt x="1261156" y="90561"/>
                    <a:pt x="1214610" y="76493"/>
                  </a:cubicBezTo>
                  <a:cubicBezTo>
                    <a:pt x="1181236" y="60667"/>
                    <a:pt x="1087264" y="32532"/>
                    <a:pt x="994170" y="13188"/>
                  </a:cubicBezTo>
                  <a:cubicBezTo>
                    <a:pt x="967823" y="7913"/>
                    <a:pt x="938841" y="2638"/>
                    <a:pt x="908103" y="0"/>
                  </a:cubicBezTo>
                  <a:cubicBezTo>
                    <a:pt x="903712" y="0"/>
                    <a:pt x="784271" y="555674"/>
                    <a:pt x="784271" y="555674"/>
                  </a:cubicBezTo>
                  <a:lnTo>
                    <a:pt x="647265" y="4396"/>
                  </a:lnTo>
                  <a:cubicBezTo>
                    <a:pt x="556806" y="17585"/>
                    <a:pt x="432974" y="43962"/>
                    <a:pt x="329341" y="88802"/>
                  </a:cubicBezTo>
                  <a:cubicBezTo>
                    <a:pt x="329341" y="88802"/>
                    <a:pt x="199361" y="283992"/>
                    <a:pt x="5270" y="729761"/>
                  </a:cubicBezTo>
                  <a:cubicBezTo>
                    <a:pt x="5270" y="731520"/>
                    <a:pt x="0" y="763172"/>
                    <a:pt x="0" y="766689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111">
              <a:extLst>
                <a:ext uri="{FF2B5EF4-FFF2-40B4-BE49-F238E27FC236}">
                  <a16:creationId xmlns:a16="http://schemas.microsoft.com/office/drawing/2014/main" id="{09A7E816-9A22-FDBD-A350-7CD39C9956A1}"/>
                </a:ext>
              </a:extLst>
            </p:cNvPr>
            <p:cNvSpPr/>
            <p:nvPr/>
          </p:nvSpPr>
          <p:spPr>
            <a:xfrm>
              <a:off x="-9291728" y="3588129"/>
              <a:ext cx="420678" cy="768447"/>
            </a:xfrm>
            <a:custGeom>
              <a:avLst/>
              <a:gdLst>
                <a:gd name="connsiteX0" fmla="*/ 351297 w 420678"/>
                <a:gd name="connsiteY0" fmla="*/ 0 h 768447"/>
                <a:gd name="connsiteX1" fmla="*/ 274012 w 420678"/>
                <a:gd name="connsiteY1" fmla="*/ 162658 h 768447"/>
                <a:gd name="connsiteX2" fmla="*/ 420678 w 420678"/>
                <a:gd name="connsiteY2" fmla="*/ 575896 h 768447"/>
                <a:gd name="connsiteX3" fmla="*/ 359201 w 420678"/>
                <a:gd name="connsiteY3" fmla="*/ 768448 h 768447"/>
                <a:gd name="connsiteX4" fmla="*/ 0 w 420678"/>
                <a:gd name="connsiteY4" fmla="*/ 85285 h 76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0678" h="768447">
                  <a:moveTo>
                    <a:pt x="351297" y="0"/>
                  </a:moveTo>
                  <a:cubicBezTo>
                    <a:pt x="319680" y="46599"/>
                    <a:pt x="303872" y="127488"/>
                    <a:pt x="274012" y="162658"/>
                  </a:cubicBezTo>
                  <a:cubicBezTo>
                    <a:pt x="279281" y="288388"/>
                    <a:pt x="343393" y="429944"/>
                    <a:pt x="420678" y="575896"/>
                  </a:cubicBezTo>
                  <a:cubicBezTo>
                    <a:pt x="390818" y="677008"/>
                    <a:pt x="374131" y="697230"/>
                    <a:pt x="359201" y="768448"/>
                  </a:cubicBezTo>
                  <a:cubicBezTo>
                    <a:pt x="2635" y="439615"/>
                    <a:pt x="2635" y="156503"/>
                    <a:pt x="0" y="85285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112">
              <a:extLst>
                <a:ext uri="{FF2B5EF4-FFF2-40B4-BE49-F238E27FC236}">
                  <a16:creationId xmlns:a16="http://schemas.microsoft.com/office/drawing/2014/main" id="{C6C2309F-4ABB-E656-4FA7-8892A9531D83}"/>
                </a:ext>
              </a:extLst>
            </p:cNvPr>
            <p:cNvSpPr/>
            <p:nvPr/>
          </p:nvSpPr>
          <p:spPr>
            <a:xfrm>
              <a:off x="-8507457" y="2940136"/>
              <a:ext cx="244151" cy="548639"/>
            </a:xfrm>
            <a:custGeom>
              <a:avLst/>
              <a:gdLst>
                <a:gd name="connsiteX0" fmla="*/ 0 w 244151"/>
                <a:gd name="connsiteY0" fmla="*/ 548640 h 548639"/>
                <a:gd name="connsiteX1" fmla="*/ 207265 w 244151"/>
                <a:gd name="connsiteY1" fmla="*/ 151228 h 548639"/>
                <a:gd name="connsiteX2" fmla="*/ 176527 w 244151"/>
                <a:gd name="connsiteY2" fmla="*/ 117817 h 548639"/>
                <a:gd name="connsiteX3" fmla="*/ 244151 w 244151"/>
                <a:gd name="connsiteY3" fmla="*/ 106387 h 548639"/>
                <a:gd name="connsiteX4" fmla="*/ 185309 w 244151"/>
                <a:gd name="connsiteY4" fmla="*/ 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51" h="548639">
                  <a:moveTo>
                    <a:pt x="0" y="548640"/>
                  </a:moveTo>
                  <a:lnTo>
                    <a:pt x="207265" y="151228"/>
                  </a:lnTo>
                  <a:lnTo>
                    <a:pt x="176527" y="117817"/>
                  </a:lnTo>
                  <a:lnTo>
                    <a:pt x="244151" y="106387"/>
                  </a:lnTo>
                  <a:lnTo>
                    <a:pt x="185309" y="0"/>
                  </a:lnTo>
                </a:path>
              </a:pathLst>
            </a:custGeom>
            <a:noFill/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113">
              <a:extLst>
                <a:ext uri="{FF2B5EF4-FFF2-40B4-BE49-F238E27FC236}">
                  <a16:creationId xmlns:a16="http://schemas.microsoft.com/office/drawing/2014/main" id="{5C258B94-5B5F-3D6A-8F3A-A274150C14DA}"/>
                </a:ext>
              </a:extLst>
            </p:cNvPr>
            <p:cNvSpPr/>
            <p:nvPr/>
          </p:nvSpPr>
          <p:spPr>
            <a:xfrm>
              <a:off x="-8743705" y="2944532"/>
              <a:ext cx="236247" cy="1208942"/>
            </a:xfrm>
            <a:custGeom>
              <a:avLst/>
              <a:gdLst>
                <a:gd name="connsiteX0" fmla="*/ 56208 w 236247"/>
                <a:gd name="connsiteY0" fmla="*/ 0 h 1208942"/>
                <a:gd name="connsiteX1" fmla="*/ 0 w 236247"/>
                <a:gd name="connsiteY1" fmla="*/ 101991 h 1208942"/>
                <a:gd name="connsiteX2" fmla="*/ 67625 w 236247"/>
                <a:gd name="connsiteY2" fmla="*/ 113421 h 1208942"/>
                <a:gd name="connsiteX3" fmla="*/ 36886 w 236247"/>
                <a:gd name="connsiteY3" fmla="*/ 146831 h 1208942"/>
                <a:gd name="connsiteX4" fmla="*/ 236247 w 236247"/>
                <a:gd name="connsiteY4" fmla="*/ 547761 h 1208942"/>
                <a:gd name="connsiteX5" fmla="*/ 236247 w 236247"/>
                <a:gd name="connsiteY5" fmla="*/ 1208942 h 1208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247" h="1208942">
                  <a:moveTo>
                    <a:pt x="56208" y="0"/>
                  </a:moveTo>
                  <a:lnTo>
                    <a:pt x="0" y="101991"/>
                  </a:lnTo>
                  <a:lnTo>
                    <a:pt x="67625" y="113421"/>
                  </a:lnTo>
                  <a:lnTo>
                    <a:pt x="36886" y="146831"/>
                  </a:lnTo>
                  <a:lnTo>
                    <a:pt x="236247" y="547761"/>
                  </a:lnTo>
                  <a:lnTo>
                    <a:pt x="236247" y="1208942"/>
                  </a:lnTo>
                </a:path>
              </a:pathLst>
            </a:custGeom>
            <a:noFill/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85913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538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936B769-2E77-B65C-6A02-44673F9A11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03498" y="1589148"/>
            <a:ext cx="5743087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heading</a:t>
            </a:r>
            <a:br>
              <a:rPr lang="en-GB"/>
            </a:br>
            <a:r>
              <a:rPr lang="en-GB"/>
              <a:t>over two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38EA0-C645-0060-E956-90116B3D79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03498" y="3571605"/>
            <a:ext cx="5743087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F9D1396-7C6C-EAB6-3F89-AD4400337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3498" y="5679508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DD818CB-33E1-D091-0383-21957D1F17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03498" y="1589218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D228D44-AD11-2B7B-8B26-DAC64B1F6C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03498" y="4587469"/>
            <a:ext cx="5743087" cy="29887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FB39728-1EEF-562E-0605-7E73439D94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3498" y="4912604"/>
            <a:ext cx="5743087" cy="26151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7155137-FAA1-1713-95F7-18079B576E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BEB9A9F8-6368-CE14-907A-9B84B0A23F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-1994097" y="1994096"/>
            <a:ext cx="6858002" cy="286981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500E5C2-C023-DBAF-4ABE-9850B873993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5415" y="606830"/>
            <a:ext cx="4978044" cy="4978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662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538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B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C211FBC-463F-4EC5-8080-632A5BB8AFA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-1609726" y="1600201"/>
            <a:ext cx="6858002" cy="3657600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A0ACED-E331-1403-1DFD-5D1ABE8623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27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A0ACED-E331-1403-1DFD-5D1ABE86233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98D4B18B-5FE7-79B1-BD85-0B5E78D30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2038" y="131378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86F4F90-3EF8-6E78-2BE0-F933FFE9A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2038" y="192578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9734DE0C-AD30-1996-B4A5-6EE4399CE8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69641" y="131378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5D7EF3CF-1F48-BE4F-D625-4D90E45F60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69641" y="192578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A9CB3487-F002-86BA-E7E1-7621721A7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CF800E03-8CD4-F76D-4216-13BF5D2F1C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949B7CD-A4A7-0E7F-405A-CA336C30B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2037" y="596235"/>
            <a:ext cx="6769099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63BA6783-A3A0-D869-FC2F-4331BE5FA3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91535" y="305526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DE5CDE9-8A46-1D06-B349-595C7BB3E5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91535" y="366726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6984BBA9-1766-EB8B-109C-07B985E384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89138" y="305526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98EE849-C9C5-0A1B-0067-36644C9D3E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9138" y="366726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F2BD424-7078-D88E-25EA-11B054C60A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91535" y="48428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EF97F18-FAA7-6987-7B88-C7A43C0552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91535" y="5454800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49CF8621-3870-D017-81B2-C730662905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89138" y="48428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FC9F3CF-360C-6215-EB0C-143A3C1CCD9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689138" y="5454800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0A1CC2C2-7C93-2D0D-5926-F602DC1C505D}"/>
              </a:ext>
            </a:extLst>
          </p:cNvPr>
          <p:cNvGrpSpPr/>
          <p:nvPr userDrawn="1"/>
        </p:nvGrpSpPr>
        <p:grpSpPr>
          <a:xfrm flipH="1">
            <a:off x="-596662" y="691441"/>
            <a:ext cx="4623096" cy="5172859"/>
            <a:chOff x="817111" y="-4411303"/>
            <a:chExt cx="3535911" cy="3956390"/>
          </a:xfrm>
        </p:grpSpPr>
        <p:grpSp>
          <p:nvGrpSpPr>
            <p:cNvPr id="81" name="Graphic 28">
              <a:extLst>
                <a:ext uri="{FF2B5EF4-FFF2-40B4-BE49-F238E27FC236}">
                  <a16:creationId xmlns:a16="http://schemas.microsoft.com/office/drawing/2014/main" id="{058796CB-3C56-1929-B94B-DCFDA948817A}"/>
                </a:ext>
              </a:extLst>
            </p:cNvPr>
            <p:cNvGrpSpPr/>
            <p:nvPr/>
          </p:nvGrpSpPr>
          <p:grpSpPr>
            <a:xfrm>
              <a:off x="817111" y="-4411303"/>
              <a:ext cx="1745845" cy="530026"/>
              <a:chOff x="2846576" y="1415258"/>
              <a:chExt cx="1745845" cy="530026"/>
            </a:xfrm>
          </p:grpSpPr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132CFE67-6C5C-A1F5-1B77-592786715061}"/>
                  </a:ext>
                </a:extLst>
              </p:cNvPr>
              <p:cNvSpPr/>
              <p:nvPr/>
            </p:nvSpPr>
            <p:spPr>
              <a:xfrm>
                <a:off x="2846576" y="1438055"/>
                <a:ext cx="594540" cy="364749"/>
              </a:xfrm>
              <a:custGeom>
                <a:avLst/>
                <a:gdLst>
                  <a:gd name="connsiteX0" fmla="*/ 411167 w 594540"/>
                  <a:gd name="connsiteY0" fmla="*/ 0 h 364749"/>
                  <a:gd name="connsiteX1" fmla="*/ 257406 w 594540"/>
                  <a:gd name="connsiteY1" fmla="*/ 84348 h 364749"/>
                  <a:gd name="connsiteX2" fmla="*/ 140093 w 594540"/>
                  <a:gd name="connsiteY2" fmla="*/ 84348 h 364749"/>
                  <a:gd name="connsiteX3" fmla="*/ 0 w 594540"/>
                  <a:gd name="connsiteY3" fmla="*/ 224549 h 364749"/>
                  <a:gd name="connsiteX4" fmla="*/ 0 w 594540"/>
                  <a:gd name="connsiteY4" fmla="*/ 224549 h 364749"/>
                  <a:gd name="connsiteX5" fmla="*/ 140093 w 594540"/>
                  <a:gd name="connsiteY5" fmla="*/ 364749 h 364749"/>
                  <a:gd name="connsiteX6" fmla="*/ 412306 w 594540"/>
                  <a:gd name="connsiteY6" fmla="*/ 364749 h 364749"/>
                  <a:gd name="connsiteX7" fmla="*/ 594541 w 594540"/>
                  <a:gd name="connsiteY7" fmla="*/ 182375 h 364749"/>
                  <a:gd name="connsiteX8" fmla="*/ 412306 w 594540"/>
                  <a:gd name="connsiteY8" fmla="*/ 0 h 364749"/>
                  <a:gd name="connsiteX9" fmla="*/ 411167 w 594540"/>
                  <a:gd name="connsiteY9" fmla="*/ 0 h 36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4540" h="364749">
                    <a:moveTo>
                      <a:pt x="411167" y="0"/>
                    </a:moveTo>
                    <a:cubicBezTo>
                      <a:pt x="346246" y="0"/>
                      <a:pt x="289297" y="34195"/>
                      <a:pt x="257406" y="84348"/>
                    </a:cubicBezTo>
                    <a:lnTo>
                      <a:pt x="140093" y="84348"/>
                    </a:lnTo>
                    <a:cubicBezTo>
                      <a:pt x="62643" y="84348"/>
                      <a:pt x="0" y="147040"/>
                      <a:pt x="0" y="224549"/>
                    </a:cubicBezTo>
                    <a:lnTo>
                      <a:pt x="0" y="224549"/>
                    </a:lnTo>
                    <a:cubicBezTo>
                      <a:pt x="0" y="302058"/>
                      <a:pt x="62643" y="364749"/>
                      <a:pt x="140093" y="364749"/>
                    </a:cubicBezTo>
                    <a:lnTo>
                      <a:pt x="412306" y="364749"/>
                    </a:lnTo>
                    <a:cubicBezTo>
                      <a:pt x="513674" y="364749"/>
                      <a:pt x="594541" y="282681"/>
                      <a:pt x="594541" y="182375"/>
                    </a:cubicBezTo>
                    <a:cubicBezTo>
                      <a:pt x="594541" y="82069"/>
                      <a:pt x="512535" y="0"/>
                      <a:pt x="412306" y="0"/>
                    </a:cubicBezTo>
                    <a:cubicBezTo>
                      <a:pt x="412306" y="0"/>
                      <a:pt x="411167" y="0"/>
                      <a:pt x="4111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83" name="Graphic 28">
                <a:extLst>
                  <a:ext uri="{FF2B5EF4-FFF2-40B4-BE49-F238E27FC236}">
                    <a16:creationId xmlns:a16="http://schemas.microsoft.com/office/drawing/2014/main" id="{03ABA711-BF7D-DF12-FFE0-36DF6107F5CA}"/>
                  </a:ext>
                </a:extLst>
              </p:cNvPr>
              <p:cNvGrpSpPr/>
              <p:nvPr/>
            </p:nvGrpSpPr>
            <p:grpSpPr>
              <a:xfrm>
                <a:off x="3014005" y="1415258"/>
                <a:ext cx="1492750" cy="530026"/>
                <a:chOff x="3014005" y="1415258"/>
                <a:chExt cx="1492750" cy="530026"/>
              </a:xfrm>
            </p:grpSpPr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F4029122-1DD4-FBD7-4A04-82D4E7F9612C}"/>
                    </a:ext>
                  </a:extLst>
                </p:cNvPr>
                <p:cNvSpPr/>
                <p:nvPr/>
              </p:nvSpPr>
              <p:spPr>
                <a:xfrm>
                  <a:off x="3014005" y="1415258"/>
                  <a:ext cx="987484" cy="530026"/>
                </a:xfrm>
                <a:custGeom>
                  <a:avLst/>
                  <a:gdLst>
                    <a:gd name="connsiteX0" fmla="*/ 820056 w 987484"/>
                    <a:gd name="connsiteY0" fmla="*/ 185794 h 530026"/>
                    <a:gd name="connsiteX1" fmla="*/ 567205 w 987484"/>
                    <a:gd name="connsiteY1" fmla="*/ 0 h 530026"/>
                    <a:gd name="connsiteX2" fmla="*/ 329161 w 987484"/>
                    <a:gd name="connsiteY2" fmla="*/ 149319 h 530026"/>
                    <a:gd name="connsiteX3" fmla="*/ 302965 w 987484"/>
                    <a:gd name="connsiteY3" fmla="*/ 145900 h 530026"/>
                    <a:gd name="connsiteX4" fmla="*/ 199319 w 987484"/>
                    <a:gd name="connsiteY4" fmla="*/ 249625 h 530026"/>
                    <a:gd name="connsiteX5" fmla="*/ 140093 w 987484"/>
                    <a:gd name="connsiteY5" fmla="*/ 249625 h 530026"/>
                    <a:gd name="connsiteX6" fmla="*/ 0 w 987484"/>
                    <a:gd name="connsiteY6" fmla="*/ 389826 h 530026"/>
                    <a:gd name="connsiteX7" fmla="*/ 0 w 987484"/>
                    <a:gd name="connsiteY7" fmla="*/ 389826 h 530026"/>
                    <a:gd name="connsiteX8" fmla="*/ 140093 w 987484"/>
                    <a:gd name="connsiteY8" fmla="*/ 530026 h 530026"/>
                    <a:gd name="connsiteX9" fmla="*/ 815500 w 987484"/>
                    <a:gd name="connsiteY9" fmla="*/ 530026 h 530026"/>
                    <a:gd name="connsiteX10" fmla="*/ 987484 w 987484"/>
                    <a:gd name="connsiteY10" fmla="*/ 357910 h 530026"/>
                    <a:gd name="connsiteX11" fmla="*/ 818917 w 987484"/>
                    <a:gd name="connsiteY11" fmla="*/ 185794 h 530026"/>
                    <a:gd name="connsiteX12" fmla="*/ 818917 w 987484"/>
                    <a:gd name="connsiteY12" fmla="*/ 185794 h 530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87484" h="530026">
                      <a:moveTo>
                        <a:pt x="820056" y="185794"/>
                      </a:moveTo>
                      <a:cubicBezTo>
                        <a:pt x="785887" y="78649"/>
                        <a:pt x="685658" y="0"/>
                        <a:pt x="567205" y="0"/>
                      </a:cubicBezTo>
                      <a:cubicBezTo>
                        <a:pt x="448753" y="0"/>
                        <a:pt x="372442" y="60412"/>
                        <a:pt x="329161" y="149319"/>
                      </a:cubicBezTo>
                      <a:cubicBezTo>
                        <a:pt x="321189" y="147040"/>
                        <a:pt x="312077" y="145900"/>
                        <a:pt x="302965" y="145900"/>
                      </a:cubicBezTo>
                      <a:cubicBezTo>
                        <a:pt x="246017" y="145900"/>
                        <a:pt x="199319" y="192633"/>
                        <a:pt x="199319" y="249625"/>
                      </a:cubicBezTo>
                      <a:lnTo>
                        <a:pt x="140093" y="249625"/>
                      </a:lnTo>
                      <a:cubicBezTo>
                        <a:pt x="62643" y="249625"/>
                        <a:pt x="0" y="312317"/>
                        <a:pt x="0" y="389826"/>
                      </a:cubicBezTo>
                      <a:lnTo>
                        <a:pt x="0" y="389826"/>
                      </a:lnTo>
                      <a:cubicBezTo>
                        <a:pt x="0" y="467335"/>
                        <a:pt x="62643" y="530026"/>
                        <a:pt x="140093" y="530026"/>
                      </a:cubicBezTo>
                      <a:lnTo>
                        <a:pt x="815500" y="530026"/>
                      </a:lnTo>
                      <a:cubicBezTo>
                        <a:pt x="911173" y="530026"/>
                        <a:pt x="987484" y="452517"/>
                        <a:pt x="987484" y="357910"/>
                      </a:cubicBezTo>
                      <a:cubicBezTo>
                        <a:pt x="987484" y="263303"/>
                        <a:pt x="912312" y="188074"/>
                        <a:pt x="818917" y="185794"/>
                      </a:cubicBezTo>
                      <a:lnTo>
                        <a:pt x="818917" y="18579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AFDABE05-DCE1-691F-1D3F-B726FFC7AF57}"/>
                    </a:ext>
                  </a:extLst>
                </p:cNvPr>
                <p:cNvSpPr/>
                <p:nvPr/>
              </p:nvSpPr>
              <p:spPr>
                <a:xfrm>
                  <a:off x="3732693" y="1601053"/>
                  <a:ext cx="100228" cy="33055"/>
                </a:xfrm>
                <a:custGeom>
                  <a:avLst/>
                  <a:gdLst>
                    <a:gd name="connsiteX0" fmla="*/ 100229 w 100228"/>
                    <a:gd name="connsiteY0" fmla="*/ 0 h 33055"/>
                    <a:gd name="connsiteX1" fmla="*/ 0 w 100228"/>
                    <a:gd name="connsiteY1" fmla="*/ 33055 h 33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228" h="33055">
                      <a:moveTo>
                        <a:pt x="100229" y="0"/>
                      </a:moveTo>
                      <a:cubicBezTo>
                        <a:pt x="62643" y="0"/>
                        <a:pt x="27335" y="12538"/>
                        <a:pt x="0" y="33055"/>
                      </a:cubicBezTo>
                    </a:path>
                  </a:pathLst>
                </a:custGeom>
                <a:noFill/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C28D6541-8306-CEF1-A47C-531C903C5C39}"/>
                </a:ext>
              </a:extLst>
            </p:cNvPr>
            <p:cNvSpPr/>
            <p:nvPr/>
          </p:nvSpPr>
          <p:spPr>
            <a:xfrm>
              <a:off x="2924200" y="-466311"/>
              <a:ext cx="506840" cy="11398"/>
            </a:xfrm>
            <a:custGeom>
              <a:avLst/>
              <a:gdLst>
                <a:gd name="connsiteX0" fmla="*/ 0 w 506840"/>
                <a:gd name="connsiteY0" fmla="*/ 0 h 11398"/>
                <a:gd name="connsiteX1" fmla="*/ 506840 w 506840"/>
                <a:gd name="connsiteY1" fmla="*/ 0 h 11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40" h="11398">
                  <a:moveTo>
                    <a:pt x="0" y="0"/>
                  </a:moveTo>
                  <a:lnTo>
                    <a:pt x="506840" y="0"/>
                  </a:lnTo>
                </a:path>
              </a:pathLst>
            </a:custGeom>
            <a:ln w="11287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1" name="Graphic 28">
              <a:extLst>
                <a:ext uri="{FF2B5EF4-FFF2-40B4-BE49-F238E27FC236}">
                  <a16:creationId xmlns:a16="http://schemas.microsoft.com/office/drawing/2014/main" id="{BA7C3F35-635E-99B1-0B1C-C66B51211405}"/>
                </a:ext>
              </a:extLst>
            </p:cNvPr>
            <p:cNvGrpSpPr/>
            <p:nvPr/>
          </p:nvGrpSpPr>
          <p:grpSpPr>
            <a:xfrm>
              <a:off x="1279412" y="-4032875"/>
              <a:ext cx="3073610" cy="3567704"/>
              <a:chOff x="3308877" y="1793686"/>
              <a:chExt cx="3073610" cy="3567704"/>
            </a:xfrm>
          </p:grpSpPr>
          <p:grpSp>
            <p:nvGrpSpPr>
              <p:cNvPr id="112" name="Graphic 28">
                <a:extLst>
                  <a:ext uri="{FF2B5EF4-FFF2-40B4-BE49-F238E27FC236}">
                    <a16:creationId xmlns:a16="http://schemas.microsoft.com/office/drawing/2014/main" id="{3D611332-24F5-1740-E077-628717876B32}"/>
                  </a:ext>
                </a:extLst>
              </p:cNvPr>
              <p:cNvGrpSpPr/>
              <p:nvPr/>
            </p:nvGrpSpPr>
            <p:grpSpPr>
              <a:xfrm>
                <a:off x="3308877" y="1813987"/>
                <a:ext cx="3073610" cy="3547403"/>
                <a:chOff x="3308877" y="1813987"/>
                <a:chExt cx="3073610" cy="3547403"/>
              </a:xfrm>
            </p:grpSpPr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00C4E919-6C32-ACD7-D2A8-7D66C43E1D45}"/>
                    </a:ext>
                  </a:extLst>
                </p:cNvPr>
                <p:cNvSpPr/>
                <p:nvPr/>
              </p:nvSpPr>
              <p:spPr>
                <a:xfrm>
                  <a:off x="3308877" y="2346007"/>
                  <a:ext cx="298529" cy="348153"/>
                </a:xfrm>
                <a:custGeom>
                  <a:avLst/>
                  <a:gdLst>
                    <a:gd name="connsiteX0" fmla="*/ 298530 w 298529"/>
                    <a:gd name="connsiteY0" fmla="*/ 287742 h 348153"/>
                    <a:gd name="connsiteX1" fmla="*/ 276889 w 298529"/>
                    <a:gd name="connsiteY1" fmla="*/ 259246 h 348153"/>
                    <a:gd name="connsiteX2" fmla="*/ 276889 w 298529"/>
                    <a:gd name="connsiteY2" fmla="*/ 256966 h 348153"/>
                    <a:gd name="connsiteX3" fmla="*/ 243859 w 298529"/>
                    <a:gd name="connsiteY3" fmla="*/ 140702 h 348153"/>
                    <a:gd name="connsiteX4" fmla="*/ 225636 w 298529"/>
                    <a:gd name="connsiteY4" fmla="*/ 105367 h 348153"/>
                    <a:gd name="connsiteX5" fmla="*/ 181216 w 298529"/>
                    <a:gd name="connsiteY5" fmla="*/ 38117 h 348153"/>
                    <a:gd name="connsiteX6" fmla="*/ 176660 w 298529"/>
                    <a:gd name="connsiteY6" fmla="*/ 92829 h 348153"/>
                    <a:gd name="connsiteX7" fmla="*/ 191467 w 298529"/>
                    <a:gd name="connsiteY7" fmla="*/ 129304 h 348153"/>
                    <a:gd name="connsiteX8" fmla="*/ 162993 w 298529"/>
                    <a:gd name="connsiteY8" fmla="*/ 114486 h 348153"/>
                    <a:gd name="connsiteX9" fmla="*/ 103766 w 298529"/>
                    <a:gd name="connsiteY9" fmla="*/ 23299 h 348153"/>
                    <a:gd name="connsiteX10" fmla="*/ 74153 w 298529"/>
                    <a:gd name="connsiteY10" fmla="*/ 33557 h 348153"/>
                    <a:gd name="connsiteX11" fmla="*/ 125406 w 298529"/>
                    <a:gd name="connsiteY11" fmla="*/ 132724 h 348153"/>
                    <a:gd name="connsiteX12" fmla="*/ 66180 w 298529"/>
                    <a:gd name="connsiteY12" fmla="*/ 14180 h 348153"/>
                    <a:gd name="connsiteX13" fmla="*/ 34289 w 298529"/>
                    <a:gd name="connsiteY13" fmla="*/ 28998 h 348153"/>
                    <a:gd name="connsiteX14" fmla="*/ 101488 w 298529"/>
                    <a:gd name="connsiteY14" fmla="*/ 158940 h 348153"/>
                    <a:gd name="connsiteX15" fmla="*/ 42262 w 298529"/>
                    <a:gd name="connsiteY15" fmla="*/ 55214 h 348153"/>
                    <a:gd name="connsiteX16" fmla="*/ 11510 w 298529"/>
                    <a:gd name="connsiteY16" fmla="*/ 58634 h 348153"/>
                    <a:gd name="connsiteX17" fmla="*/ 78709 w 298529"/>
                    <a:gd name="connsiteY17" fmla="*/ 182877 h 348153"/>
                    <a:gd name="connsiteX18" fmla="*/ 25178 w 298529"/>
                    <a:gd name="connsiteY18" fmla="*/ 89410 h 348153"/>
                    <a:gd name="connsiteX19" fmla="*/ 120 w 298529"/>
                    <a:gd name="connsiteY19" fmla="*/ 103088 h 348153"/>
                    <a:gd name="connsiteX20" fmla="*/ 67319 w 298529"/>
                    <a:gd name="connsiteY20" fmla="*/ 222771 h 348153"/>
                    <a:gd name="connsiteX21" fmla="*/ 162993 w 298529"/>
                    <a:gd name="connsiteY21" fmla="*/ 287742 h 348153"/>
                    <a:gd name="connsiteX22" fmla="*/ 202856 w 298529"/>
                    <a:gd name="connsiteY22" fmla="*/ 304840 h 348153"/>
                    <a:gd name="connsiteX23" fmla="*/ 229052 w 298529"/>
                    <a:gd name="connsiteY23" fmla="*/ 348154 h 348153"/>
                    <a:gd name="connsiteX24" fmla="*/ 297390 w 298529"/>
                    <a:gd name="connsiteY24" fmla="*/ 288882 h 348153"/>
                    <a:gd name="connsiteX25" fmla="*/ 298530 w 298529"/>
                    <a:gd name="connsiteY25" fmla="*/ 288882 h 34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98529" h="348153">
                      <a:moveTo>
                        <a:pt x="298530" y="287742"/>
                      </a:moveTo>
                      <a:cubicBezTo>
                        <a:pt x="290557" y="276344"/>
                        <a:pt x="282584" y="267225"/>
                        <a:pt x="276889" y="259246"/>
                      </a:cubicBezTo>
                      <a:lnTo>
                        <a:pt x="276889" y="256966"/>
                      </a:lnTo>
                      <a:cubicBezTo>
                        <a:pt x="276889" y="256966"/>
                        <a:pt x="248415" y="158940"/>
                        <a:pt x="243859" y="140702"/>
                      </a:cubicBezTo>
                      <a:cubicBezTo>
                        <a:pt x="238164" y="123605"/>
                        <a:pt x="225636" y="105367"/>
                        <a:pt x="225636" y="105367"/>
                      </a:cubicBezTo>
                      <a:cubicBezTo>
                        <a:pt x="207412" y="83710"/>
                        <a:pt x="185772" y="63193"/>
                        <a:pt x="181216" y="38117"/>
                      </a:cubicBezTo>
                      <a:cubicBezTo>
                        <a:pt x="181216" y="38117"/>
                        <a:pt x="137935" y="47235"/>
                        <a:pt x="176660" y="92829"/>
                      </a:cubicBezTo>
                      <a:cubicBezTo>
                        <a:pt x="215385" y="138423"/>
                        <a:pt x="186911" y="115626"/>
                        <a:pt x="191467" y="129304"/>
                      </a:cubicBezTo>
                      <a:cubicBezTo>
                        <a:pt x="178938" y="122465"/>
                        <a:pt x="166409" y="116766"/>
                        <a:pt x="162993" y="114486"/>
                      </a:cubicBezTo>
                      <a:cubicBezTo>
                        <a:pt x="149325" y="106507"/>
                        <a:pt x="111739" y="33557"/>
                        <a:pt x="103766" y="23299"/>
                      </a:cubicBezTo>
                      <a:cubicBezTo>
                        <a:pt x="98071" y="11900"/>
                        <a:pt x="65041" y="3921"/>
                        <a:pt x="74153" y="33557"/>
                      </a:cubicBezTo>
                      <a:cubicBezTo>
                        <a:pt x="87821" y="58634"/>
                        <a:pt x="125406" y="132724"/>
                        <a:pt x="125406" y="132724"/>
                      </a:cubicBezTo>
                      <a:cubicBezTo>
                        <a:pt x="104905" y="91689"/>
                        <a:pt x="74153" y="32417"/>
                        <a:pt x="66180" y="14180"/>
                      </a:cubicBezTo>
                      <a:cubicBezTo>
                        <a:pt x="58207" y="-5197"/>
                        <a:pt x="29733" y="-8617"/>
                        <a:pt x="34289" y="28998"/>
                      </a:cubicBezTo>
                      <a:cubicBezTo>
                        <a:pt x="37706" y="52935"/>
                        <a:pt x="101488" y="158940"/>
                        <a:pt x="101488" y="158940"/>
                      </a:cubicBezTo>
                      <a:cubicBezTo>
                        <a:pt x="101488" y="158940"/>
                        <a:pt x="58207" y="81431"/>
                        <a:pt x="42262" y="55214"/>
                      </a:cubicBezTo>
                      <a:cubicBezTo>
                        <a:pt x="27455" y="28998"/>
                        <a:pt x="5815" y="41536"/>
                        <a:pt x="11510" y="58634"/>
                      </a:cubicBezTo>
                      <a:cubicBezTo>
                        <a:pt x="11510" y="72312"/>
                        <a:pt x="73014" y="178317"/>
                        <a:pt x="78709" y="182877"/>
                      </a:cubicBezTo>
                      <a:cubicBezTo>
                        <a:pt x="66180" y="169198"/>
                        <a:pt x="25178" y="89410"/>
                        <a:pt x="25178" y="89410"/>
                      </a:cubicBezTo>
                      <a:cubicBezTo>
                        <a:pt x="25178" y="89410"/>
                        <a:pt x="4676" y="83710"/>
                        <a:pt x="120" y="103088"/>
                      </a:cubicBezTo>
                      <a:cubicBezTo>
                        <a:pt x="-3297" y="122465"/>
                        <a:pt x="67319" y="222771"/>
                        <a:pt x="67319" y="222771"/>
                      </a:cubicBezTo>
                      <a:cubicBezTo>
                        <a:pt x="67319" y="222771"/>
                        <a:pt x="91237" y="260386"/>
                        <a:pt x="162993" y="287742"/>
                      </a:cubicBezTo>
                      <a:cubicBezTo>
                        <a:pt x="178938" y="293441"/>
                        <a:pt x="190328" y="302560"/>
                        <a:pt x="202856" y="304840"/>
                      </a:cubicBezTo>
                      <a:cubicBezTo>
                        <a:pt x="211968" y="319658"/>
                        <a:pt x="221080" y="333336"/>
                        <a:pt x="229052" y="348154"/>
                      </a:cubicBezTo>
                      <a:lnTo>
                        <a:pt x="297390" y="288882"/>
                      </a:lnTo>
                      <a:lnTo>
                        <a:pt x="298530" y="288882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FCB34B75-5B3C-24CB-B986-B51656628041}"/>
                    </a:ext>
                  </a:extLst>
                </p:cNvPr>
                <p:cNvSpPr/>
                <p:nvPr/>
              </p:nvSpPr>
              <p:spPr>
                <a:xfrm>
                  <a:off x="3632463" y="4607198"/>
                  <a:ext cx="216403" cy="292556"/>
                </a:xfrm>
                <a:custGeom>
                  <a:avLst/>
                  <a:gdLst>
                    <a:gd name="connsiteX0" fmla="*/ 26196 w 216403"/>
                    <a:gd name="connsiteY0" fmla="*/ 75987 h 292556"/>
                    <a:gd name="connsiteX1" fmla="*/ 38725 w 216403"/>
                    <a:gd name="connsiteY1" fmla="*/ 179713 h 292556"/>
                    <a:gd name="connsiteX2" fmla="*/ 38725 w 216403"/>
                    <a:gd name="connsiteY2" fmla="*/ 185412 h 292556"/>
                    <a:gd name="connsiteX3" fmla="*/ 0 w 216403"/>
                    <a:gd name="connsiteY3" fmla="*/ 292557 h 292556"/>
                    <a:gd name="connsiteX4" fmla="*/ 216404 w 216403"/>
                    <a:gd name="connsiteY4" fmla="*/ 225306 h 292556"/>
                    <a:gd name="connsiteX5" fmla="*/ 207292 w 216403"/>
                    <a:gd name="connsiteY5" fmla="*/ 205929 h 292556"/>
                    <a:gd name="connsiteX6" fmla="*/ 210709 w 216403"/>
                    <a:gd name="connsiteY6" fmla="*/ 204789 h 292556"/>
                    <a:gd name="connsiteX7" fmla="*/ 176540 w 216403"/>
                    <a:gd name="connsiteY7" fmla="*/ 29253 h 292556"/>
                    <a:gd name="connsiteX8" fmla="*/ 27335 w 216403"/>
                    <a:gd name="connsiteY8" fmla="*/ 75987 h 292556"/>
                    <a:gd name="connsiteX9" fmla="*/ 26196 w 216403"/>
                    <a:gd name="connsiteY9" fmla="*/ 75987 h 292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6403" h="292556">
                      <a:moveTo>
                        <a:pt x="26196" y="75987"/>
                      </a:moveTo>
                      <a:cubicBezTo>
                        <a:pt x="26196" y="75987"/>
                        <a:pt x="35308" y="128420"/>
                        <a:pt x="38725" y="179713"/>
                      </a:cubicBezTo>
                      <a:lnTo>
                        <a:pt x="38725" y="185412"/>
                      </a:lnTo>
                      <a:cubicBezTo>
                        <a:pt x="37586" y="264061"/>
                        <a:pt x="0" y="292557"/>
                        <a:pt x="0" y="292557"/>
                      </a:cubicBezTo>
                      <a:lnTo>
                        <a:pt x="216404" y="225306"/>
                      </a:lnTo>
                      <a:lnTo>
                        <a:pt x="207292" y="205929"/>
                      </a:lnTo>
                      <a:cubicBezTo>
                        <a:pt x="209570" y="205929"/>
                        <a:pt x="210709" y="204789"/>
                        <a:pt x="210709" y="204789"/>
                      </a:cubicBezTo>
                      <a:cubicBezTo>
                        <a:pt x="194763" y="186552"/>
                        <a:pt x="187929" y="104483"/>
                        <a:pt x="176540" y="29253"/>
                      </a:cubicBezTo>
                      <a:cubicBezTo>
                        <a:pt x="164011" y="-57374"/>
                        <a:pt x="27335" y="75987"/>
                        <a:pt x="27335" y="75987"/>
                      </a:cubicBezTo>
                      <a:lnTo>
                        <a:pt x="26196" y="75987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Freeform 114">
                  <a:extLst>
                    <a:ext uri="{FF2B5EF4-FFF2-40B4-BE49-F238E27FC236}">
                      <a16:creationId xmlns:a16="http://schemas.microsoft.com/office/drawing/2014/main" id="{513E0D0E-4EE9-8F54-816B-18FC43EA3422}"/>
                    </a:ext>
                  </a:extLst>
                </p:cNvPr>
                <p:cNvSpPr/>
                <p:nvPr/>
              </p:nvSpPr>
              <p:spPr>
                <a:xfrm>
                  <a:off x="3465807" y="4790788"/>
                  <a:ext cx="431242" cy="289061"/>
                </a:xfrm>
                <a:custGeom>
                  <a:avLst/>
                  <a:gdLst>
                    <a:gd name="connsiteX0" fmla="*/ 31120 w 431242"/>
                    <a:gd name="connsiteY0" fmla="*/ 289062 h 289061"/>
                    <a:gd name="connsiteX1" fmla="*/ 422924 w 431242"/>
                    <a:gd name="connsiteY1" fmla="*/ 176217 h 289061"/>
                    <a:gd name="connsiteX2" fmla="*/ 429758 w 431242"/>
                    <a:gd name="connsiteY2" fmla="*/ 130624 h 289061"/>
                    <a:gd name="connsiteX3" fmla="*/ 370532 w 431242"/>
                    <a:gd name="connsiteY3" fmla="*/ 2962 h 289061"/>
                    <a:gd name="connsiteX4" fmla="*/ 362559 w 431242"/>
                    <a:gd name="connsiteY4" fmla="*/ 682 h 289061"/>
                    <a:gd name="connsiteX5" fmla="*/ 336363 w 431242"/>
                    <a:gd name="connsiteY5" fmla="*/ 41716 h 289061"/>
                    <a:gd name="connsiteX6" fmla="*/ 254357 w 431242"/>
                    <a:gd name="connsiteY6" fmla="*/ 20059 h 289061"/>
                    <a:gd name="connsiteX7" fmla="*/ 203104 w 431242"/>
                    <a:gd name="connsiteY7" fmla="*/ 10940 h 289061"/>
                    <a:gd name="connsiteX8" fmla="*/ 63011 w 431242"/>
                    <a:gd name="connsiteY8" fmla="*/ 171658 h 289061"/>
                    <a:gd name="connsiteX9" fmla="*/ 37954 w 431242"/>
                    <a:gd name="connsiteY9" fmla="*/ 185336 h 289061"/>
                    <a:gd name="connsiteX10" fmla="*/ 1507 w 431242"/>
                    <a:gd name="connsiteY10" fmla="*/ 232070 h 289061"/>
                    <a:gd name="connsiteX11" fmla="*/ 32259 w 431242"/>
                    <a:gd name="connsiteY11" fmla="*/ 287922 h 289061"/>
                    <a:gd name="connsiteX12" fmla="*/ 32259 w 431242"/>
                    <a:gd name="connsiteY12" fmla="*/ 287922 h 289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31242" h="289061">
                      <a:moveTo>
                        <a:pt x="31120" y="289062"/>
                      </a:moveTo>
                      <a:lnTo>
                        <a:pt x="422924" y="176217"/>
                      </a:lnTo>
                      <a:cubicBezTo>
                        <a:pt x="422924" y="176217"/>
                        <a:pt x="435453" y="159120"/>
                        <a:pt x="429758" y="130624"/>
                      </a:cubicBezTo>
                      <a:cubicBezTo>
                        <a:pt x="424063" y="105547"/>
                        <a:pt x="381922" y="24618"/>
                        <a:pt x="370532" y="2962"/>
                      </a:cubicBezTo>
                      <a:cubicBezTo>
                        <a:pt x="369393" y="-458"/>
                        <a:pt x="364837" y="-458"/>
                        <a:pt x="362559" y="682"/>
                      </a:cubicBezTo>
                      <a:cubicBezTo>
                        <a:pt x="355725" y="6381"/>
                        <a:pt x="342058" y="18919"/>
                        <a:pt x="336363" y="41716"/>
                      </a:cubicBezTo>
                      <a:cubicBezTo>
                        <a:pt x="327251" y="74771"/>
                        <a:pt x="270303" y="41716"/>
                        <a:pt x="254357" y="20059"/>
                      </a:cubicBezTo>
                      <a:cubicBezTo>
                        <a:pt x="238412" y="-1598"/>
                        <a:pt x="203104" y="10940"/>
                        <a:pt x="203104" y="10940"/>
                      </a:cubicBezTo>
                      <a:lnTo>
                        <a:pt x="63011" y="171658"/>
                      </a:lnTo>
                      <a:lnTo>
                        <a:pt x="37954" y="185336"/>
                      </a:lnTo>
                      <a:cubicBezTo>
                        <a:pt x="19730" y="195595"/>
                        <a:pt x="6063" y="211552"/>
                        <a:pt x="1507" y="232070"/>
                      </a:cubicBezTo>
                      <a:cubicBezTo>
                        <a:pt x="-3049" y="251447"/>
                        <a:pt x="1507" y="278803"/>
                        <a:pt x="32259" y="287922"/>
                      </a:cubicBezTo>
                      <a:lnTo>
                        <a:pt x="32259" y="287922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Freeform 115">
                  <a:extLst>
                    <a:ext uri="{FF2B5EF4-FFF2-40B4-BE49-F238E27FC236}">
                      <a16:creationId xmlns:a16="http://schemas.microsoft.com/office/drawing/2014/main" id="{08517D34-1AA6-F31A-BB6A-8EDA94F7E710}"/>
                    </a:ext>
                  </a:extLst>
                </p:cNvPr>
                <p:cNvSpPr/>
                <p:nvPr/>
              </p:nvSpPr>
              <p:spPr>
                <a:xfrm>
                  <a:off x="5029975" y="4930754"/>
                  <a:ext cx="215264" cy="316652"/>
                </a:xfrm>
                <a:custGeom>
                  <a:avLst/>
                  <a:gdLst>
                    <a:gd name="connsiteX0" fmla="*/ 0 w 215264"/>
                    <a:gd name="connsiteY0" fmla="*/ 98942 h 316652"/>
                    <a:gd name="connsiteX1" fmla="*/ 33030 w 215264"/>
                    <a:gd name="connsiteY1" fmla="*/ 198109 h 316652"/>
                    <a:gd name="connsiteX2" fmla="*/ 33030 w 215264"/>
                    <a:gd name="connsiteY2" fmla="*/ 203808 h 316652"/>
                    <a:gd name="connsiteX3" fmla="*/ 15945 w 215264"/>
                    <a:gd name="connsiteY3" fmla="*/ 316652 h 316652"/>
                    <a:gd name="connsiteX4" fmla="*/ 215265 w 215264"/>
                    <a:gd name="connsiteY4" fmla="*/ 208367 h 316652"/>
                    <a:gd name="connsiteX5" fmla="*/ 202736 w 215264"/>
                    <a:gd name="connsiteY5" fmla="*/ 191270 h 316652"/>
                    <a:gd name="connsiteX6" fmla="*/ 205014 w 215264"/>
                    <a:gd name="connsiteY6" fmla="*/ 188990 h 316652"/>
                    <a:gd name="connsiteX7" fmla="*/ 137815 w 215264"/>
                    <a:gd name="connsiteY7" fmla="*/ 23713 h 316652"/>
                    <a:gd name="connsiteX8" fmla="*/ 0 w 215264"/>
                    <a:gd name="connsiteY8" fmla="*/ 98942 h 316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5264" h="316652">
                      <a:moveTo>
                        <a:pt x="0" y="98942"/>
                      </a:moveTo>
                      <a:cubicBezTo>
                        <a:pt x="0" y="98942"/>
                        <a:pt x="19363" y="149096"/>
                        <a:pt x="33030" y="198109"/>
                      </a:cubicBezTo>
                      <a:lnTo>
                        <a:pt x="33030" y="203808"/>
                      </a:lnTo>
                      <a:cubicBezTo>
                        <a:pt x="46698" y="281317"/>
                        <a:pt x="15945" y="316652"/>
                        <a:pt x="15945" y="316652"/>
                      </a:cubicBezTo>
                      <a:lnTo>
                        <a:pt x="215265" y="208367"/>
                      </a:lnTo>
                      <a:lnTo>
                        <a:pt x="202736" y="191270"/>
                      </a:lnTo>
                      <a:lnTo>
                        <a:pt x="205014" y="188990"/>
                      </a:lnTo>
                      <a:cubicBezTo>
                        <a:pt x="185651" y="174172"/>
                        <a:pt x="162872" y="95523"/>
                        <a:pt x="137815" y="23713"/>
                      </a:cubicBezTo>
                      <a:cubicBezTo>
                        <a:pt x="108202" y="-58356"/>
                        <a:pt x="0" y="98942"/>
                        <a:pt x="0" y="98942"/>
                      </a:cubicBez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B1FF58FC-1B8E-F1B4-0F5E-1688E796290A}"/>
                    </a:ext>
                  </a:extLst>
                </p:cNvPr>
                <p:cNvSpPr/>
                <p:nvPr/>
              </p:nvSpPr>
              <p:spPr>
                <a:xfrm>
                  <a:off x="4844324" y="5100936"/>
                  <a:ext cx="469287" cy="260453"/>
                </a:xfrm>
                <a:custGeom>
                  <a:avLst/>
                  <a:gdLst>
                    <a:gd name="connsiteX0" fmla="*/ 42142 w 469287"/>
                    <a:gd name="connsiteY0" fmla="*/ 260454 h 260453"/>
                    <a:gd name="connsiteX1" fmla="*/ 259684 w 469287"/>
                    <a:gd name="connsiteY1" fmla="*/ 257034 h 260453"/>
                    <a:gd name="connsiteX2" fmla="*/ 465837 w 469287"/>
                    <a:gd name="connsiteY2" fmla="*/ 162427 h 260453"/>
                    <a:gd name="connsiteX3" fmla="*/ 463559 w 469287"/>
                    <a:gd name="connsiteY3" fmla="*/ 115694 h 260453"/>
                    <a:gd name="connsiteX4" fmla="*/ 380415 w 469287"/>
                    <a:gd name="connsiteY4" fmla="*/ 1710 h 260453"/>
                    <a:gd name="connsiteX5" fmla="*/ 372442 w 469287"/>
                    <a:gd name="connsiteY5" fmla="*/ 1710 h 260453"/>
                    <a:gd name="connsiteX6" fmla="*/ 354218 w 469287"/>
                    <a:gd name="connsiteY6" fmla="*/ 47304 h 260453"/>
                    <a:gd name="connsiteX7" fmla="*/ 269935 w 469287"/>
                    <a:gd name="connsiteY7" fmla="*/ 42744 h 260453"/>
                    <a:gd name="connsiteX8" fmla="*/ 217542 w 469287"/>
                    <a:gd name="connsiteY8" fmla="*/ 43884 h 260453"/>
                    <a:gd name="connsiteX9" fmla="*/ 145788 w 469287"/>
                    <a:gd name="connsiteY9" fmla="*/ 129372 h 260453"/>
                    <a:gd name="connsiteX10" fmla="*/ 34169 w 469287"/>
                    <a:gd name="connsiteY10" fmla="*/ 163567 h 260453"/>
                    <a:gd name="connsiteX11" fmla="*/ 0 w 469287"/>
                    <a:gd name="connsiteY11" fmla="*/ 209161 h 260453"/>
                    <a:gd name="connsiteX12" fmla="*/ 41003 w 469287"/>
                    <a:gd name="connsiteY12" fmla="*/ 258174 h 260453"/>
                    <a:gd name="connsiteX13" fmla="*/ 41003 w 469287"/>
                    <a:gd name="connsiteY13" fmla="*/ 260454 h 260453"/>
                    <a:gd name="connsiteX14" fmla="*/ 41003 w 469287"/>
                    <a:gd name="connsiteY14" fmla="*/ 260454 h 260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69287" h="260453">
                      <a:moveTo>
                        <a:pt x="42142" y="260454"/>
                      </a:moveTo>
                      <a:lnTo>
                        <a:pt x="259684" y="257034"/>
                      </a:lnTo>
                      <a:lnTo>
                        <a:pt x="465837" y="162427"/>
                      </a:lnTo>
                      <a:cubicBezTo>
                        <a:pt x="465837" y="162427"/>
                        <a:pt x="474949" y="143050"/>
                        <a:pt x="463559" y="115694"/>
                      </a:cubicBezTo>
                      <a:cubicBezTo>
                        <a:pt x="453309" y="91757"/>
                        <a:pt x="396360" y="21087"/>
                        <a:pt x="380415" y="1710"/>
                      </a:cubicBezTo>
                      <a:cubicBezTo>
                        <a:pt x="378137" y="-570"/>
                        <a:pt x="374720" y="-570"/>
                        <a:pt x="372442" y="1710"/>
                      </a:cubicBezTo>
                      <a:cubicBezTo>
                        <a:pt x="366747" y="8549"/>
                        <a:pt x="356496" y="23367"/>
                        <a:pt x="354218" y="47304"/>
                      </a:cubicBezTo>
                      <a:cubicBezTo>
                        <a:pt x="351941" y="81499"/>
                        <a:pt x="289297" y="59842"/>
                        <a:pt x="269935" y="42744"/>
                      </a:cubicBezTo>
                      <a:cubicBezTo>
                        <a:pt x="250573" y="24507"/>
                        <a:pt x="217542" y="43884"/>
                        <a:pt x="217542" y="43884"/>
                      </a:cubicBezTo>
                      <a:lnTo>
                        <a:pt x="145788" y="129372"/>
                      </a:lnTo>
                      <a:cubicBezTo>
                        <a:pt x="145788" y="129372"/>
                        <a:pt x="53531" y="154449"/>
                        <a:pt x="34169" y="163567"/>
                      </a:cubicBezTo>
                      <a:cubicBezTo>
                        <a:pt x="14806" y="172686"/>
                        <a:pt x="1139" y="188644"/>
                        <a:pt x="0" y="209161"/>
                      </a:cubicBezTo>
                      <a:cubicBezTo>
                        <a:pt x="0" y="228538"/>
                        <a:pt x="7973" y="254755"/>
                        <a:pt x="41003" y="258174"/>
                      </a:cubicBezTo>
                      <a:lnTo>
                        <a:pt x="41003" y="260454"/>
                      </a:lnTo>
                      <a:lnTo>
                        <a:pt x="41003" y="260454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A6C6E7E5-CE56-75E4-F071-D3AF6366D417}"/>
                    </a:ext>
                  </a:extLst>
                </p:cNvPr>
                <p:cNvSpPr/>
                <p:nvPr/>
              </p:nvSpPr>
              <p:spPr>
                <a:xfrm>
                  <a:off x="3473008" y="3262762"/>
                  <a:ext cx="1751730" cy="1854701"/>
                </a:xfrm>
                <a:custGeom>
                  <a:avLst/>
                  <a:gdLst>
                    <a:gd name="connsiteX0" fmla="*/ 1260836 w 1751730"/>
                    <a:gd name="connsiteY0" fmla="*/ 35514 h 1854701"/>
                    <a:gd name="connsiteX1" fmla="*/ 1233501 w 1751730"/>
                    <a:gd name="connsiteY1" fmla="*/ 179 h 1854701"/>
                    <a:gd name="connsiteX2" fmla="*/ 813222 w 1751730"/>
                    <a:gd name="connsiteY2" fmla="*/ 19557 h 1854701"/>
                    <a:gd name="connsiteX3" fmla="*/ 712993 w 1751730"/>
                    <a:gd name="connsiteY3" fmla="*/ 2459 h 1854701"/>
                    <a:gd name="connsiteX4" fmla="*/ 703882 w 1751730"/>
                    <a:gd name="connsiteY4" fmla="*/ 25256 h 1854701"/>
                    <a:gd name="connsiteX5" fmla="*/ 694770 w 1751730"/>
                    <a:gd name="connsiteY5" fmla="*/ 25256 h 1854701"/>
                    <a:gd name="connsiteX6" fmla="*/ 0 w 1751730"/>
                    <a:gd name="connsiteY6" fmla="*/ 682945 h 1854701"/>
                    <a:gd name="connsiteX7" fmla="*/ 162872 w 1751730"/>
                    <a:gd name="connsiteY7" fmla="*/ 1497931 h 1854701"/>
                    <a:gd name="connsiteX8" fmla="*/ 371303 w 1751730"/>
                    <a:gd name="connsiteY8" fmla="*/ 1431820 h 1854701"/>
                    <a:gd name="connsiteX9" fmla="*/ 441919 w 1751730"/>
                    <a:gd name="connsiteY9" fmla="*/ 687504 h 1854701"/>
                    <a:gd name="connsiteX10" fmla="*/ 936231 w 1751730"/>
                    <a:gd name="connsiteY10" fmla="*/ 565541 h 1854701"/>
                    <a:gd name="connsiteX11" fmla="*/ 1517104 w 1751730"/>
                    <a:gd name="connsiteY11" fmla="*/ 1854702 h 1854701"/>
                    <a:gd name="connsiteX12" fmla="*/ 1751731 w 1751730"/>
                    <a:gd name="connsiteY12" fmla="*/ 1758955 h 1854701"/>
                    <a:gd name="connsiteX13" fmla="*/ 1513687 w 1751730"/>
                    <a:gd name="connsiteY13" fmla="*/ 595177 h 1854701"/>
                    <a:gd name="connsiteX14" fmla="*/ 1260836 w 1751730"/>
                    <a:gd name="connsiteY14" fmla="*/ 36654 h 1854701"/>
                    <a:gd name="connsiteX15" fmla="*/ 1260836 w 1751730"/>
                    <a:gd name="connsiteY15" fmla="*/ 36654 h 1854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51730" h="1854701">
                      <a:moveTo>
                        <a:pt x="1260836" y="35514"/>
                      </a:moveTo>
                      <a:cubicBezTo>
                        <a:pt x="1251725" y="22976"/>
                        <a:pt x="1242613" y="11578"/>
                        <a:pt x="1233501" y="179"/>
                      </a:cubicBezTo>
                      <a:lnTo>
                        <a:pt x="813222" y="19557"/>
                      </a:lnTo>
                      <a:cubicBezTo>
                        <a:pt x="783609" y="3599"/>
                        <a:pt x="750579" y="-4380"/>
                        <a:pt x="712993" y="2459"/>
                      </a:cubicBezTo>
                      <a:lnTo>
                        <a:pt x="703882" y="25256"/>
                      </a:lnTo>
                      <a:lnTo>
                        <a:pt x="694770" y="25256"/>
                      </a:lnTo>
                      <a:cubicBezTo>
                        <a:pt x="677685" y="61731"/>
                        <a:pt x="0" y="331873"/>
                        <a:pt x="0" y="682945"/>
                      </a:cubicBezTo>
                      <a:lnTo>
                        <a:pt x="162872" y="1497931"/>
                      </a:lnTo>
                      <a:lnTo>
                        <a:pt x="371303" y="1431820"/>
                      </a:lnTo>
                      <a:cubicBezTo>
                        <a:pt x="371303" y="1431820"/>
                        <a:pt x="432807" y="782111"/>
                        <a:pt x="441919" y="687504"/>
                      </a:cubicBezTo>
                      <a:lnTo>
                        <a:pt x="936231" y="565541"/>
                      </a:lnTo>
                      <a:lnTo>
                        <a:pt x="1517104" y="1854702"/>
                      </a:lnTo>
                      <a:lnTo>
                        <a:pt x="1751731" y="1758955"/>
                      </a:lnTo>
                      <a:cubicBezTo>
                        <a:pt x="1751731" y="1758955"/>
                        <a:pt x="1559246" y="1041995"/>
                        <a:pt x="1513687" y="595177"/>
                      </a:cubicBezTo>
                      <a:cubicBezTo>
                        <a:pt x="1487491" y="342132"/>
                        <a:pt x="1330313" y="108464"/>
                        <a:pt x="1260836" y="36654"/>
                      </a:cubicBezTo>
                      <a:lnTo>
                        <a:pt x="1260836" y="36654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eform 118">
                  <a:extLst>
                    <a:ext uri="{FF2B5EF4-FFF2-40B4-BE49-F238E27FC236}">
                      <a16:creationId xmlns:a16="http://schemas.microsoft.com/office/drawing/2014/main" id="{DF385082-6E59-E5C9-CFCB-5313E9274F53}"/>
                    </a:ext>
                  </a:extLst>
                </p:cNvPr>
                <p:cNvSpPr/>
                <p:nvPr/>
              </p:nvSpPr>
              <p:spPr>
                <a:xfrm>
                  <a:off x="4174833" y="1848089"/>
                  <a:ext cx="433867" cy="546293"/>
                </a:xfrm>
                <a:custGeom>
                  <a:avLst/>
                  <a:gdLst>
                    <a:gd name="connsiteX0" fmla="*/ 423474 w 433867"/>
                    <a:gd name="connsiteY0" fmla="*/ 244235 h 546293"/>
                    <a:gd name="connsiteX1" fmla="*/ 336912 w 433867"/>
                    <a:gd name="connsiteY1" fmla="*/ 27665 h 546293"/>
                    <a:gd name="connsiteX2" fmla="*/ 94312 w 433867"/>
                    <a:gd name="connsiteY2" fmla="*/ 55022 h 546293"/>
                    <a:gd name="connsiteX3" fmla="*/ 45337 w 433867"/>
                    <a:gd name="connsiteY3" fmla="*/ 181544 h 546293"/>
                    <a:gd name="connsiteX4" fmla="*/ 4334 w 433867"/>
                    <a:gd name="connsiteY4" fmla="*/ 245375 h 546293"/>
                    <a:gd name="connsiteX5" fmla="*/ 917 w 433867"/>
                    <a:gd name="connsiteY5" fmla="*/ 265892 h 546293"/>
                    <a:gd name="connsiteX6" fmla="*/ 28252 w 433867"/>
                    <a:gd name="connsiteY6" fmla="*/ 286410 h 546293"/>
                    <a:gd name="connsiteX7" fmla="*/ 8890 w 433867"/>
                    <a:gd name="connsiteY7" fmla="*/ 305787 h 546293"/>
                    <a:gd name="connsiteX8" fmla="*/ 21418 w 433867"/>
                    <a:gd name="connsiteY8" fmla="*/ 330863 h 546293"/>
                    <a:gd name="connsiteX9" fmla="*/ 32808 w 433867"/>
                    <a:gd name="connsiteY9" fmla="*/ 341122 h 546293"/>
                    <a:gd name="connsiteX10" fmla="*/ 20280 w 433867"/>
                    <a:gd name="connsiteY10" fmla="*/ 371898 h 546293"/>
                    <a:gd name="connsiteX11" fmla="*/ 44198 w 433867"/>
                    <a:gd name="connsiteY11" fmla="*/ 378737 h 546293"/>
                    <a:gd name="connsiteX12" fmla="*/ 49892 w 433867"/>
                    <a:gd name="connsiteY12" fmla="*/ 419771 h 546293"/>
                    <a:gd name="connsiteX13" fmla="*/ 69255 w 433867"/>
                    <a:gd name="connsiteY13" fmla="*/ 428890 h 546293"/>
                    <a:gd name="connsiteX14" fmla="*/ 106841 w 433867"/>
                    <a:gd name="connsiteY14" fmla="*/ 425470 h 546293"/>
                    <a:gd name="connsiteX15" fmla="*/ 167206 w 433867"/>
                    <a:gd name="connsiteY15" fmla="*/ 401534 h 546293"/>
                    <a:gd name="connsiteX16" fmla="*/ 188847 w 433867"/>
                    <a:gd name="connsiteY16" fmla="*/ 546293 h 546293"/>
                    <a:gd name="connsiteX17" fmla="*/ 387027 w 433867"/>
                    <a:gd name="connsiteY17" fmla="*/ 471064 h 546293"/>
                    <a:gd name="connsiteX18" fmla="*/ 335773 w 433867"/>
                    <a:gd name="connsiteY18" fmla="*/ 355940 h 546293"/>
                    <a:gd name="connsiteX19" fmla="*/ 422335 w 433867"/>
                    <a:gd name="connsiteY19" fmla="*/ 243096 h 546293"/>
                    <a:gd name="connsiteX20" fmla="*/ 423474 w 433867"/>
                    <a:gd name="connsiteY20" fmla="*/ 243096 h 546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33867" h="546293">
                      <a:moveTo>
                        <a:pt x="423474" y="244235"/>
                      </a:moveTo>
                      <a:cubicBezTo>
                        <a:pt x="462198" y="147349"/>
                        <a:pt x="383610" y="60721"/>
                        <a:pt x="336912" y="27665"/>
                      </a:cubicBezTo>
                      <a:cubicBezTo>
                        <a:pt x="274269" y="-16788"/>
                        <a:pt x="161511" y="-7670"/>
                        <a:pt x="94312" y="55022"/>
                      </a:cubicBezTo>
                      <a:cubicBezTo>
                        <a:pt x="35086" y="110874"/>
                        <a:pt x="45337" y="166726"/>
                        <a:pt x="45337" y="181544"/>
                      </a:cubicBezTo>
                      <a:cubicBezTo>
                        <a:pt x="45337" y="211180"/>
                        <a:pt x="14585" y="237396"/>
                        <a:pt x="4334" y="245375"/>
                      </a:cubicBezTo>
                      <a:cubicBezTo>
                        <a:pt x="917" y="248795"/>
                        <a:pt x="-1361" y="261333"/>
                        <a:pt x="917" y="265892"/>
                      </a:cubicBezTo>
                      <a:cubicBezTo>
                        <a:pt x="8890" y="277291"/>
                        <a:pt x="31669" y="278431"/>
                        <a:pt x="28252" y="286410"/>
                      </a:cubicBezTo>
                      <a:cubicBezTo>
                        <a:pt x="28252" y="297808"/>
                        <a:pt x="8890" y="305787"/>
                        <a:pt x="8890" y="305787"/>
                      </a:cubicBezTo>
                      <a:cubicBezTo>
                        <a:pt x="8890" y="305787"/>
                        <a:pt x="-222" y="324024"/>
                        <a:pt x="21418" y="330863"/>
                      </a:cubicBezTo>
                      <a:cubicBezTo>
                        <a:pt x="71533" y="345681"/>
                        <a:pt x="32808" y="341122"/>
                        <a:pt x="32808" y="341122"/>
                      </a:cubicBezTo>
                      <a:cubicBezTo>
                        <a:pt x="11168" y="352520"/>
                        <a:pt x="20280" y="371898"/>
                        <a:pt x="20280" y="371898"/>
                      </a:cubicBezTo>
                      <a:lnTo>
                        <a:pt x="44198" y="378737"/>
                      </a:lnTo>
                      <a:cubicBezTo>
                        <a:pt x="44198" y="394695"/>
                        <a:pt x="40781" y="410652"/>
                        <a:pt x="49892" y="419771"/>
                      </a:cubicBezTo>
                      <a:cubicBezTo>
                        <a:pt x="55587" y="424330"/>
                        <a:pt x="62421" y="427750"/>
                        <a:pt x="69255" y="428890"/>
                      </a:cubicBezTo>
                      <a:cubicBezTo>
                        <a:pt x="81784" y="431169"/>
                        <a:pt x="95451" y="428890"/>
                        <a:pt x="106841" y="425470"/>
                      </a:cubicBezTo>
                      <a:lnTo>
                        <a:pt x="167206" y="401534"/>
                      </a:lnTo>
                      <a:cubicBezTo>
                        <a:pt x="176318" y="463085"/>
                        <a:pt x="188847" y="546293"/>
                        <a:pt x="188847" y="546293"/>
                      </a:cubicBezTo>
                      <a:lnTo>
                        <a:pt x="387027" y="471064"/>
                      </a:lnTo>
                      <a:cubicBezTo>
                        <a:pt x="363108" y="432309"/>
                        <a:pt x="347163" y="392415"/>
                        <a:pt x="335773" y="355940"/>
                      </a:cubicBezTo>
                      <a:cubicBezTo>
                        <a:pt x="359691" y="338842"/>
                        <a:pt x="397277" y="305787"/>
                        <a:pt x="422335" y="243096"/>
                      </a:cubicBezTo>
                      <a:lnTo>
                        <a:pt x="423474" y="243096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FB139E05-5E14-5577-84DB-172B9AE0ECDA}"/>
                    </a:ext>
                  </a:extLst>
                </p:cNvPr>
                <p:cNvSpPr/>
                <p:nvPr/>
              </p:nvSpPr>
              <p:spPr>
                <a:xfrm>
                  <a:off x="4282813" y="1813987"/>
                  <a:ext cx="608474" cy="389736"/>
                </a:xfrm>
                <a:custGeom>
                  <a:avLst/>
                  <a:gdLst>
                    <a:gd name="connsiteX0" fmla="*/ 591124 w 608474"/>
                    <a:gd name="connsiteY0" fmla="*/ 171192 h 389736"/>
                    <a:gd name="connsiteX1" fmla="*/ 607069 w 608474"/>
                    <a:gd name="connsiteY1" fmla="*/ 129018 h 389736"/>
                    <a:gd name="connsiteX2" fmla="*/ 576317 w 608474"/>
                    <a:gd name="connsiteY2" fmla="*/ 98242 h 389736"/>
                    <a:gd name="connsiteX3" fmla="*/ 576317 w 608474"/>
                    <a:gd name="connsiteY3" fmla="*/ 84564 h 389736"/>
                    <a:gd name="connsiteX4" fmla="*/ 513674 w 608474"/>
                    <a:gd name="connsiteY4" fmla="*/ 30992 h 389736"/>
                    <a:gd name="connsiteX5" fmla="*/ 487478 w 608474"/>
                    <a:gd name="connsiteY5" fmla="*/ 38971 h 389736"/>
                    <a:gd name="connsiteX6" fmla="*/ 428252 w 608474"/>
                    <a:gd name="connsiteY6" fmla="*/ 216 h 389736"/>
                    <a:gd name="connsiteX7" fmla="*/ 378137 w 608474"/>
                    <a:gd name="connsiteY7" fmla="*/ 40110 h 389736"/>
                    <a:gd name="connsiteX8" fmla="*/ 357635 w 608474"/>
                    <a:gd name="connsiteY8" fmla="*/ 40110 h 389736"/>
                    <a:gd name="connsiteX9" fmla="*/ 326884 w 608474"/>
                    <a:gd name="connsiteY9" fmla="*/ 89124 h 389736"/>
                    <a:gd name="connsiteX10" fmla="*/ 333717 w 608474"/>
                    <a:gd name="connsiteY10" fmla="*/ 103942 h 389736"/>
                    <a:gd name="connsiteX11" fmla="*/ 322328 w 608474"/>
                    <a:gd name="connsiteY11" fmla="*/ 110781 h 389736"/>
                    <a:gd name="connsiteX12" fmla="*/ 283603 w 608474"/>
                    <a:gd name="connsiteY12" fmla="*/ 54928 h 389736"/>
                    <a:gd name="connsiteX13" fmla="*/ 0 w 608474"/>
                    <a:gd name="connsiteY13" fmla="*/ 74306 h 389736"/>
                    <a:gd name="connsiteX14" fmla="*/ 36447 w 608474"/>
                    <a:gd name="connsiteY14" fmla="*/ 107361 h 389736"/>
                    <a:gd name="connsiteX15" fmla="*/ 72894 w 608474"/>
                    <a:gd name="connsiteY15" fmla="*/ 155235 h 389736"/>
                    <a:gd name="connsiteX16" fmla="*/ 95673 w 608474"/>
                    <a:gd name="connsiteY16" fmla="*/ 211087 h 389736"/>
                    <a:gd name="connsiteX17" fmla="*/ 117314 w 608474"/>
                    <a:gd name="connsiteY17" fmla="*/ 281757 h 389736"/>
                    <a:gd name="connsiteX18" fmla="*/ 187929 w 608474"/>
                    <a:gd name="connsiteY18" fmla="*/ 245282 h 389736"/>
                    <a:gd name="connsiteX19" fmla="*/ 187929 w 608474"/>
                    <a:gd name="connsiteY19" fmla="*/ 364965 h 389736"/>
                    <a:gd name="connsiteX20" fmla="*/ 231210 w 608474"/>
                    <a:gd name="connsiteY20" fmla="*/ 387762 h 389736"/>
                    <a:gd name="connsiteX21" fmla="*/ 294992 w 608474"/>
                    <a:gd name="connsiteY21" fmla="*/ 323931 h 389736"/>
                    <a:gd name="connsiteX22" fmla="*/ 340551 w 608474"/>
                    <a:gd name="connsiteY22" fmla="*/ 214506 h 389736"/>
                    <a:gd name="connsiteX23" fmla="*/ 374720 w 608474"/>
                    <a:gd name="connsiteY23" fmla="*/ 224765 h 389736"/>
                    <a:gd name="connsiteX24" fmla="*/ 378137 w 608474"/>
                    <a:gd name="connsiteY24" fmla="*/ 224765 h 389736"/>
                    <a:gd name="connsiteX25" fmla="*/ 376998 w 608474"/>
                    <a:gd name="connsiteY25" fmla="*/ 246422 h 389736"/>
                    <a:gd name="connsiteX26" fmla="*/ 421418 w 608474"/>
                    <a:gd name="connsiteY26" fmla="*/ 273778 h 389736"/>
                    <a:gd name="connsiteX27" fmla="*/ 435085 w 608474"/>
                    <a:gd name="connsiteY27" fmla="*/ 268079 h 389736"/>
                    <a:gd name="connsiteX28" fmla="*/ 481783 w 608474"/>
                    <a:gd name="connsiteY28" fmla="*/ 287456 h 389736"/>
                    <a:gd name="connsiteX29" fmla="*/ 515952 w 608474"/>
                    <a:gd name="connsiteY29" fmla="*/ 240723 h 389736"/>
                    <a:gd name="connsiteX30" fmla="*/ 564928 w 608474"/>
                    <a:gd name="connsiteY30" fmla="*/ 257820 h 389736"/>
                    <a:gd name="connsiteX31" fmla="*/ 602513 w 608474"/>
                    <a:gd name="connsiteY31" fmla="*/ 198548 h 389736"/>
                    <a:gd name="connsiteX32" fmla="*/ 587707 w 608474"/>
                    <a:gd name="connsiteY32" fmla="*/ 173472 h 389736"/>
                    <a:gd name="connsiteX33" fmla="*/ 591124 w 608474"/>
                    <a:gd name="connsiteY33" fmla="*/ 171192 h 389736"/>
                    <a:gd name="connsiteX34" fmla="*/ 591124 w 608474"/>
                    <a:gd name="connsiteY34" fmla="*/ 171192 h 389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8474" h="389736">
                      <a:moveTo>
                        <a:pt x="591124" y="171192"/>
                      </a:moveTo>
                      <a:cubicBezTo>
                        <a:pt x="604791" y="162074"/>
                        <a:pt x="611625" y="144976"/>
                        <a:pt x="607069" y="129018"/>
                      </a:cubicBezTo>
                      <a:cubicBezTo>
                        <a:pt x="603652" y="113060"/>
                        <a:pt x="591124" y="101662"/>
                        <a:pt x="576317" y="98242"/>
                      </a:cubicBezTo>
                      <a:lnTo>
                        <a:pt x="576317" y="84564"/>
                      </a:lnTo>
                      <a:cubicBezTo>
                        <a:pt x="574039" y="52649"/>
                        <a:pt x="545565" y="28712"/>
                        <a:pt x="513674" y="30992"/>
                      </a:cubicBezTo>
                      <a:cubicBezTo>
                        <a:pt x="504562" y="30992"/>
                        <a:pt x="495450" y="34411"/>
                        <a:pt x="487478" y="38971"/>
                      </a:cubicBezTo>
                      <a:cubicBezTo>
                        <a:pt x="479505" y="13894"/>
                        <a:pt x="455587" y="-2064"/>
                        <a:pt x="428252" y="216"/>
                      </a:cubicBezTo>
                      <a:cubicBezTo>
                        <a:pt x="404333" y="2496"/>
                        <a:pt x="384971" y="18454"/>
                        <a:pt x="378137" y="40110"/>
                      </a:cubicBezTo>
                      <a:cubicBezTo>
                        <a:pt x="371303" y="37831"/>
                        <a:pt x="364469" y="37831"/>
                        <a:pt x="357635" y="40110"/>
                      </a:cubicBezTo>
                      <a:cubicBezTo>
                        <a:pt x="335995" y="44670"/>
                        <a:pt x="322328" y="67467"/>
                        <a:pt x="326884" y="89124"/>
                      </a:cubicBezTo>
                      <a:cubicBezTo>
                        <a:pt x="328023" y="94823"/>
                        <a:pt x="330300" y="99382"/>
                        <a:pt x="333717" y="103942"/>
                      </a:cubicBezTo>
                      <a:cubicBezTo>
                        <a:pt x="329161" y="106221"/>
                        <a:pt x="325745" y="108501"/>
                        <a:pt x="322328" y="110781"/>
                      </a:cubicBezTo>
                      <a:cubicBezTo>
                        <a:pt x="313216" y="92543"/>
                        <a:pt x="300687" y="74306"/>
                        <a:pt x="283603" y="54928"/>
                      </a:cubicBezTo>
                      <a:cubicBezTo>
                        <a:pt x="209570" y="-27140"/>
                        <a:pt x="6834" y="27572"/>
                        <a:pt x="0" y="74306"/>
                      </a:cubicBezTo>
                      <a:cubicBezTo>
                        <a:pt x="0" y="74306"/>
                        <a:pt x="22779" y="78865"/>
                        <a:pt x="36447" y="107361"/>
                      </a:cubicBezTo>
                      <a:cubicBezTo>
                        <a:pt x="52393" y="140417"/>
                        <a:pt x="63782" y="149535"/>
                        <a:pt x="72894" y="155235"/>
                      </a:cubicBezTo>
                      <a:cubicBezTo>
                        <a:pt x="89978" y="164353"/>
                        <a:pt x="100229" y="190570"/>
                        <a:pt x="95673" y="211087"/>
                      </a:cubicBezTo>
                      <a:cubicBezTo>
                        <a:pt x="85422" y="260100"/>
                        <a:pt x="117314" y="281757"/>
                        <a:pt x="117314" y="281757"/>
                      </a:cubicBezTo>
                      <a:cubicBezTo>
                        <a:pt x="117314" y="281757"/>
                        <a:pt x="148066" y="229324"/>
                        <a:pt x="187929" y="245282"/>
                      </a:cubicBezTo>
                      <a:cubicBezTo>
                        <a:pt x="264240" y="276058"/>
                        <a:pt x="187929" y="364965"/>
                        <a:pt x="187929" y="364965"/>
                      </a:cubicBezTo>
                      <a:cubicBezTo>
                        <a:pt x="187929" y="364965"/>
                        <a:pt x="203875" y="398021"/>
                        <a:pt x="231210" y="387762"/>
                      </a:cubicBezTo>
                      <a:cubicBezTo>
                        <a:pt x="240322" y="384343"/>
                        <a:pt x="277908" y="350147"/>
                        <a:pt x="294992" y="323931"/>
                      </a:cubicBezTo>
                      <a:cubicBezTo>
                        <a:pt x="307521" y="303414"/>
                        <a:pt x="334856" y="264659"/>
                        <a:pt x="340551" y="214506"/>
                      </a:cubicBezTo>
                      <a:cubicBezTo>
                        <a:pt x="349663" y="223625"/>
                        <a:pt x="362192" y="227045"/>
                        <a:pt x="374720" y="224765"/>
                      </a:cubicBezTo>
                      <a:lnTo>
                        <a:pt x="378137" y="224765"/>
                      </a:lnTo>
                      <a:cubicBezTo>
                        <a:pt x="375859" y="231604"/>
                        <a:pt x="374720" y="238443"/>
                        <a:pt x="376998" y="246422"/>
                      </a:cubicBezTo>
                      <a:cubicBezTo>
                        <a:pt x="381554" y="266939"/>
                        <a:pt x="402055" y="278337"/>
                        <a:pt x="421418" y="273778"/>
                      </a:cubicBezTo>
                      <a:cubicBezTo>
                        <a:pt x="425973" y="273778"/>
                        <a:pt x="430530" y="270359"/>
                        <a:pt x="435085" y="268079"/>
                      </a:cubicBezTo>
                      <a:cubicBezTo>
                        <a:pt x="445336" y="282897"/>
                        <a:pt x="463560" y="292016"/>
                        <a:pt x="481783" y="287456"/>
                      </a:cubicBezTo>
                      <a:cubicBezTo>
                        <a:pt x="503423" y="282897"/>
                        <a:pt x="517091" y="262380"/>
                        <a:pt x="515952" y="240723"/>
                      </a:cubicBezTo>
                      <a:cubicBezTo>
                        <a:pt x="527342" y="254401"/>
                        <a:pt x="546704" y="262380"/>
                        <a:pt x="564928" y="257820"/>
                      </a:cubicBezTo>
                      <a:cubicBezTo>
                        <a:pt x="591124" y="252121"/>
                        <a:pt x="608208" y="224765"/>
                        <a:pt x="602513" y="198548"/>
                      </a:cubicBezTo>
                      <a:cubicBezTo>
                        <a:pt x="600236" y="188290"/>
                        <a:pt x="594541" y="180311"/>
                        <a:pt x="587707" y="173472"/>
                      </a:cubicBezTo>
                      <a:lnTo>
                        <a:pt x="591124" y="171192"/>
                      </a:lnTo>
                      <a:lnTo>
                        <a:pt x="591124" y="171192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581DEC05-1E94-11C3-7060-8DF6E7FC8C28}"/>
                    </a:ext>
                  </a:extLst>
                </p:cNvPr>
                <p:cNvSpPr/>
                <p:nvPr/>
              </p:nvSpPr>
              <p:spPr>
                <a:xfrm>
                  <a:off x="5001501" y="3123881"/>
                  <a:ext cx="214873" cy="348915"/>
                </a:xfrm>
                <a:custGeom>
                  <a:avLst/>
                  <a:gdLst>
                    <a:gd name="connsiteX0" fmla="*/ 125286 w 214873"/>
                    <a:gd name="connsiteY0" fmla="*/ 1140 h 348915"/>
                    <a:gd name="connsiteX1" fmla="*/ 116175 w 214873"/>
                    <a:gd name="connsiteY1" fmla="*/ 34195 h 348915"/>
                    <a:gd name="connsiteX2" fmla="*/ 113897 w 214873"/>
                    <a:gd name="connsiteY2" fmla="*/ 34195 h 348915"/>
                    <a:gd name="connsiteX3" fmla="*/ 43281 w 214873"/>
                    <a:gd name="connsiteY3" fmla="*/ 126522 h 348915"/>
                    <a:gd name="connsiteX4" fmla="*/ 26196 w 214873"/>
                    <a:gd name="connsiteY4" fmla="*/ 160718 h 348915"/>
                    <a:gd name="connsiteX5" fmla="*/ 0 w 214873"/>
                    <a:gd name="connsiteY5" fmla="*/ 233668 h 348915"/>
                    <a:gd name="connsiteX6" fmla="*/ 45559 w 214873"/>
                    <a:gd name="connsiteY6" fmla="*/ 205172 h 348915"/>
                    <a:gd name="connsiteX7" fmla="*/ 66060 w 214873"/>
                    <a:gd name="connsiteY7" fmla="*/ 173256 h 348915"/>
                    <a:gd name="connsiteX8" fmla="*/ 71755 w 214873"/>
                    <a:gd name="connsiteY8" fmla="*/ 204032 h 348915"/>
                    <a:gd name="connsiteX9" fmla="*/ 15945 w 214873"/>
                    <a:gd name="connsiteY9" fmla="*/ 304338 h 348915"/>
                    <a:gd name="connsiteX10" fmla="*/ 41003 w 214873"/>
                    <a:gd name="connsiteY10" fmla="*/ 316876 h 348915"/>
                    <a:gd name="connsiteX11" fmla="*/ 104785 w 214873"/>
                    <a:gd name="connsiteY11" fmla="*/ 223409 h 348915"/>
                    <a:gd name="connsiteX12" fmla="*/ 54670 w 214873"/>
                    <a:gd name="connsiteY12" fmla="*/ 311177 h 348915"/>
                    <a:gd name="connsiteX13" fmla="*/ 70616 w 214873"/>
                    <a:gd name="connsiteY13" fmla="*/ 347652 h 348915"/>
                    <a:gd name="connsiteX14" fmla="*/ 140093 w 214873"/>
                    <a:gd name="connsiteY14" fmla="*/ 226828 h 348915"/>
                    <a:gd name="connsiteX15" fmla="*/ 100229 w 214873"/>
                    <a:gd name="connsiteY15" fmla="*/ 318016 h 348915"/>
                    <a:gd name="connsiteX16" fmla="*/ 118452 w 214873"/>
                    <a:gd name="connsiteY16" fmla="*/ 338533 h 348915"/>
                    <a:gd name="connsiteX17" fmla="*/ 171984 w 214873"/>
                    <a:gd name="connsiteY17" fmla="*/ 230248 h 348915"/>
                    <a:gd name="connsiteX18" fmla="*/ 149205 w 214873"/>
                    <a:gd name="connsiteY18" fmla="*/ 304338 h 348915"/>
                    <a:gd name="connsiteX19" fmla="*/ 167428 w 214873"/>
                    <a:gd name="connsiteY19" fmla="*/ 316876 h 348915"/>
                    <a:gd name="connsiteX20" fmla="*/ 212987 w 214873"/>
                    <a:gd name="connsiteY20" fmla="*/ 214290 h 348915"/>
                    <a:gd name="connsiteX21" fmla="*/ 208431 w 214873"/>
                    <a:gd name="connsiteY21" fmla="*/ 102586 h 348915"/>
                    <a:gd name="connsiteX22" fmla="*/ 202736 w 214873"/>
                    <a:gd name="connsiteY22" fmla="*/ 44454 h 348915"/>
                    <a:gd name="connsiteX23" fmla="*/ 212987 w 214873"/>
                    <a:gd name="connsiteY23" fmla="*/ 19377 h 348915"/>
                    <a:gd name="connsiteX24" fmla="*/ 127564 w 214873"/>
                    <a:gd name="connsiteY24" fmla="*/ 0 h 348915"/>
                    <a:gd name="connsiteX25" fmla="*/ 125286 w 214873"/>
                    <a:gd name="connsiteY25" fmla="*/ 0 h 348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14873" h="348915">
                      <a:moveTo>
                        <a:pt x="125286" y="1140"/>
                      </a:moveTo>
                      <a:cubicBezTo>
                        <a:pt x="121870" y="13678"/>
                        <a:pt x="118452" y="25076"/>
                        <a:pt x="116175" y="34195"/>
                      </a:cubicBezTo>
                      <a:lnTo>
                        <a:pt x="113897" y="34195"/>
                      </a:lnTo>
                      <a:cubicBezTo>
                        <a:pt x="113897" y="34195"/>
                        <a:pt x="53532" y="112844"/>
                        <a:pt x="43281" y="126522"/>
                      </a:cubicBezTo>
                      <a:cubicBezTo>
                        <a:pt x="33030" y="140200"/>
                        <a:pt x="26196" y="160718"/>
                        <a:pt x="26196" y="160718"/>
                      </a:cubicBezTo>
                      <a:cubicBezTo>
                        <a:pt x="20501" y="188074"/>
                        <a:pt x="15945" y="216570"/>
                        <a:pt x="0" y="233668"/>
                      </a:cubicBezTo>
                      <a:cubicBezTo>
                        <a:pt x="0" y="233668"/>
                        <a:pt x="31891" y="246206"/>
                        <a:pt x="45559" y="205172"/>
                      </a:cubicBezTo>
                      <a:cubicBezTo>
                        <a:pt x="48975" y="196053"/>
                        <a:pt x="56948" y="183514"/>
                        <a:pt x="66060" y="173256"/>
                      </a:cubicBezTo>
                      <a:cubicBezTo>
                        <a:pt x="68338" y="185794"/>
                        <a:pt x="70616" y="199472"/>
                        <a:pt x="71755" y="204032"/>
                      </a:cubicBezTo>
                      <a:cubicBezTo>
                        <a:pt x="74033" y="219989"/>
                        <a:pt x="14806" y="291799"/>
                        <a:pt x="15945" y="304338"/>
                      </a:cubicBezTo>
                      <a:cubicBezTo>
                        <a:pt x="15945" y="314596"/>
                        <a:pt x="30752" y="325995"/>
                        <a:pt x="41003" y="316876"/>
                      </a:cubicBezTo>
                      <a:cubicBezTo>
                        <a:pt x="56948" y="303198"/>
                        <a:pt x="104785" y="223409"/>
                        <a:pt x="104785" y="223409"/>
                      </a:cubicBezTo>
                      <a:cubicBezTo>
                        <a:pt x="94534" y="249625"/>
                        <a:pt x="60365" y="298639"/>
                        <a:pt x="54670" y="311177"/>
                      </a:cubicBezTo>
                      <a:cubicBezTo>
                        <a:pt x="48975" y="323715"/>
                        <a:pt x="47837" y="355631"/>
                        <a:pt x="70616" y="347652"/>
                      </a:cubicBezTo>
                      <a:cubicBezTo>
                        <a:pt x="94534" y="339673"/>
                        <a:pt x="140093" y="226828"/>
                        <a:pt x="140093" y="226828"/>
                      </a:cubicBezTo>
                      <a:cubicBezTo>
                        <a:pt x="140093" y="226828"/>
                        <a:pt x="113897" y="284960"/>
                        <a:pt x="100229" y="318016"/>
                      </a:cubicBezTo>
                      <a:cubicBezTo>
                        <a:pt x="86562" y="351071"/>
                        <a:pt x="118452" y="338533"/>
                        <a:pt x="118452" y="338533"/>
                      </a:cubicBezTo>
                      <a:cubicBezTo>
                        <a:pt x="145788" y="313456"/>
                        <a:pt x="170845" y="237087"/>
                        <a:pt x="171984" y="230248"/>
                      </a:cubicBezTo>
                      <a:cubicBezTo>
                        <a:pt x="177679" y="243926"/>
                        <a:pt x="149205" y="304338"/>
                        <a:pt x="149205" y="304338"/>
                      </a:cubicBezTo>
                      <a:cubicBezTo>
                        <a:pt x="149205" y="304338"/>
                        <a:pt x="149205" y="324855"/>
                        <a:pt x="167428" y="316876"/>
                      </a:cubicBezTo>
                      <a:cubicBezTo>
                        <a:pt x="189069" y="306617"/>
                        <a:pt x="208431" y="248485"/>
                        <a:pt x="212987" y="214290"/>
                      </a:cubicBezTo>
                      <a:cubicBezTo>
                        <a:pt x="217543" y="180095"/>
                        <a:pt x="212987" y="152739"/>
                        <a:pt x="208431" y="102586"/>
                      </a:cubicBezTo>
                      <a:cubicBezTo>
                        <a:pt x="203875" y="52433"/>
                        <a:pt x="208431" y="54712"/>
                        <a:pt x="202736" y="44454"/>
                      </a:cubicBezTo>
                      <a:cubicBezTo>
                        <a:pt x="208431" y="29636"/>
                        <a:pt x="207292" y="34195"/>
                        <a:pt x="212987" y="19377"/>
                      </a:cubicBezTo>
                      <a:lnTo>
                        <a:pt x="127564" y="0"/>
                      </a:lnTo>
                      <a:lnTo>
                        <a:pt x="125286" y="0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eform 121">
                  <a:extLst>
                    <a:ext uri="{FF2B5EF4-FFF2-40B4-BE49-F238E27FC236}">
                      <a16:creationId xmlns:a16="http://schemas.microsoft.com/office/drawing/2014/main" id="{476FFBD6-ED13-19C4-0EB0-C5CBF2E82480}"/>
                    </a:ext>
                  </a:extLst>
                </p:cNvPr>
                <p:cNvSpPr/>
                <p:nvPr/>
              </p:nvSpPr>
              <p:spPr>
                <a:xfrm>
                  <a:off x="3526540" y="2232934"/>
                  <a:ext cx="1815592" cy="1059644"/>
                </a:xfrm>
                <a:custGeom>
                  <a:avLst/>
                  <a:gdLst>
                    <a:gd name="connsiteX0" fmla="*/ 1690226 w 1815592"/>
                    <a:gd name="connsiteY0" fmla="*/ 446409 h 1059644"/>
                    <a:gd name="connsiteX1" fmla="*/ 1272226 w 1815592"/>
                    <a:gd name="connsiteY1" fmla="*/ 207043 h 1059644"/>
                    <a:gd name="connsiteX2" fmla="*/ 1232362 w 1815592"/>
                    <a:gd name="connsiteY2" fmla="*/ 193364 h 1059644"/>
                    <a:gd name="connsiteX3" fmla="*/ 1216416 w 1815592"/>
                    <a:gd name="connsiteY3" fmla="*/ 18969 h 1059644"/>
                    <a:gd name="connsiteX4" fmla="*/ 1216416 w 1815592"/>
                    <a:gd name="connsiteY4" fmla="*/ 18969 h 1059644"/>
                    <a:gd name="connsiteX5" fmla="*/ 888394 w 1815592"/>
                    <a:gd name="connsiteY5" fmla="*/ 24668 h 1059644"/>
                    <a:gd name="connsiteX6" fmla="*/ 838280 w 1815592"/>
                    <a:gd name="connsiteY6" fmla="*/ 153470 h 1059644"/>
                    <a:gd name="connsiteX7" fmla="*/ 820056 w 1815592"/>
                    <a:gd name="connsiteY7" fmla="*/ 38346 h 1059644"/>
                    <a:gd name="connsiteX8" fmla="*/ 740328 w 1815592"/>
                    <a:gd name="connsiteY8" fmla="*/ 144351 h 1059644"/>
                    <a:gd name="connsiteX9" fmla="*/ 748301 w 1815592"/>
                    <a:gd name="connsiteY9" fmla="*/ 162589 h 1059644"/>
                    <a:gd name="connsiteX10" fmla="*/ 643516 w 1815592"/>
                    <a:gd name="connsiteY10" fmla="*/ 188805 h 1059644"/>
                    <a:gd name="connsiteX11" fmla="*/ 602513 w 1815592"/>
                    <a:gd name="connsiteY11" fmla="*/ 201343 h 1059644"/>
                    <a:gd name="connsiteX12" fmla="*/ 515952 w 1815592"/>
                    <a:gd name="connsiteY12" fmla="*/ 287971 h 1059644"/>
                    <a:gd name="connsiteX13" fmla="*/ 448753 w 1815592"/>
                    <a:gd name="connsiteY13" fmla="*/ 486304 h 1059644"/>
                    <a:gd name="connsiteX14" fmla="*/ 395222 w 1815592"/>
                    <a:gd name="connsiteY14" fmla="*/ 689196 h 1059644"/>
                    <a:gd name="connsiteX15" fmla="*/ 80867 w 1815592"/>
                    <a:gd name="connsiteY15" fmla="*/ 373459 h 1059644"/>
                    <a:gd name="connsiteX16" fmla="*/ 0 w 1815592"/>
                    <a:gd name="connsiteY16" fmla="*/ 477185 h 1059644"/>
                    <a:gd name="connsiteX17" fmla="*/ 230071 w 1815592"/>
                    <a:gd name="connsiteY17" fmla="*/ 839655 h 1059644"/>
                    <a:gd name="connsiteX18" fmla="*/ 313216 w 1815592"/>
                    <a:gd name="connsiteY18" fmla="*/ 931982 h 1059644"/>
                    <a:gd name="connsiteX19" fmla="*/ 364469 w 1815592"/>
                    <a:gd name="connsiteY19" fmla="*/ 973016 h 1059644"/>
                    <a:gd name="connsiteX20" fmla="*/ 550121 w 1815592"/>
                    <a:gd name="connsiteY20" fmla="*/ 909185 h 1059644"/>
                    <a:gd name="connsiteX21" fmla="*/ 550121 w 1815592"/>
                    <a:gd name="connsiteY21" fmla="*/ 906905 h 1059644"/>
                    <a:gd name="connsiteX22" fmla="*/ 550121 w 1815592"/>
                    <a:gd name="connsiteY22" fmla="*/ 906905 h 1059644"/>
                    <a:gd name="connsiteX23" fmla="*/ 559233 w 1815592"/>
                    <a:gd name="connsiteY23" fmla="*/ 887528 h 1059644"/>
                    <a:gd name="connsiteX24" fmla="*/ 593402 w 1815592"/>
                    <a:gd name="connsiteY24" fmla="*/ 811159 h 1059644"/>
                    <a:gd name="connsiteX25" fmla="*/ 621876 w 1815592"/>
                    <a:gd name="connsiteY25" fmla="*/ 1059644 h 1059644"/>
                    <a:gd name="connsiteX26" fmla="*/ 1209583 w 1815592"/>
                    <a:gd name="connsiteY26" fmla="*/ 1059644 h 1059644"/>
                    <a:gd name="connsiteX27" fmla="*/ 1232362 w 1815592"/>
                    <a:gd name="connsiteY27" fmla="*/ 1039127 h 1059644"/>
                    <a:gd name="connsiteX28" fmla="*/ 1271087 w 1815592"/>
                    <a:gd name="connsiteY28" fmla="*/ 530758 h 1059644"/>
                    <a:gd name="connsiteX29" fmla="*/ 1582025 w 1815592"/>
                    <a:gd name="connsiteY29" fmla="*/ 656140 h 1059644"/>
                    <a:gd name="connsiteX30" fmla="*/ 1576330 w 1815592"/>
                    <a:gd name="connsiteY30" fmla="*/ 897787 h 1059644"/>
                    <a:gd name="connsiteX31" fmla="*/ 1710728 w 1815592"/>
                    <a:gd name="connsiteY31" fmla="*/ 944520 h 1059644"/>
                    <a:gd name="connsiteX32" fmla="*/ 1810957 w 1815592"/>
                    <a:gd name="connsiteY32" fmla="*/ 637903 h 1059644"/>
                    <a:gd name="connsiteX33" fmla="*/ 1796151 w 1815592"/>
                    <a:gd name="connsiteY33" fmla="*/ 530758 h 1059644"/>
                    <a:gd name="connsiteX34" fmla="*/ 1691365 w 1815592"/>
                    <a:gd name="connsiteY34" fmla="*/ 444130 h 1059644"/>
                    <a:gd name="connsiteX35" fmla="*/ 1691365 w 1815592"/>
                    <a:gd name="connsiteY35" fmla="*/ 446409 h 1059644"/>
                    <a:gd name="connsiteX36" fmla="*/ 1691365 w 1815592"/>
                    <a:gd name="connsiteY36" fmla="*/ 446409 h 1059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815592" h="1059644">
                      <a:moveTo>
                        <a:pt x="1690226" y="446409"/>
                      </a:moveTo>
                      <a:cubicBezTo>
                        <a:pt x="1657196" y="427032"/>
                        <a:pt x="1307534" y="216161"/>
                        <a:pt x="1272226" y="207043"/>
                      </a:cubicBezTo>
                      <a:lnTo>
                        <a:pt x="1232362" y="193364"/>
                      </a:lnTo>
                      <a:cubicBezTo>
                        <a:pt x="1339425" y="102177"/>
                        <a:pt x="1243752" y="29227"/>
                        <a:pt x="1216416" y="18969"/>
                      </a:cubicBezTo>
                      <a:lnTo>
                        <a:pt x="1216416" y="18969"/>
                      </a:lnTo>
                      <a:cubicBezTo>
                        <a:pt x="1169719" y="-2688"/>
                        <a:pt x="1007985" y="-11807"/>
                        <a:pt x="888394" y="24668"/>
                      </a:cubicBezTo>
                      <a:lnTo>
                        <a:pt x="838280" y="153470"/>
                      </a:lnTo>
                      <a:lnTo>
                        <a:pt x="820056" y="38346"/>
                      </a:lnTo>
                      <a:cubicBezTo>
                        <a:pt x="820056" y="38346"/>
                        <a:pt x="726661" y="82800"/>
                        <a:pt x="740328" y="144351"/>
                      </a:cubicBezTo>
                      <a:cubicBezTo>
                        <a:pt x="741467" y="151190"/>
                        <a:pt x="744884" y="156889"/>
                        <a:pt x="748301" y="162589"/>
                      </a:cubicBezTo>
                      <a:lnTo>
                        <a:pt x="643516" y="188805"/>
                      </a:lnTo>
                      <a:cubicBezTo>
                        <a:pt x="629848" y="191085"/>
                        <a:pt x="616181" y="195644"/>
                        <a:pt x="602513" y="201343"/>
                      </a:cubicBezTo>
                      <a:cubicBezTo>
                        <a:pt x="569483" y="215021"/>
                        <a:pt x="538731" y="241238"/>
                        <a:pt x="515952" y="287971"/>
                      </a:cubicBezTo>
                      <a:cubicBezTo>
                        <a:pt x="492034" y="336984"/>
                        <a:pt x="469254" y="408795"/>
                        <a:pt x="448753" y="486304"/>
                      </a:cubicBezTo>
                      <a:cubicBezTo>
                        <a:pt x="429391" y="553554"/>
                        <a:pt x="410028" y="625364"/>
                        <a:pt x="395222" y="689196"/>
                      </a:cubicBezTo>
                      <a:cubicBezTo>
                        <a:pt x="271074" y="546715"/>
                        <a:pt x="80867" y="373459"/>
                        <a:pt x="80867" y="373459"/>
                      </a:cubicBezTo>
                      <a:lnTo>
                        <a:pt x="0" y="477185"/>
                      </a:lnTo>
                      <a:lnTo>
                        <a:pt x="230071" y="839655"/>
                      </a:lnTo>
                      <a:cubicBezTo>
                        <a:pt x="252851" y="874990"/>
                        <a:pt x="280186" y="905765"/>
                        <a:pt x="313216" y="931982"/>
                      </a:cubicBezTo>
                      <a:lnTo>
                        <a:pt x="364469" y="973016"/>
                      </a:lnTo>
                      <a:cubicBezTo>
                        <a:pt x="476088" y="993533"/>
                        <a:pt x="519369" y="955919"/>
                        <a:pt x="550121" y="909185"/>
                      </a:cubicBezTo>
                      <a:lnTo>
                        <a:pt x="550121" y="906905"/>
                      </a:lnTo>
                      <a:lnTo>
                        <a:pt x="550121" y="906905"/>
                      </a:lnTo>
                      <a:cubicBezTo>
                        <a:pt x="550121" y="906905"/>
                        <a:pt x="553538" y="900066"/>
                        <a:pt x="559233" y="887528"/>
                      </a:cubicBezTo>
                      <a:lnTo>
                        <a:pt x="593402" y="811159"/>
                      </a:lnTo>
                      <a:lnTo>
                        <a:pt x="621876" y="1059644"/>
                      </a:lnTo>
                      <a:lnTo>
                        <a:pt x="1209583" y="1059644"/>
                      </a:lnTo>
                      <a:lnTo>
                        <a:pt x="1232362" y="1039127"/>
                      </a:lnTo>
                      <a:lnTo>
                        <a:pt x="1271087" y="530758"/>
                      </a:lnTo>
                      <a:lnTo>
                        <a:pt x="1582025" y="656140"/>
                      </a:lnTo>
                      <a:cubicBezTo>
                        <a:pt x="1578608" y="673238"/>
                        <a:pt x="1556968" y="797480"/>
                        <a:pt x="1576330" y="897787"/>
                      </a:cubicBezTo>
                      <a:cubicBezTo>
                        <a:pt x="1611638" y="910325"/>
                        <a:pt x="1710728" y="944520"/>
                        <a:pt x="1710728" y="944520"/>
                      </a:cubicBezTo>
                      <a:lnTo>
                        <a:pt x="1810957" y="637903"/>
                      </a:lnTo>
                      <a:cubicBezTo>
                        <a:pt x="1822347" y="593449"/>
                        <a:pt x="1810957" y="551275"/>
                        <a:pt x="1796151" y="530758"/>
                      </a:cubicBezTo>
                      <a:cubicBezTo>
                        <a:pt x="1761982" y="484024"/>
                        <a:pt x="1724395" y="464647"/>
                        <a:pt x="1691365" y="444130"/>
                      </a:cubicBezTo>
                      <a:lnTo>
                        <a:pt x="1691365" y="446409"/>
                      </a:lnTo>
                      <a:lnTo>
                        <a:pt x="1691365" y="446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2000DE26-CF18-568F-1AE3-E5F9FBB6E161}"/>
                  </a:ext>
                </a:extLst>
              </p:cNvPr>
              <p:cNvSpPr/>
              <p:nvPr/>
            </p:nvSpPr>
            <p:spPr>
              <a:xfrm>
                <a:off x="4421767" y="1793686"/>
                <a:ext cx="54670" cy="304337"/>
              </a:xfrm>
              <a:custGeom>
                <a:avLst/>
                <a:gdLst>
                  <a:gd name="connsiteX0" fmla="*/ 27335 w 54670"/>
                  <a:gd name="connsiteY0" fmla="*/ 0 h 304337"/>
                  <a:gd name="connsiteX1" fmla="*/ 27335 w 54670"/>
                  <a:gd name="connsiteY1" fmla="*/ 0 h 304337"/>
                  <a:gd name="connsiteX2" fmla="*/ 54670 w 54670"/>
                  <a:gd name="connsiteY2" fmla="*/ 27356 h 304337"/>
                  <a:gd name="connsiteX3" fmla="*/ 54670 w 54670"/>
                  <a:gd name="connsiteY3" fmla="*/ 276981 h 304337"/>
                  <a:gd name="connsiteX4" fmla="*/ 27335 w 54670"/>
                  <a:gd name="connsiteY4" fmla="*/ 304338 h 304337"/>
                  <a:gd name="connsiteX5" fmla="*/ 27335 w 54670"/>
                  <a:gd name="connsiteY5" fmla="*/ 304338 h 304337"/>
                  <a:gd name="connsiteX6" fmla="*/ 0 w 54670"/>
                  <a:gd name="connsiteY6" fmla="*/ 276981 h 304337"/>
                  <a:gd name="connsiteX7" fmla="*/ 0 w 54670"/>
                  <a:gd name="connsiteY7" fmla="*/ 27356 h 304337"/>
                  <a:gd name="connsiteX8" fmla="*/ 27335 w 54670"/>
                  <a:gd name="connsiteY8" fmla="*/ 0 h 30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670" h="304337">
                    <a:moveTo>
                      <a:pt x="27335" y="0"/>
                    </a:moveTo>
                    <a:lnTo>
                      <a:pt x="27335" y="0"/>
                    </a:lnTo>
                    <a:cubicBezTo>
                      <a:pt x="42142" y="0"/>
                      <a:pt x="54670" y="12538"/>
                      <a:pt x="54670" y="27356"/>
                    </a:cubicBezTo>
                    <a:lnTo>
                      <a:pt x="54670" y="276981"/>
                    </a:lnTo>
                    <a:cubicBezTo>
                      <a:pt x="54670" y="291799"/>
                      <a:pt x="42142" y="304338"/>
                      <a:pt x="27335" y="304338"/>
                    </a:cubicBezTo>
                    <a:lnTo>
                      <a:pt x="27335" y="304338"/>
                    </a:lnTo>
                    <a:cubicBezTo>
                      <a:pt x="12529" y="304338"/>
                      <a:pt x="0" y="291799"/>
                      <a:pt x="0" y="276981"/>
                    </a:cubicBezTo>
                    <a:lnTo>
                      <a:pt x="0" y="27356"/>
                    </a:lnTo>
                    <a:cubicBezTo>
                      <a:pt x="0" y="12538"/>
                      <a:pt x="12529" y="0"/>
                      <a:pt x="27335" y="0"/>
                    </a:cubicBezTo>
                    <a:close/>
                  </a:path>
                </a:pathLst>
              </a:custGeom>
              <a:solidFill>
                <a:srgbClr val="FA69FF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D76A8020-6D41-F91C-B661-CC4D1050E4C4}"/>
                  </a:ext>
                </a:extLst>
              </p:cNvPr>
              <p:cNvSpPr/>
              <p:nvPr/>
            </p:nvSpPr>
            <p:spPr>
              <a:xfrm>
                <a:off x="4357985" y="1984039"/>
                <a:ext cx="182234" cy="182374"/>
              </a:xfrm>
              <a:custGeom>
                <a:avLst/>
                <a:gdLst>
                  <a:gd name="connsiteX0" fmla="*/ 182235 w 182234"/>
                  <a:gd name="connsiteY0" fmla="*/ 91187 h 182374"/>
                  <a:gd name="connsiteX1" fmla="*/ 91117 w 182234"/>
                  <a:gd name="connsiteY1" fmla="*/ 182375 h 182374"/>
                  <a:gd name="connsiteX2" fmla="*/ 0 w 182234"/>
                  <a:gd name="connsiteY2" fmla="*/ 91187 h 182374"/>
                  <a:gd name="connsiteX3" fmla="*/ 91117 w 182234"/>
                  <a:gd name="connsiteY3" fmla="*/ 0 h 182374"/>
                  <a:gd name="connsiteX4" fmla="*/ 182235 w 182234"/>
                  <a:gd name="connsiteY4" fmla="*/ 91187 h 182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234" h="182374">
                    <a:moveTo>
                      <a:pt x="182235" y="91187"/>
                    </a:moveTo>
                    <a:cubicBezTo>
                      <a:pt x="182235" y="141549"/>
                      <a:pt x="141440" y="182375"/>
                      <a:pt x="91117" y="182375"/>
                    </a:cubicBezTo>
                    <a:cubicBezTo>
                      <a:pt x="40795" y="182375"/>
                      <a:pt x="0" y="141549"/>
                      <a:pt x="0" y="91187"/>
                    </a:cubicBezTo>
                    <a:cubicBezTo>
                      <a:pt x="0" y="40826"/>
                      <a:pt x="40795" y="0"/>
                      <a:pt x="91117" y="0"/>
                    </a:cubicBezTo>
                    <a:cubicBezTo>
                      <a:pt x="141440" y="0"/>
                      <a:pt x="182235" y="40826"/>
                      <a:pt x="182235" y="91187"/>
                    </a:cubicBezTo>
                    <a:close/>
                  </a:path>
                </a:pathLst>
              </a:custGeom>
              <a:solidFill>
                <a:srgbClr val="FA69FF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3B3D198A-536A-0EDE-8685-B5DFE830C980}"/>
                  </a:ext>
                </a:extLst>
              </p:cNvPr>
              <p:cNvSpPr/>
              <p:nvPr/>
            </p:nvSpPr>
            <p:spPr>
              <a:xfrm>
                <a:off x="4409239" y="2035332"/>
                <a:ext cx="79727" cy="79788"/>
              </a:xfrm>
              <a:custGeom>
                <a:avLst/>
                <a:gdLst>
                  <a:gd name="connsiteX0" fmla="*/ 79728 w 79727"/>
                  <a:gd name="connsiteY0" fmla="*/ 39894 h 79788"/>
                  <a:gd name="connsiteX1" fmla="*/ 39864 w 79727"/>
                  <a:gd name="connsiteY1" fmla="*/ 79789 h 79788"/>
                  <a:gd name="connsiteX2" fmla="*/ 0 w 79727"/>
                  <a:gd name="connsiteY2" fmla="*/ 39894 h 79788"/>
                  <a:gd name="connsiteX3" fmla="*/ 39864 w 79727"/>
                  <a:gd name="connsiteY3" fmla="*/ 0 h 79788"/>
                  <a:gd name="connsiteX4" fmla="*/ 79728 w 79727"/>
                  <a:gd name="connsiteY4" fmla="*/ 39894 h 79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27" h="79788">
                    <a:moveTo>
                      <a:pt x="79728" y="39894"/>
                    </a:moveTo>
                    <a:cubicBezTo>
                      <a:pt x="79728" y="61928"/>
                      <a:pt x="61880" y="79789"/>
                      <a:pt x="39864" y="79789"/>
                    </a:cubicBezTo>
                    <a:cubicBezTo>
                      <a:pt x="17848" y="79789"/>
                      <a:pt x="0" y="61928"/>
                      <a:pt x="0" y="39894"/>
                    </a:cubicBezTo>
                    <a:cubicBezTo>
                      <a:pt x="0" y="17861"/>
                      <a:pt x="17848" y="0"/>
                      <a:pt x="39864" y="0"/>
                    </a:cubicBezTo>
                    <a:cubicBezTo>
                      <a:pt x="61880" y="0"/>
                      <a:pt x="79728" y="17861"/>
                      <a:pt x="79728" y="39894"/>
                    </a:cubicBezTo>
                    <a:close/>
                  </a:path>
                </a:pathLst>
              </a:custGeom>
              <a:solidFill>
                <a:srgbClr val="281805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9716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  <p15:guide id="4" pos="4611">
          <p15:clr>
            <a:srgbClr val="FBAE40"/>
          </p15:clr>
        </p15:guide>
        <p15:guide id="5" pos="5382">
          <p15:clr>
            <a:srgbClr val="FBAE40"/>
          </p15:clr>
        </p15:guide>
        <p15:guide id="6" pos="2320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53D3D7D9-0EBD-828C-DFA4-36243877AE3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5594" y="0"/>
            <a:ext cx="3448822" cy="6858000"/>
          </a:xfrm>
          <a:prstGeom prst="rect">
            <a:avLst/>
          </a:prstGeom>
        </p:spPr>
      </p:pic>
      <p:graphicFrame>
        <p:nvGraphicFramePr>
          <p:cNvPr id="107" name="think-cell data - do not delete" hidden="1">
            <a:extLst>
              <a:ext uri="{FF2B5EF4-FFF2-40B4-BE49-F238E27FC236}">
                <a16:creationId xmlns:a16="http://schemas.microsoft.com/office/drawing/2014/main" id="{E344D579-EFFA-CB08-7550-795A1D5F11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07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44D579-EFFA-CB08-7550-795A1D5F11AE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E547EBA7-0F9D-B1D0-FAC4-D0B08441E7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4296" y="149095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936E5692-013B-1533-67BD-251533B39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4296" y="204233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5E7B4412-1997-B2F4-2CE6-23D58C8785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4580" y="1490428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ABE22D9F-E579-CFEA-ED2C-5C47A536AC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4580" y="2041804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87CE19CF-53A1-ADDB-5196-555034F9E76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28001" y="1481125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CBB4B3D0-586F-A2CE-8546-F559D89AA1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28001" y="2032501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0" name="Slide Number Static">
            <a:extLst>
              <a:ext uri="{FF2B5EF4-FFF2-40B4-BE49-F238E27FC236}">
                <a16:creationId xmlns:a16="http://schemas.microsoft.com/office/drawing/2014/main" id="{937BD67B-C175-2488-50E8-9F092322A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EE0424CA-744A-514C-1626-CBA47864F3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31" name="Title Placeholder 1">
            <a:extLst>
              <a:ext uri="{FF2B5EF4-FFF2-40B4-BE49-F238E27FC236}">
                <a16:creationId xmlns:a16="http://schemas.microsoft.com/office/drawing/2014/main" id="{CDC55609-5BDB-69CE-F670-322BBFF63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4297" y="596235"/>
            <a:ext cx="7106840" cy="551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3600"/>
            </a:lvl1pPr>
          </a:lstStyle>
          <a:p>
            <a:r>
              <a:rPr lang="en-GB"/>
              <a:t>Click to edit one line master title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1A5F1015-448A-0F13-E51F-D80C8CC5A2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4296" y="3192563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911CD6C2-BD8E-C773-3B7A-8CB028CAF0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34296" y="3743939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494918EE-DCB1-0116-AE84-49A9864D38C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74580" y="3192032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428DA18-1738-1195-154F-A77FFDF92C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74580" y="3743408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36" name="Text Placeholder 19">
            <a:extLst>
              <a:ext uri="{FF2B5EF4-FFF2-40B4-BE49-F238E27FC236}">
                <a16:creationId xmlns:a16="http://schemas.microsoft.com/office/drawing/2014/main" id="{1A31CFA5-F74E-B2E0-7CD0-DB0A69D666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828001" y="318272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1B291D29-4600-D69E-E552-7E68A6978CB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828001" y="373410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B3AA82C2-B43A-574C-17BC-F14D0121CD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47432" y="489192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2064E8FA-E03D-39A8-4004-4D8FB6E3BE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47432" y="544329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B7B74472-B075-D42D-5B9C-B38E93378F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87716" y="489138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13B85192-6C47-8CB3-48B6-566E2F97827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87716" y="544276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75E05921-5DA0-FC85-6234-FE6D8AA994D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841137" y="4882086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978DDC12-6CA5-6196-6C95-9556D1A50D2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841137" y="5433462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B5E50CF-1806-A384-483A-B320CECAA7E0}"/>
              </a:ext>
            </a:extLst>
          </p:cNvPr>
          <p:cNvGrpSpPr/>
          <p:nvPr userDrawn="1"/>
        </p:nvGrpSpPr>
        <p:grpSpPr>
          <a:xfrm>
            <a:off x="159250" y="1147610"/>
            <a:ext cx="4162455" cy="4953325"/>
            <a:chOff x="-4403419" y="888265"/>
            <a:chExt cx="3962930" cy="4715889"/>
          </a:xfrm>
        </p:grpSpPr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B2B7E014-2FF4-B1AE-9268-4B9E517DCCFD}"/>
                </a:ext>
              </a:extLst>
            </p:cNvPr>
            <p:cNvSpPr/>
            <p:nvPr/>
          </p:nvSpPr>
          <p:spPr>
            <a:xfrm>
              <a:off x="-3048684" y="2553698"/>
              <a:ext cx="155398" cy="68701"/>
            </a:xfrm>
            <a:custGeom>
              <a:avLst/>
              <a:gdLst>
                <a:gd name="connsiteX0" fmla="*/ 18253 w 155398"/>
                <a:gd name="connsiteY0" fmla="*/ 0 h 68701"/>
                <a:gd name="connsiteX1" fmla="*/ 152867 w 155398"/>
                <a:gd name="connsiteY1" fmla="*/ 4572 h 68701"/>
                <a:gd name="connsiteX2" fmla="*/ 115220 w 155398"/>
                <a:gd name="connsiteY2" fmla="*/ 68575 h 68701"/>
                <a:gd name="connsiteX3" fmla="*/ 0 w 155398"/>
                <a:gd name="connsiteY3" fmla="*/ 59432 h 68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398" h="68701">
                  <a:moveTo>
                    <a:pt x="18253" y="0"/>
                  </a:moveTo>
                  <a:cubicBezTo>
                    <a:pt x="83278" y="4572"/>
                    <a:pt x="152867" y="4572"/>
                    <a:pt x="152867" y="4572"/>
                  </a:cubicBezTo>
                  <a:cubicBezTo>
                    <a:pt x="152867" y="4572"/>
                    <a:pt x="169979" y="72004"/>
                    <a:pt x="115220" y="68575"/>
                  </a:cubicBezTo>
                  <a:cubicBezTo>
                    <a:pt x="60462" y="65146"/>
                    <a:pt x="0" y="59432"/>
                    <a:pt x="0" y="59432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EAAE6E04-9344-46EF-20F2-22348F261EEF}"/>
                </a:ext>
              </a:extLst>
            </p:cNvPr>
            <p:cNvSpPr/>
            <p:nvPr/>
          </p:nvSpPr>
          <p:spPr>
            <a:xfrm>
              <a:off x="-2512509" y="5159558"/>
              <a:ext cx="621888" cy="444596"/>
            </a:xfrm>
            <a:custGeom>
              <a:avLst/>
              <a:gdLst>
                <a:gd name="connsiteX0" fmla="*/ 47913 w 621888"/>
                <a:gd name="connsiteY0" fmla="*/ 62861 h 444596"/>
                <a:gd name="connsiteX1" fmla="*/ 7985 w 621888"/>
                <a:gd name="connsiteY1" fmla="*/ 53717 h 444596"/>
                <a:gd name="connsiteX2" fmla="*/ 18253 w 621888"/>
                <a:gd name="connsiteY2" fmla="*/ 243442 h 444596"/>
                <a:gd name="connsiteX3" fmla="*/ 0 w 621888"/>
                <a:gd name="connsiteY3" fmla="*/ 368020 h 444596"/>
                <a:gd name="connsiteX4" fmla="*/ 0 w 621888"/>
                <a:gd name="connsiteY4" fmla="*/ 444596 h 444596"/>
                <a:gd name="connsiteX5" fmla="*/ 192795 w 621888"/>
                <a:gd name="connsiteY5" fmla="*/ 444596 h 444596"/>
                <a:gd name="connsiteX6" fmla="*/ 203062 w 621888"/>
                <a:gd name="connsiteY6" fmla="*/ 400022 h 444596"/>
                <a:gd name="connsiteX7" fmla="*/ 311438 w 621888"/>
                <a:gd name="connsiteY7" fmla="*/ 444596 h 444596"/>
                <a:gd name="connsiteX8" fmla="*/ 616031 w 621888"/>
                <a:gd name="connsiteY8" fmla="*/ 444596 h 444596"/>
                <a:gd name="connsiteX9" fmla="*/ 620594 w 621888"/>
                <a:gd name="connsiteY9" fmla="*/ 388593 h 444596"/>
                <a:gd name="connsiteX10" fmla="*/ 564695 w 621888"/>
                <a:gd name="connsiteY10" fmla="*/ 306303 h 444596"/>
                <a:gd name="connsiteX11" fmla="*/ 304593 w 621888"/>
                <a:gd name="connsiteY11" fmla="*/ 160009 h 444596"/>
                <a:gd name="connsiteX12" fmla="*/ 265806 w 621888"/>
                <a:gd name="connsiteY12" fmla="*/ 0 h 444596"/>
                <a:gd name="connsiteX13" fmla="*/ 150585 w 621888"/>
                <a:gd name="connsiteY13" fmla="*/ 33145 h 444596"/>
                <a:gd name="connsiteX14" fmla="*/ 47913 w 621888"/>
                <a:gd name="connsiteY14" fmla="*/ 61718 h 444596"/>
                <a:gd name="connsiteX15" fmla="*/ 47913 w 621888"/>
                <a:gd name="connsiteY15" fmla="*/ 61718 h 44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888" h="444596">
                  <a:moveTo>
                    <a:pt x="47913" y="62861"/>
                  </a:moveTo>
                  <a:cubicBezTo>
                    <a:pt x="47913" y="62861"/>
                    <a:pt x="-7986" y="17144"/>
                    <a:pt x="7985" y="53717"/>
                  </a:cubicBezTo>
                  <a:cubicBezTo>
                    <a:pt x="23957" y="90291"/>
                    <a:pt x="14830" y="222870"/>
                    <a:pt x="18253" y="243442"/>
                  </a:cubicBezTo>
                  <a:cubicBezTo>
                    <a:pt x="18253" y="243442"/>
                    <a:pt x="2281" y="285730"/>
                    <a:pt x="0" y="368020"/>
                  </a:cubicBezTo>
                  <a:lnTo>
                    <a:pt x="0" y="444596"/>
                  </a:lnTo>
                  <a:lnTo>
                    <a:pt x="192795" y="444596"/>
                  </a:lnTo>
                  <a:lnTo>
                    <a:pt x="203062" y="400022"/>
                  </a:lnTo>
                  <a:cubicBezTo>
                    <a:pt x="203062" y="400022"/>
                    <a:pt x="266947" y="400022"/>
                    <a:pt x="311438" y="444596"/>
                  </a:cubicBezTo>
                  <a:lnTo>
                    <a:pt x="616031" y="444596"/>
                  </a:lnTo>
                  <a:lnTo>
                    <a:pt x="620594" y="388593"/>
                  </a:lnTo>
                  <a:cubicBezTo>
                    <a:pt x="620594" y="388593"/>
                    <a:pt x="635424" y="329161"/>
                    <a:pt x="564695" y="306303"/>
                  </a:cubicBezTo>
                  <a:cubicBezTo>
                    <a:pt x="528189" y="294874"/>
                    <a:pt x="387871" y="301731"/>
                    <a:pt x="304593" y="160009"/>
                  </a:cubicBezTo>
                  <a:cubicBezTo>
                    <a:pt x="247553" y="62861"/>
                    <a:pt x="265806" y="0"/>
                    <a:pt x="265806" y="0"/>
                  </a:cubicBezTo>
                  <a:cubicBezTo>
                    <a:pt x="265806" y="0"/>
                    <a:pt x="171120" y="0"/>
                    <a:pt x="150585" y="33145"/>
                  </a:cubicBezTo>
                  <a:cubicBezTo>
                    <a:pt x="130051" y="66289"/>
                    <a:pt x="47913" y="61718"/>
                    <a:pt x="47913" y="61718"/>
                  </a:cubicBezTo>
                  <a:lnTo>
                    <a:pt x="47913" y="61718"/>
                  </a:lnTo>
                  <a:close/>
                </a:path>
              </a:pathLst>
            </a:custGeom>
            <a:solidFill>
              <a:srgbClr val="281805"/>
            </a:solidFill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D2AA6AC1-8145-7075-286E-1A4944567DC3}"/>
                </a:ext>
              </a:extLst>
            </p:cNvPr>
            <p:cNvSpPr/>
            <p:nvPr/>
          </p:nvSpPr>
          <p:spPr>
            <a:xfrm>
              <a:off x="-3600830" y="5019206"/>
              <a:ext cx="611708" cy="584948"/>
            </a:xfrm>
            <a:custGeom>
              <a:avLst/>
              <a:gdLst>
                <a:gd name="connsiteX0" fmla="*/ 172260 w 611708"/>
                <a:gd name="connsiteY0" fmla="*/ 35203 h 584948"/>
                <a:gd name="connsiteX1" fmla="*/ 138037 w 611708"/>
                <a:gd name="connsiteY1" fmla="*/ 13488 h 584948"/>
                <a:gd name="connsiteX2" fmla="*/ 84419 w 611708"/>
                <a:gd name="connsiteY2" fmla="*/ 196355 h 584948"/>
                <a:gd name="connsiteX3" fmla="*/ 25098 w 611708"/>
                <a:gd name="connsiteY3" fmla="*/ 307219 h 584948"/>
                <a:gd name="connsiteX4" fmla="*/ 0 w 611708"/>
                <a:gd name="connsiteY4" fmla="*/ 379223 h 584948"/>
                <a:gd name="connsiteX5" fmla="*/ 181387 w 611708"/>
                <a:gd name="connsiteY5" fmla="*/ 443226 h 584948"/>
                <a:gd name="connsiteX6" fmla="*/ 205344 w 611708"/>
                <a:gd name="connsiteY6" fmla="*/ 404367 h 584948"/>
                <a:gd name="connsiteX7" fmla="*/ 292044 w 611708"/>
                <a:gd name="connsiteY7" fmla="*/ 483229 h 584948"/>
                <a:gd name="connsiteX8" fmla="*/ 579525 w 611708"/>
                <a:gd name="connsiteY8" fmla="*/ 584949 h 584948"/>
                <a:gd name="connsiteX9" fmla="*/ 602341 w 611708"/>
                <a:gd name="connsiteY9" fmla="*/ 533517 h 584948"/>
                <a:gd name="connsiteX10" fmla="*/ 577244 w 611708"/>
                <a:gd name="connsiteY10" fmla="*/ 436369 h 584948"/>
                <a:gd name="connsiteX11" fmla="*/ 381026 w 611708"/>
                <a:gd name="connsiteY11" fmla="*/ 212356 h 584948"/>
                <a:gd name="connsiteX12" fmla="*/ 398138 w 611708"/>
                <a:gd name="connsiteY12" fmla="*/ 48919 h 584948"/>
                <a:gd name="connsiteX13" fmla="*/ 278355 w 611708"/>
                <a:gd name="connsiteY13" fmla="*/ 42061 h 584948"/>
                <a:gd name="connsiteX14" fmla="*/ 172260 w 611708"/>
                <a:gd name="connsiteY14" fmla="*/ 35203 h 584948"/>
                <a:gd name="connsiteX15" fmla="*/ 172260 w 611708"/>
                <a:gd name="connsiteY15" fmla="*/ 35203 h 58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11708" h="584948">
                  <a:moveTo>
                    <a:pt x="172260" y="35203"/>
                  </a:moveTo>
                  <a:cubicBezTo>
                    <a:pt x="172260" y="35203"/>
                    <a:pt x="134614" y="-26514"/>
                    <a:pt x="138037" y="13488"/>
                  </a:cubicBezTo>
                  <a:cubicBezTo>
                    <a:pt x="141459" y="53490"/>
                    <a:pt x="87841" y="175783"/>
                    <a:pt x="84419" y="196355"/>
                  </a:cubicBezTo>
                  <a:cubicBezTo>
                    <a:pt x="84419" y="196355"/>
                    <a:pt x="54758" y="230643"/>
                    <a:pt x="25098" y="307219"/>
                  </a:cubicBezTo>
                  <a:lnTo>
                    <a:pt x="0" y="379223"/>
                  </a:lnTo>
                  <a:lnTo>
                    <a:pt x="181387" y="443226"/>
                  </a:lnTo>
                  <a:lnTo>
                    <a:pt x="205344" y="404367"/>
                  </a:lnTo>
                  <a:cubicBezTo>
                    <a:pt x="205344" y="404367"/>
                    <a:pt x="265806" y="426083"/>
                    <a:pt x="292044" y="483229"/>
                  </a:cubicBezTo>
                  <a:lnTo>
                    <a:pt x="579525" y="584949"/>
                  </a:lnTo>
                  <a:lnTo>
                    <a:pt x="602341" y="533517"/>
                  </a:lnTo>
                  <a:cubicBezTo>
                    <a:pt x="602341" y="533517"/>
                    <a:pt x="635424" y="482086"/>
                    <a:pt x="577244" y="436369"/>
                  </a:cubicBezTo>
                  <a:cubicBezTo>
                    <a:pt x="547583" y="413510"/>
                    <a:pt x="412969" y="372365"/>
                    <a:pt x="381026" y="212356"/>
                  </a:cubicBezTo>
                  <a:cubicBezTo>
                    <a:pt x="359351" y="101493"/>
                    <a:pt x="398138" y="48919"/>
                    <a:pt x="398138" y="48919"/>
                  </a:cubicBezTo>
                  <a:cubicBezTo>
                    <a:pt x="398138" y="48919"/>
                    <a:pt x="309156" y="16917"/>
                    <a:pt x="278355" y="42061"/>
                  </a:cubicBezTo>
                  <a:cubicBezTo>
                    <a:pt x="247553" y="66062"/>
                    <a:pt x="172260" y="35203"/>
                    <a:pt x="172260" y="35203"/>
                  </a:cubicBezTo>
                  <a:lnTo>
                    <a:pt x="172260" y="35203"/>
                  </a:lnTo>
                  <a:close/>
                </a:path>
              </a:pathLst>
            </a:custGeom>
            <a:solidFill>
              <a:srgbClr val="281805"/>
            </a:solidFill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ED6F58AB-A6BC-EE6F-925B-C1E58C472441}"/>
                </a:ext>
              </a:extLst>
            </p:cNvPr>
            <p:cNvSpPr/>
            <p:nvPr/>
          </p:nvSpPr>
          <p:spPr>
            <a:xfrm>
              <a:off x="-1763006" y="2043955"/>
              <a:ext cx="320543" cy="381761"/>
            </a:xfrm>
            <a:custGeom>
              <a:avLst/>
              <a:gdLst>
                <a:gd name="connsiteX0" fmla="*/ 1141 w 320543"/>
                <a:gd name="connsiteY0" fmla="*/ 234299 h 381761"/>
                <a:gd name="connsiteX1" fmla="*/ 82138 w 320543"/>
                <a:gd name="connsiteY1" fmla="*/ 76576 h 381761"/>
                <a:gd name="connsiteX2" fmla="*/ 144881 w 320543"/>
                <a:gd name="connsiteY2" fmla="*/ 0 h 381761"/>
                <a:gd name="connsiteX3" fmla="*/ 163134 w 320543"/>
                <a:gd name="connsiteY3" fmla="*/ 65146 h 381761"/>
                <a:gd name="connsiteX4" fmla="*/ 136896 w 320543"/>
                <a:gd name="connsiteY4" fmla="*/ 91434 h 381761"/>
                <a:gd name="connsiteX5" fmla="*/ 250975 w 320543"/>
                <a:gd name="connsiteY5" fmla="*/ 56003 h 381761"/>
                <a:gd name="connsiteX6" fmla="*/ 318283 w 320543"/>
                <a:gd name="connsiteY6" fmla="*/ 254871 h 381761"/>
                <a:gd name="connsiteX7" fmla="*/ 221315 w 320543"/>
                <a:gd name="connsiteY7" fmla="*/ 316589 h 381761"/>
                <a:gd name="connsiteX8" fmla="*/ 95827 w 320543"/>
                <a:gd name="connsiteY8" fmla="*/ 348591 h 381761"/>
                <a:gd name="connsiteX9" fmla="*/ 55899 w 320543"/>
                <a:gd name="connsiteY9" fmla="*/ 381736 h 381761"/>
                <a:gd name="connsiteX10" fmla="*/ 0 w 320543"/>
                <a:gd name="connsiteY10" fmla="*/ 234299 h 381761"/>
                <a:gd name="connsiteX11" fmla="*/ 0 w 320543"/>
                <a:gd name="connsiteY11" fmla="*/ 234299 h 381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543" h="381761">
                  <a:moveTo>
                    <a:pt x="1141" y="234299"/>
                  </a:moveTo>
                  <a:cubicBezTo>
                    <a:pt x="19394" y="177153"/>
                    <a:pt x="49054" y="106292"/>
                    <a:pt x="82138" y="76576"/>
                  </a:cubicBezTo>
                  <a:cubicBezTo>
                    <a:pt x="131192" y="33145"/>
                    <a:pt x="144881" y="0"/>
                    <a:pt x="144881" y="0"/>
                  </a:cubicBezTo>
                  <a:cubicBezTo>
                    <a:pt x="144881" y="0"/>
                    <a:pt x="193936" y="19430"/>
                    <a:pt x="163134" y="65146"/>
                  </a:cubicBezTo>
                  <a:cubicBezTo>
                    <a:pt x="138037" y="101720"/>
                    <a:pt x="136896" y="91434"/>
                    <a:pt x="136896" y="91434"/>
                  </a:cubicBezTo>
                  <a:cubicBezTo>
                    <a:pt x="188232" y="72004"/>
                    <a:pt x="198499" y="37716"/>
                    <a:pt x="250975" y="56003"/>
                  </a:cubicBezTo>
                  <a:cubicBezTo>
                    <a:pt x="303452" y="73147"/>
                    <a:pt x="328550" y="217155"/>
                    <a:pt x="318283" y="254871"/>
                  </a:cubicBezTo>
                  <a:cubicBezTo>
                    <a:pt x="306875" y="300588"/>
                    <a:pt x="274932" y="310875"/>
                    <a:pt x="221315" y="316589"/>
                  </a:cubicBezTo>
                  <a:cubicBezTo>
                    <a:pt x="175683" y="381736"/>
                    <a:pt x="95827" y="348591"/>
                    <a:pt x="95827" y="348591"/>
                  </a:cubicBezTo>
                  <a:lnTo>
                    <a:pt x="55899" y="381736"/>
                  </a:lnTo>
                  <a:cubicBezTo>
                    <a:pt x="51336" y="384022"/>
                    <a:pt x="0" y="234299"/>
                    <a:pt x="0" y="234299"/>
                  </a:cubicBezTo>
                  <a:lnTo>
                    <a:pt x="0" y="234299"/>
                  </a:lnTo>
                  <a:close/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99CE9712-0387-C631-1A52-B335DC0FD4D6}"/>
                </a:ext>
              </a:extLst>
            </p:cNvPr>
            <p:cNvSpPr/>
            <p:nvPr/>
          </p:nvSpPr>
          <p:spPr>
            <a:xfrm>
              <a:off x="-3656729" y="1440492"/>
              <a:ext cx="1108854" cy="1564659"/>
            </a:xfrm>
            <a:custGeom>
              <a:avLst/>
              <a:gdLst>
                <a:gd name="connsiteX0" fmla="*/ 890963 w 1108854"/>
                <a:gd name="connsiteY0" fmla="*/ 0 h 1564659"/>
                <a:gd name="connsiteX1" fmla="*/ 1108855 w 1108854"/>
                <a:gd name="connsiteY1" fmla="*/ 218298 h 1564659"/>
                <a:gd name="connsiteX2" fmla="*/ 1108855 w 1108854"/>
                <a:gd name="connsiteY2" fmla="*/ 1346361 h 1564659"/>
                <a:gd name="connsiteX3" fmla="*/ 890963 w 1108854"/>
                <a:gd name="connsiteY3" fmla="*/ 1564659 h 1564659"/>
                <a:gd name="connsiteX4" fmla="*/ 217892 w 1108854"/>
                <a:gd name="connsiteY4" fmla="*/ 1564659 h 1564659"/>
                <a:gd name="connsiteX5" fmla="*/ 0 w 1108854"/>
                <a:gd name="connsiteY5" fmla="*/ 1346361 h 1564659"/>
                <a:gd name="connsiteX6" fmla="*/ 0 w 1108854"/>
                <a:gd name="connsiteY6" fmla="*/ 218298 h 1564659"/>
                <a:gd name="connsiteX7" fmla="*/ 217892 w 1108854"/>
                <a:gd name="connsiteY7" fmla="*/ 0 h 156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8854" h="1564659">
                  <a:moveTo>
                    <a:pt x="890963" y="0"/>
                  </a:moveTo>
                  <a:cubicBezTo>
                    <a:pt x="1011301" y="0"/>
                    <a:pt x="1108855" y="97735"/>
                    <a:pt x="1108855" y="218298"/>
                  </a:cubicBezTo>
                  <a:lnTo>
                    <a:pt x="1108855" y="1346361"/>
                  </a:lnTo>
                  <a:cubicBezTo>
                    <a:pt x="1108855" y="1466924"/>
                    <a:pt x="1011301" y="1564659"/>
                    <a:pt x="890963" y="1564659"/>
                  </a:cubicBezTo>
                  <a:lnTo>
                    <a:pt x="217892" y="1564659"/>
                  </a:lnTo>
                  <a:cubicBezTo>
                    <a:pt x="97554" y="1564659"/>
                    <a:pt x="0" y="1466924"/>
                    <a:pt x="0" y="1346361"/>
                  </a:cubicBezTo>
                  <a:lnTo>
                    <a:pt x="0" y="218298"/>
                  </a:lnTo>
                  <a:cubicBezTo>
                    <a:pt x="0" y="97735"/>
                    <a:pt x="97554" y="0"/>
                    <a:pt x="217892" y="0"/>
                  </a:cubicBez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95F208FD-3588-83A0-4181-A08C9D08C922}"/>
                </a:ext>
              </a:extLst>
            </p:cNvPr>
            <p:cNvSpPr/>
            <p:nvPr/>
          </p:nvSpPr>
          <p:spPr>
            <a:xfrm>
              <a:off x="-3523256" y="1135332"/>
              <a:ext cx="1032421" cy="441167"/>
            </a:xfrm>
            <a:custGeom>
              <a:avLst/>
              <a:gdLst>
                <a:gd name="connsiteX0" fmla="*/ 869288 w 1032421"/>
                <a:gd name="connsiteY0" fmla="*/ 0 h 441167"/>
                <a:gd name="connsiteX1" fmla="*/ 0 w 1032421"/>
                <a:gd name="connsiteY1" fmla="*/ 0 h 441167"/>
                <a:gd name="connsiteX2" fmla="*/ 0 w 1032421"/>
                <a:gd name="connsiteY2" fmla="*/ 441168 h 441167"/>
                <a:gd name="connsiteX3" fmla="*/ 869288 w 1032421"/>
                <a:gd name="connsiteY3" fmla="*/ 441168 h 441167"/>
                <a:gd name="connsiteX4" fmla="*/ 1032422 w 1032421"/>
                <a:gd name="connsiteY4" fmla="*/ 220584 h 441167"/>
                <a:gd name="connsiteX5" fmla="*/ 869288 w 1032421"/>
                <a:gd name="connsiteY5" fmla="*/ 0 h 4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2421" h="441167">
                  <a:moveTo>
                    <a:pt x="869288" y="0"/>
                  </a:moveTo>
                  <a:lnTo>
                    <a:pt x="0" y="0"/>
                  </a:lnTo>
                  <a:lnTo>
                    <a:pt x="0" y="441168"/>
                  </a:lnTo>
                  <a:lnTo>
                    <a:pt x="869288" y="441168"/>
                  </a:lnTo>
                  <a:cubicBezTo>
                    <a:pt x="959411" y="441168"/>
                    <a:pt x="1032422" y="342876"/>
                    <a:pt x="1032422" y="220584"/>
                  </a:cubicBezTo>
                  <a:cubicBezTo>
                    <a:pt x="1032422" y="98291"/>
                    <a:pt x="959411" y="0"/>
                    <a:pt x="869288" y="0"/>
                  </a:cubicBez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652BE43F-1122-AE20-4D29-86494567D42B}"/>
                </a:ext>
              </a:extLst>
            </p:cNvPr>
            <p:cNvSpPr/>
            <p:nvPr/>
          </p:nvSpPr>
          <p:spPr>
            <a:xfrm>
              <a:off x="-3687531" y="1134189"/>
              <a:ext cx="326268" cy="441167"/>
            </a:xfrm>
            <a:custGeom>
              <a:avLst/>
              <a:gdLst>
                <a:gd name="connsiteX0" fmla="*/ 326268 w 326268"/>
                <a:gd name="connsiteY0" fmla="*/ 220584 h 441167"/>
                <a:gd name="connsiteX1" fmla="*/ 163134 w 326268"/>
                <a:gd name="connsiteY1" fmla="*/ 441168 h 441167"/>
                <a:gd name="connsiteX2" fmla="*/ 0 w 326268"/>
                <a:gd name="connsiteY2" fmla="*/ 220584 h 441167"/>
                <a:gd name="connsiteX3" fmla="*/ 163134 w 326268"/>
                <a:gd name="connsiteY3" fmla="*/ 0 h 441167"/>
                <a:gd name="connsiteX4" fmla="*/ 326268 w 326268"/>
                <a:gd name="connsiteY4" fmla="*/ 220584 h 4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268" h="441167">
                  <a:moveTo>
                    <a:pt x="326268" y="220584"/>
                  </a:moveTo>
                  <a:cubicBezTo>
                    <a:pt x="326268" y="342409"/>
                    <a:pt x="253230" y="441168"/>
                    <a:pt x="163134" y="441168"/>
                  </a:cubicBezTo>
                  <a:cubicBezTo>
                    <a:pt x="73037" y="441168"/>
                    <a:pt x="0" y="342409"/>
                    <a:pt x="0" y="220584"/>
                  </a:cubicBezTo>
                  <a:cubicBezTo>
                    <a:pt x="0" y="98759"/>
                    <a:pt x="73037" y="0"/>
                    <a:pt x="163134" y="0"/>
                  </a:cubicBezTo>
                  <a:cubicBezTo>
                    <a:pt x="253230" y="0"/>
                    <a:pt x="326268" y="98759"/>
                    <a:pt x="326268" y="220584"/>
                  </a:cubicBez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4C50FD27-7D5F-BF47-E484-EDEAB16941D9}"/>
                </a:ext>
              </a:extLst>
            </p:cNvPr>
            <p:cNvSpPr/>
            <p:nvPr/>
          </p:nvSpPr>
          <p:spPr>
            <a:xfrm>
              <a:off x="-3499299" y="2960577"/>
              <a:ext cx="1314426" cy="2305271"/>
            </a:xfrm>
            <a:custGeom>
              <a:avLst/>
              <a:gdLst>
                <a:gd name="connsiteX0" fmla="*/ 303452 w 1314426"/>
                <a:gd name="connsiteY0" fmla="*/ 2217267 h 2305271"/>
                <a:gd name="connsiteX1" fmla="*/ 0 w 1314426"/>
                <a:gd name="connsiteY1" fmla="*/ 2140692 h 2305271"/>
                <a:gd name="connsiteX2" fmla="*/ 221315 w 1314426"/>
                <a:gd name="connsiteY2" fmla="*/ 1250356 h 2305271"/>
                <a:gd name="connsiteX3" fmla="*/ 185950 w 1314426"/>
                <a:gd name="connsiteY3" fmla="*/ 357734 h 2305271"/>
                <a:gd name="connsiteX4" fmla="*/ 213329 w 1314426"/>
                <a:gd name="connsiteY4" fmla="*/ 82290 h 2305271"/>
                <a:gd name="connsiteX5" fmla="*/ 1013028 w 1314426"/>
                <a:gd name="connsiteY5" fmla="*/ 0 h 2305271"/>
                <a:gd name="connsiteX6" fmla="*/ 1088321 w 1314426"/>
                <a:gd name="connsiteY6" fmla="*/ 297160 h 2305271"/>
                <a:gd name="connsiteX7" fmla="*/ 1314198 w 1314426"/>
                <a:gd name="connsiteY7" fmla="*/ 1189781 h 2305271"/>
                <a:gd name="connsiteX8" fmla="*/ 1295946 w 1314426"/>
                <a:gd name="connsiteY8" fmla="*/ 2298414 h 2305271"/>
                <a:gd name="connsiteX9" fmla="*/ 976523 w 1314426"/>
                <a:gd name="connsiteY9" fmla="*/ 2305272 h 2305271"/>
                <a:gd name="connsiteX10" fmla="*/ 897807 w 1314426"/>
                <a:gd name="connsiteY10" fmla="*/ 1315502 h 2305271"/>
                <a:gd name="connsiteX11" fmla="*/ 705013 w 1314426"/>
                <a:gd name="connsiteY11" fmla="*/ 648036 h 2305271"/>
                <a:gd name="connsiteX12" fmla="*/ 658240 w 1314426"/>
                <a:gd name="connsiteY12" fmla="*/ 1314360 h 2305271"/>
                <a:gd name="connsiteX13" fmla="*/ 304593 w 1314426"/>
                <a:gd name="connsiteY13" fmla="*/ 2218410 h 2305271"/>
                <a:gd name="connsiteX14" fmla="*/ 303452 w 1314426"/>
                <a:gd name="connsiteY14" fmla="*/ 2218410 h 230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14426" h="2305271">
                  <a:moveTo>
                    <a:pt x="303452" y="2217267"/>
                  </a:moveTo>
                  <a:lnTo>
                    <a:pt x="0" y="2140692"/>
                  </a:lnTo>
                  <a:cubicBezTo>
                    <a:pt x="0" y="2140692"/>
                    <a:pt x="216751" y="1397793"/>
                    <a:pt x="221315" y="1250356"/>
                  </a:cubicBezTo>
                  <a:cubicBezTo>
                    <a:pt x="227019" y="1101776"/>
                    <a:pt x="182528" y="498314"/>
                    <a:pt x="185950" y="357734"/>
                  </a:cubicBezTo>
                  <a:cubicBezTo>
                    <a:pt x="189372" y="217155"/>
                    <a:pt x="213329" y="82290"/>
                    <a:pt x="213329" y="82290"/>
                  </a:cubicBezTo>
                  <a:lnTo>
                    <a:pt x="1013028" y="0"/>
                  </a:lnTo>
                  <a:lnTo>
                    <a:pt x="1088321" y="297160"/>
                  </a:lnTo>
                  <a:cubicBezTo>
                    <a:pt x="1117981" y="377164"/>
                    <a:pt x="1322184" y="1104062"/>
                    <a:pt x="1314198" y="1189781"/>
                  </a:cubicBezTo>
                  <a:lnTo>
                    <a:pt x="1295946" y="2298414"/>
                  </a:lnTo>
                  <a:lnTo>
                    <a:pt x="976523" y="2305272"/>
                  </a:lnTo>
                  <a:lnTo>
                    <a:pt x="897807" y="1315502"/>
                  </a:lnTo>
                  <a:lnTo>
                    <a:pt x="705013" y="648036"/>
                  </a:lnTo>
                  <a:cubicBezTo>
                    <a:pt x="705013" y="648036"/>
                    <a:pt x="694746" y="1089204"/>
                    <a:pt x="658240" y="1314360"/>
                  </a:cubicBezTo>
                  <a:cubicBezTo>
                    <a:pt x="621735" y="1539515"/>
                    <a:pt x="304593" y="2218410"/>
                    <a:pt x="304593" y="2218410"/>
                  </a:cubicBezTo>
                  <a:lnTo>
                    <a:pt x="303452" y="2218410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4" name="Graphic 43">
              <a:extLst>
                <a:ext uri="{FF2B5EF4-FFF2-40B4-BE49-F238E27FC236}">
                  <a16:creationId xmlns:a16="http://schemas.microsoft.com/office/drawing/2014/main" id="{F120EBFB-8153-495C-12EA-1B65F3BA8D70}"/>
                </a:ext>
              </a:extLst>
            </p:cNvPr>
            <p:cNvGrpSpPr/>
            <p:nvPr/>
          </p:nvGrpSpPr>
          <p:grpSpPr>
            <a:xfrm>
              <a:off x="-3153130" y="888265"/>
              <a:ext cx="862447" cy="868816"/>
              <a:chOff x="2476010" y="1518205"/>
              <a:chExt cx="862447" cy="868816"/>
            </a:xfrm>
          </p:grpSpPr>
          <p:grpSp>
            <p:nvGrpSpPr>
              <p:cNvPr id="55" name="Graphic 43">
                <a:extLst>
                  <a:ext uri="{FF2B5EF4-FFF2-40B4-BE49-F238E27FC236}">
                    <a16:creationId xmlns:a16="http://schemas.microsoft.com/office/drawing/2014/main" id="{BDAC939D-0CD3-9EB1-A2EA-64323ECDD574}"/>
                  </a:ext>
                </a:extLst>
              </p:cNvPr>
              <p:cNvGrpSpPr/>
              <p:nvPr/>
            </p:nvGrpSpPr>
            <p:grpSpPr>
              <a:xfrm>
                <a:off x="2498720" y="1603673"/>
                <a:ext cx="673499" cy="783348"/>
                <a:chOff x="2498720" y="1603673"/>
                <a:chExt cx="673499" cy="783348"/>
              </a:xfrm>
              <a:solidFill>
                <a:srgbClr val="FFD78F"/>
              </a:solidFill>
            </p:grpSpPr>
            <p:sp>
              <p:nvSpPr>
                <p:cNvPr id="56" name="Freeform 55">
                  <a:extLst>
                    <a:ext uri="{FF2B5EF4-FFF2-40B4-BE49-F238E27FC236}">
                      <a16:creationId xmlns:a16="http://schemas.microsoft.com/office/drawing/2014/main" id="{7C79991A-D540-0B96-5668-5829569768C3}"/>
                    </a:ext>
                  </a:extLst>
                </p:cNvPr>
                <p:cNvSpPr/>
                <p:nvPr/>
              </p:nvSpPr>
              <p:spPr>
                <a:xfrm>
                  <a:off x="2538246" y="1959569"/>
                  <a:ext cx="294325" cy="427452"/>
                </a:xfrm>
                <a:custGeom>
                  <a:avLst/>
                  <a:gdLst>
                    <a:gd name="connsiteX0" fmla="*/ 29661 w 294325"/>
                    <a:gd name="connsiteY0" fmla="*/ 148580 h 427452"/>
                    <a:gd name="connsiteX1" fmla="*/ 53618 w 294325"/>
                    <a:gd name="connsiteY1" fmla="*/ 0 h 427452"/>
                    <a:gd name="connsiteX2" fmla="*/ 294326 w 294325"/>
                    <a:gd name="connsiteY2" fmla="*/ 0 h 427452"/>
                    <a:gd name="connsiteX3" fmla="*/ 255539 w 294325"/>
                    <a:gd name="connsiteY3" fmla="*/ 246871 h 427452"/>
                    <a:gd name="connsiteX4" fmla="*/ 152867 w 294325"/>
                    <a:gd name="connsiteY4" fmla="*/ 427452 h 427452"/>
                    <a:gd name="connsiteX5" fmla="*/ 23957 w 294325"/>
                    <a:gd name="connsiteY5" fmla="*/ 262872 h 427452"/>
                    <a:gd name="connsiteX6" fmla="*/ 0 w 294325"/>
                    <a:gd name="connsiteY6" fmla="*/ 219441 h 427452"/>
                    <a:gd name="connsiteX7" fmla="*/ 28520 w 294325"/>
                    <a:gd name="connsiteY7" fmla="*/ 148580 h 427452"/>
                    <a:gd name="connsiteX8" fmla="*/ 28520 w 294325"/>
                    <a:gd name="connsiteY8" fmla="*/ 148580 h 427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4325" h="427452">
                      <a:moveTo>
                        <a:pt x="29661" y="148580"/>
                      </a:moveTo>
                      <a:cubicBezTo>
                        <a:pt x="42210" y="101720"/>
                        <a:pt x="49054" y="49146"/>
                        <a:pt x="53618" y="0"/>
                      </a:cubicBezTo>
                      <a:lnTo>
                        <a:pt x="294326" y="0"/>
                      </a:lnTo>
                      <a:lnTo>
                        <a:pt x="255539" y="246871"/>
                      </a:lnTo>
                      <a:cubicBezTo>
                        <a:pt x="231582" y="301731"/>
                        <a:pt x="203062" y="397737"/>
                        <a:pt x="152867" y="427452"/>
                      </a:cubicBezTo>
                      <a:cubicBezTo>
                        <a:pt x="152867" y="427452"/>
                        <a:pt x="71870" y="372592"/>
                        <a:pt x="23957" y="262872"/>
                      </a:cubicBezTo>
                      <a:cubicBezTo>
                        <a:pt x="15971" y="245728"/>
                        <a:pt x="4563" y="233156"/>
                        <a:pt x="0" y="219441"/>
                      </a:cubicBezTo>
                      <a:cubicBezTo>
                        <a:pt x="11408" y="198868"/>
                        <a:pt x="20534" y="174867"/>
                        <a:pt x="28520" y="148580"/>
                      </a:cubicBezTo>
                      <a:lnTo>
                        <a:pt x="28520" y="148580"/>
                      </a:lnTo>
                      <a:close/>
                    </a:path>
                  </a:pathLst>
                </a:custGeom>
                <a:solidFill>
                  <a:srgbClr val="FFD78F"/>
                </a:solidFill>
                <a:ln w="12662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" name="Freeform 56">
                  <a:extLst>
                    <a:ext uri="{FF2B5EF4-FFF2-40B4-BE49-F238E27FC236}">
                      <a16:creationId xmlns:a16="http://schemas.microsoft.com/office/drawing/2014/main" id="{8AE9FF86-5854-8DB0-E57F-248290B26B82}"/>
                    </a:ext>
                  </a:extLst>
                </p:cNvPr>
                <p:cNvSpPr/>
                <p:nvPr/>
              </p:nvSpPr>
              <p:spPr>
                <a:xfrm>
                  <a:off x="2498720" y="1603673"/>
                  <a:ext cx="499380" cy="538048"/>
                </a:xfrm>
                <a:custGeom>
                  <a:avLst/>
                  <a:gdLst>
                    <a:gd name="connsiteX0" fmla="*/ 52075 w 499380"/>
                    <a:gd name="connsiteY0" fmla="*/ 374182 h 538048"/>
                    <a:gd name="connsiteX1" fmla="*/ 740 w 499380"/>
                    <a:gd name="connsiteY1" fmla="*/ 208459 h 538048"/>
                    <a:gd name="connsiteX2" fmla="*/ 199238 w 499380"/>
                    <a:gd name="connsiteY2" fmla="*/ 447 h 538048"/>
                    <a:gd name="connsiteX3" fmla="*/ 460481 w 499380"/>
                    <a:gd name="connsiteY3" fmla="*/ 258747 h 538048"/>
                    <a:gd name="connsiteX4" fmla="*/ 460481 w 499380"/>
                    <a:gd name="connsiteY4" fmla="*/ 258747 h 538048"/>
                    <a:gd name="connsiteX5" fmla="*/ 462762 w 499380"/>
                    <a:gd name="connsiteY5" fmla="*/ 265605 h 538048"/>
                    <a:gd name="connsiteX6" fmla="*/ 482156 w 499380"/>
                    <a:gd name="connsiteY6" fmla="*/ 306750 h 538048"/>
                    <a:gd name="connsiteX7" fmla="*/ 499268 w 499380"/>
                    <a:gd name="connsiteY7" fmla="*/ 347895 h 538048"/>
                    <a:gd name="connsiteX8" fmla="*/ 485578 w 499380"/>
                    <a:gd name="connsiteY8" fmla="*/ 369611 h 538048"/>
                    <a:gd name="connsiteX9" fmla="*/ 467326 w 499380"/>
                    <a:gd name="connsiteY9" fmla="*/ 369611 h 538048"/>
                    <a:gd name="connsiteX10" fmla="*/ 479874 w 499380"/>
                    <a:gd name="connsiteY10" fmla="*/ 402755 h 538048"/>
                    <a:gd name="connsiteX11" fmla="*/ 462762 w 499380"/>
                    <a:gd name="connsiteY11" fmla="*/ 424471 h 538048"/>
                    <a:gd name="connsiteX12" fmla="*/ 459340 w 499380"/>
                    <a:gd name="connsiteY12" fmla="*/ 454187 h 538048"/>
                    <a:gd name="connsiteX13" fmla="*/ 444510 w 499380"/>
                    <a:gd name="connsiteY13" fmla="*/ 465616 h 538048"/>
                    <a:gd name="connsiteX14" fmla="*/ 444510 w 499380"/>
                    <a:gd name="connsiteY14" fmla="*/ 502190 h 538048"/>
                    <a:gd name="connsiteX15" fmla="*/ 411427 w 499380"/>
                    <a:gd name="connsiteY15" fmla="*/ 536477 h 538048"/>
                    <a:gd name="connsiteX16" fmla="*/ 324726 w 499380"/>
                    <a:gd name="connsiteY16" fmla="*/ 534191 h 538048"/>
                    <a:gd name="connsiteX17" fmla="*/ 195816 w 499380"/>
                    <a:gd name="connsiteY17" fmla="*/ 479331 h 538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99380" h="538048">
                      <a:moveTo>
                        <a:pt x="52075" y="374182"/>
                      </a:moveTo>
                      <a:cubicBezTo>
                        <a:pt x="52075" y="374182"/>
                        <a:pt x="-7246" y="293035"/>
                        <a:pt x="740" y="208459"/>
                      </a:cubicBezTo>
                      <a:cubicBezTo>
                        <a:pt x="8725" y="123883"/>
                        <a:pt x="80595" y="32449"/>
                        <a:pt x="199238" y="447"/>
                      </a:cubicBezTo>
                      <a:cubicBezTo>
                        <a:pt x="199238" y="447"/>
                        <a:pt x="477593" y="-22411"/>
                        <a:pt x="460481" y="258747"/>
                      </a:cubicBezTo>
                      <a:lnTo>
                        <a:pt x="460481" y="258747"/>
                      </a:lnTo>
                      <a:cubicBezTo>
                        <a:pt x="460481" y="261033"/>
                        <a:pt x="460481" y="263319"/>
                        <a:pt x="462762" y="265605"/>
                      </a:cubicBezTo>
                      <a:cubicBezTo>
                        <a:pt x="469607" y="279320"/>
                        <a:pt x="476452" y="293035"/>
                        <a:pt x="482156" y="306750"/>
                      </a:cubicBezTo>
                      <a:lnTo>
                        <a:pt x="499268" y="347895"/>
                      </a:lnTo>
                      <a:cubicBezTo>
                        <a:pt x="499268" y="347895"/>
                        <a:pt x="501549" y="369611"/>
                        <a:pt x="485578" y="369611"/>
                      </a:cubicBezTo>
                      <a:cubicBezTo>
                        <a:pt x="469607" y="369611"/>
                        <a:pt x="467326" y="369611"/>
                        <a:pt x="467326" y="369611"/>
                      </a:cubicBezTo>
                      <a:cubicBezTo>
                        <a:pt x="463903" y="379897"/>
                        <a:pt x="470748" y="390183"/>
                        <a:pt x="479874" y="402755"/>
                      </a:cubicBezTo>
                      <a:cubicBezTo>
                        <a:pt x="479874" y="415327"/>
                        <a:pt x="470748" y="419899"/>
                        <a:pt x="462762" y="424471"/>
                      </a:cubicBezTo>
                      <a:cubicBezTo>
                        <a:pt x="462762" y="424471"/>
                        <a:pt x="470748" y="446186"/>
                        <a:pt x="459340" y="454187"/>
                      </a:cubicBezTo>
                      <a:cubicBezTo>
                        <a:pt x="447932" y="462187"/>
                        <a:pt x="444510" y="465616"/>
                        <a:pt x="444510" y="465616"/>
                      </a:cubicBezTo>
                      <a:lnTo>
                        <a:pt x="444510" y="502190"/>
                      </a:lnTo>
                      <a:cubicBezTo>
                        <a:pt x="443369" y="502190"/>
                        <a:pt x="433102" y="530763"/>
                        <a:pt x="411427" y="536477"/>
                      </a:cubicBezTo>
                      <a:cubicBezTo>
                        <a:pt x="388611" y="541049"/>
                        <a:pt x="324726" y="534191"/>
                        <a:pt x="324726" y="534191"/>
                      </a:cubicBezTo>
                      <a:cubicBezTo>
                        <a:pt x="324726" y="534191"/>
                        <a:pt x="215209" y="511333"/>
                        <a:pt x="195816" y="479331"/>
                      </a:cubicBezTo>
                    </a:path>
                  </a:pathLst>
                </a:custGeom>
                <a:solidFill>
                  <a:srgbClr val="FFD78F"/>
                </a:solidFill>
                <a:ln w="12662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3957DB93-0216-BDA2-23D7-D3A2F3F43A2E}"/>
                  </a:ext>
                </a:extLst>
              </p:cNvPr>
              <p:cNvSpPr/>
              <p:nvPr/>
            </p:nvSpPr>
            <p:spPr>
              <a:xfrm>
                <a:off x="2559921" y="1591094"/>
                <a:ext cx="386903" cy="150410"/>
              </a:xfrm>
              <a:custGeom>
                <a:avLst/>
                <a:gdLst>
                  <a:gd name="connsiteX0" fmla="*/ 375322 w 386903"/>
                  <a:gd name="connsiteY0" fmla="*/ 123890 h 150410"/>
                  <a:gd name="connsiteX1" fmla="*/ 108376 w 386903"/>
                  <a:gd name="connsiteY1" fmla="*/ 6169 h 150410"/>
                  <a:gd name="connsiteX2" fmla="*/ 0 w 386903"/>
                  <a:gd name="connsiteY2" fmla="*/ 71315 h 150410"/>
                  <a:gd name="connsiteX3" fmla="*/ 211047 w 386903"/>
                  <a:gd name="connsiteY3" fmla="*/ 126176 h 150410"/>
                  <a:gd name="connsiteX4" fmla="*/ 386730 w 386903"/>
                  <a:gd name="connsiteY4" fmla="*/ 150177 h 150410"/>
                  <a:gd name="connsiteX5" fmla="*/ 375322 w 386903"/>
                  <a:gd name="connsiteY5" fmla="*/ 122747 h 150410"/>
                  <a:gd name="connsiteX6" fmla="*/ 375322 w 386903"/>
                  <a:gd name="connsiteY6" fmla="*/ 122747 h 150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6903" h="150410">
                    <a:moveTo>
                      <a:pt x="375322" y="123890"/>
                    </a:moveTo>
                    <a:cubicBezTo>
                      <a:pt x="277214" y="-40691"/>
                      <a:pt x="108376" y="6169"/>
                      <a:pt x="108376" y="6169"/>
                    </a:cubicBezTo>
                    <a:cubicBezTo>
                      <a:pt x="60462" y="18741"/>
                      <a:pt x="26238" y="42742"/>
                      <a:pt x="0" y="71315"/>
                    </a:cubicBezTo>
                    <a:lnTo>
                      <a:pt x="211047" y="126176"/>
                    </a:lnTo>
                    <a:lnTo>
                      <a:pt x="386730" y="150177"/>
                    </a:lnTo>
                    <a:cubicBezTo>
                      <a:pt x="387871" y="152463"/>
                      <a:pt x="383308" y="137605"/>
                      <a:pt x="375322" y="122747"/>
                    </a:cubicBezTo>
                    <a:lnTo>
                      <a:pt x="375322" y="122747"/>
                    </a:lnTo>
                    <a:close/>
                  </a:path>
                </a:pathLst>
              </a:custGeom>
              <a:solidFill>
                <a:srgbClr val="281805"/>
              </a:solidFill>
              <a:ln w="84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ADA63993-9190-7805-F4D2-248C2BDC7E28}"/>
                  </a:ext>
                </a:extLst>
              </p:cNvPr>
              <p:cNvSpPr/>
              <p:nvPr/>
            </p:nvSpPr>
            <p:spPr>
              <a:xfrm>
                <a:off x="2498163" y="1644123"/>
                <a:ext cx="486850" cy="524835"/>
              </a:xfrm>
              <a:custGeom>
                <a:avLst/>
                <a:gdLst>
                  <a:gd name="connsiteX0" fmla="*/ 470164 w 486850"/>
                  <a:gd name="connsiteY0" fmla="*/ 329161 h 524835"/>
                  <a:gd name="connsiteX1" fmla="*/ 401716 w 486850"/>
                  <a:gd name="connsiteY1" fmla="*/ 340590 h 524835"/>
                  <a:gd name="connsiteX2" fmla="*/ 329846 w 486850"/>
                  <a:gd name="connsiteY2" fmla="*/ 432024 h 524835"/>
                  <a:gd name="connsiteX3" fmla="*/ 288777 w 486850"/>
                  <a:gd name="connsiteY3" fmla="*/ 218298 h 524835"/>
                  <a:gd name="connsiteX4" fmla="*/ 301326 w 486850"/>
                  <a:gd name="connsiteY4" fmla="*/ 189725 h 524835"/>
                  <a:gd name="connsiteX5" fmla="*/ 318438 w 486850"/>
                  <a:gd name="connsiteY5" fmla="*/ 187439 h 524835"/>
                  <a:gd name="connsiteX6" fmla="*/ 357225 w 486850"/>
                  <a:gd name="connsiteY6" fmla="*/ 138293 h 524835"/>
                  <a:gd name="connsiteX7" fmla="*/ 332128 w 486850"/>
                  <a:gd name="connsiteY7" fmla="*/ 44574 h 524835"/>
                  <a:gd name="connsiteX8" fmla="*/ 80011 w 486850"/>
                  <a:gd name="connsiteY8" fmla="*/ 0 h 524835"/>
                  <a:gd name="connsiteX9" fmla="*/ 1296 w 486850"/>
                  <a:gd name="connsiteY9" fmla="*/ 168009 h 524835"/>
                  <a:gd name="connsiteX10" fmla="*/ 86856 w 486850"/>
                  <a:gd name="connsiteY10" fmla="*/ 395451 h 524835"/>
                  <a:gd name="connsiteX11" fmla="*/ 143896 w 486850"/>
                  <a:gd name="connsiteY11" fmla="*/ 334876 h 524835"/>
                  <a:gd name="connsiteX12" fmla="*/ 149600 w 486850"/>
                  <a:gd name="connsiteY12" fmla="*/ 286873 h 524835"/>
                  <a:gd name="connsiteX13" fmla="*/ 251131 w 486850"/>
                  <a:gd name="connsiteY13" fmla="*/ 208012 h 524835"/>
                  <a:gd name="connsiteX14" fmla="*/ 227174 w 486850"/>
                  <a:gd name="connsiteY14" fmla="*/ 340590 h 524835"/>
                  <a:gd name="connsiteX15" fmla="*/ 178120 w 486850"/>
                  <a:gd name="connsiteY15" fmla="*/ 452597 h 524835"/>
                  <a:gd name="connsiteX16" fmla="*/ 392590 w 486850"/>
                  <a:gd name="connsiteY16" fmla="*/ 524601 h 524835"/>
                  <a:gd name="connsiteX17" fmla="*/ 442785 w 486850"/>
                  <a:gd name="connsiteY17" fmla="*/ 429738 h 524835"/>
                  <a:gd name="connsiteX18" fmla="*/ 383463 w 486850"/>
                  <a:gd name="connsiteY18" fmla="*/ 418309 h 524835"/>
                  <a:gd name="connsiteX19" fmla="*/ 402857 w 486850"/>
                  <a:gd name="connsiteY19" fmla="*/ 374878 h 524835"/>
                  <a:gd name="connsiteX20" fmla="*/ 470164 w 486850"/>
                  <a:gd name="connsiteY20" fmla="*/ 380593 h 524835"/>
                  <a:gd name="connsiteX21" fmla="*/ 470164 w 486850"/>
                  <a:gd name="connsiteY21" fmla="*/ 329161 h 524835"/>
                  <a:gd name="connsiteX22" fmla="*/ 470164 w 486850"/>
                  <a:gd name="connsiteY22" fmla="*/ 329161 h 52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6850" h="524835">
                    <a:moveTo>
                      <a:pt x="470164" y="329161"/>
                    </a:moveTo>
                    <a:cubicBezTo>
                      <a:pt x="448489" y="332590"/>
                      <a:pt x="429095" y="332590"/>
                      <a:pt x="401716" y="340590"/>
                    </a:cubicBezTo>
                    <a:cubicBezTo>
                      <a:pt x="332128" y="362306"/>
                      <a:pt x="335550" y="435453"/>
                      <a:pt x="329846" y="432024"/>
                    </a:cubicBezTo>
                    <a:cubicBezTo>
                      <a:pt x="278510" y="400022"/>
                      <a:pt x="288777" y="222870"/>
                      <a:pt x="288777" y="218298"/>
                    </a:cubicBezTo>
                    <a:cubicBezTo>
                      <a:pt x="288777" y="205726"/>
                      <a:pt x="288777" y="190868"/>
                      <a:pt x="301326" y="189725"/>
                    </a:cubicBezTo>
                    <a:lnTo>
                      <a:pt x="318438" y="187439"/>
                    </a:lnTo>
                    <a:cubicBezTo>
                      <a:pt x="341254" y="185153"/>
                      <a:pt x="362929" y="162295"/>
                      <a:pt x="357225" y="138293"/>
                    </a:cubicBezTo>
                    <a:lnTo>
                      <a:pt x="332128" y="44574"/>
                    </a:lnTo>
                    <a:lnTo>
                      <a:pt x="80011" y="0"/>
                    </a:lnTo>
                    <a:cubicBezTo>
                      <a:pt x="28675" y="44574"/>
                      <a:pt x="9282" y="109720"/>
                      <a:pt x="1296" y="168009"/>
                    </a:cubicBezTo>
                    <a:cubicBezTo>
                      <a:pt x="-12393" y="269729"/>
                      <a:pt x="86856" y="395451"/>
                      <a:pt x="86856" y="395451"/>
                    </a:cubicBezTo>
                    <a:lnTo>
                      <a:pt x="143896" y="334876"/>
                    </a:lnTo>
                    <a:cubicBezTo>
                      <a:pt x="156445" y="316589"/>
                      <a:pt x="157586" y="304017"/>
                      <a:pt x="149600" y="286873"/>
                    </a:cubicBezTo>
                    <a:cubicBezTo>
                      <a:pt x="106250" y="190868"/>
                      <a:pt x="220330" y="130293"/>
                      <a:pt x="251131" y="208012"/>
                    </a:cubicBezTo>
                    <a:cubicBezTo>
                      <a:pt x="264821" y="245728"/>
                      <a:pt x="238582" y="320018"/>
                      <a:pt x="227174" y="340590"/>
                    </a:cubicBezTo>
                    <a:cubicBezTo>
                      <a:pt x="214625" y="363449"/>
                      <a:pt x="175838" y="441168"/>
                      <a:pt x="178120" y="452597"/>
                    </a:cubicBezTo>
                    <a:cubicBezTo>
                      <a:pt x="180401" y="464026"/>
                      <a:pt x="248849" y="518886"/>
                      <a:pt x="392590" y="524601"/>
                    </a:cubicBezTo>
                    <a:cubicBezTo>
                      <a:pt x="536330" y="530315"/>
                      <a:pt x="442785" y="429738"/>
                      <a:pt x="442785" y="429738"/>
                    </a:cubicBezTo>
                    <a:cubicBezTo>
                      <a:pt x="442785" y="429738"/>
                      <a:pt x="388027" y="432024"/>
                      <a:pt x="383463" y="418309"/>
                    </a:cubicBezTo>
                    <a:cubicBezTo>
                      <a:pt x="378900" y="403451"/>
                      <a:pt x="380041" y="380593"/>
                      <a:pt x="402857" y="374878"/>
                    </a:cubicBezTo>
                    <a:cubicBezTo>
                      <a:pt x="425673" y="369164"/>
                      <a:pt x="433658" y="371449"/>
                      <a:pt x="470164" y="380593"/>
                    </a:cubicBezTo>
                    <a:cubicBezTo>
                      <a:pt x="492980" y="361163"/>
                      <a:pt x="491839" y="325733"/>
                      <a:pt x="470164" y="329161"/>
                    </a:cubicBezTo>
                    <a:lnTo>
                      <a:pt x="470164" y="329161"/>
                    </a:lnTo>
                    <a:close/>
                  </a:path>
                </a:pathLst>
              </a:custGeom>
              <a:solidFill>
                <a:srgbClr val="4D260F"/>
              </a:solidFill>
              <a:ln w="12662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B7BAF44D-76E1-878F-7B1E-AFAA4B9121BD}"/>
                  </a:ext>
                </a:extLst>
              </p:cNvPr>
              <p:cNvSpPr/>
              <p:nvPr/>
            </p:nvSpPr>
            <p:spPr>
              <a:xfrm>
                <a:off x="2476010" y="1518205"/>
                <a:ext cx="470641" cy="327072"/>
              </a:xfrm>
              <a:custGeom>
                <a:avLst/>
                <a:gdLst>
                  <a:gd name="connsiteX0" fmla="*/ 435277 w 470641"/>
                  <a:gd name="connsiteY0" fmla="*/ 72201 h 327072"/>
                  <a:gd name="connsiteX1" fmla="*/ 331464 w 470641"/>
                  <a:gd name="connsiteY1" fmla="*/ 197 h 327072"/>
                  <a:gd name="connsiteX2" fmla="*/ 10900 w 470641"/>
                  <a:gd name="connsiteY2" fmla="*/ 327072 h 327072"/>
                  <a:gd name="connsiteX3" fmla="*/ 233356 w 470641"/>
                  <a:gd name="connsiteY3" fmla="*/ 280213 h 327072"/>
                  <a:gd name="connsiteX4" fmla="*/ 470642 w 470641"/>
                  <a:gd name="connsiteY4" fmla="*/ 224209 h 327072"/>
                  <a:gd name="connsiteX5" fmla="*/ 435277 w 470641"/>
                  <a:gd name="connsiteY5" fmla="*/ 72201 h 327072"/>
                  <a:gd name="connsiteX6" fmla="*/ 435277 w 470641"/>
                  <a:gd name="connsiteY6" fmla="*/ 72201 h 327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0641" h="327072">
                    <a:moveTo>
                      <a:pt x="435277" y="72201"/>
                    </a:moveTo>
                    <a:cubicBezTo>
                      <a:pt x="435277" y="72201"/>
                      <a:pt x="422728" y="-4375"/>
                      <a:pt x="331464" y="197"/>
                    </a:cubicBezTo>
                    <a:cubicBezTo>
                      <a:pt x="129543" y="9340"/>
                      <a:pt x="-46140" y="92773"/>
                      <a:pt x="10900" y="327072"/>
                    </a:cubicBezTo>
                    <a:lnTo>
                      <a:pt x="233356" y="280213"/>
                    </a:lnTo>
                    <a:lnTo>
                      <a:pt x="470642" y="224209"/>
                    </a:lnTo>
                    <a:lnTo>
                      <a:pt x="435277" y="72201"/>
                    </a:lnTo>
                    <a:lnTo>
                      <a:pt x="435277" y="72201"/>
                    </a:lnTo>
                    <a:close/>
                  </a:path>
                </a:pathLst>
              </a:custGeom>
              <a:solidFill>
                <a:srgbClr val="FFFFFF"/>
              </a:solidFill>
              <a:ln w="12662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14CCA06A-721F-B9A3-9297-05B26C951BFF}"/>
                  </a:ext>
                </a:extLst>
              </p:cNvPr>
              <p:cNvSpPr/>
              <p:nvPr/>
            </p:nvSpPr>
            <p:spPr>
              <a:xfrm>
                <a:off x="2752716" y="1715680"/>
                <a:ext cx="362773" cy="80955"/>
              </a:xfrm>
              <a:custGeom>
                <a:avLst/>
                <a:gdLst>
                  <a:gd name="connsiteX0" fmla="*/ 0 w 362773"/>
                  <a:gd name="connsiteY0" fmla="*/ 72451 h 80955"/>
                  <a:gd name="connsiteX1" fmla="*/ 362773 w 362773"/>
                  <a:gd name="connsiteY1" fmla="*/ 27877 h 80955"/>
                  <a:gd name="connsiteX2" fmla="*/ 182528 w 362773"/>
                  <a:gd name="connsiteY2" fmla="*/ 447 h 80955"/>
                  <a:gd name="connsiteX3" fmla="*/ 0 w 362773"/>
                  <a:gd name="connsiteY3" fmla="*/ 73594 h 80955"/>
                  <a:gd name="connsiteX4" fmla="*/ 0 w 362773"/>
                  <a:gd name="connsiteY4" fmla="*/ 73594 h 8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773" h="80955">
                    <a:moveTo>
                      <a:pt x="0" y="72451"/>
                    </a:moveTo>
                    <a:cubicBezTo>
                      <a:pt x="208766" y="77023"/>
                      <a:pt x="319423" y="104453"/>
                      <a:pt x="362773" y="27877"/>
                    </a:cubicBezTo>
                    <a:cubicBezTo>
                      <a:pt x="362773" y="27877"/>
                      <a:pt x="167697" y="-4125"/>
                      <a:pt x="182528" y="447"/>
                    </a:cubicBezTo>
                    <a:lnTo>
                      <a:pt x="0" y="73594"/>
                    </a:lnTo>
                    <a:lnTo>
                      <a:pt x="0" y="73594"/>
                    </a:lnTo>
                    <a:close/>
                  </a:path>
                </a:pathLst>
              </a:custGeom>
              <a:solidFill>
                <a:srgbClr val="FFFFFF"/>
              </a:solidFill>
              <a:ln w="12662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2F8A710C-F5DA-5154-EBCE-43B8E2AA57A5}"/>
                  </a:ext>
                </a:extLst>
              </p:cNvPr>
              <p:cNvSpPr/>
              <p:nvPr/>
            </p:nvSpPr>
            <p:spPr>
              <a:xfrm>
                <a:off x="2823445" y="1584691"/>
                <a:ext cx="106094" cy="116578"/>
              </a:xfrm>
              <a:custGeom>
                <a:avLst/>
                <a:gdLst>
                  <a:gd name="connsiteX0" fmla="*/ 86701 w 106094"/>
                  <a:gd name="connsiteY0" fmla="*/ 0 h 116578"/>
                  <a:gd name="connsiteX1" fmla="*/ 0 w 106094"/>
                  <a:gd name="connsiteY1" fmla="*/ 25144 h 116578"/>
                  <a:gd name="connsiteX2" fmla="*/ 23957 w 106094"/>
                  <a:gd name="connsiteY2" fmla="*/ 116578 h 116578"/>
                  <a:gd name="connsiteX3" fmla="*/ 106094 w 106094"/>
                  <a:gd name="connsiteY3" fmla="*/ 85719 h 116578"/>
                  <a:gd name="connsiteX4" fmla="*/ 86701 w 106094"/>
                  <a:gd name="connsiteY4" fmla="*/ 0 h 116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94" h="116578">
                    <a:moveTo>
                      <a:pt x="86701" y="0"/>
                    </a:moveTo>
                    <a:lnTo>
                      <a:pt x="0" y="25144"/>
                    </a:lnTo>
                    <a:lnTo>
                      <a:pt x="23957" y="116578"/>
                    </a:lnTo>
                    <a:lnTo>
                      <a:pt x="106094" y="85719"/>
                    </a:lnTo>
                    <a:lnTo>
                      <a:pt x="8670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662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B4EBF36-0669-2E85-B77A-6AF893315844}"/>
                </a:ext>
              </a:extLst>
            </p:cNvPr>
            <p:cNvSpPr/>
            <p:nvPr/>
          </p:nvSpPr>
          <p:spPr>
            <a:xfrm>
              <a:off x="-3839855" y="1507925"/>
              <a:ext cx="2146438" cy="1686951"/>
            </a:xfrm>
            <a:custGeom>
              <a:avLst/>
              <a:gdLst>
                <a:gd name="connsiteX0" fmla="*/ 446650 w 2146438"/>
                <a:gd name="connsiteY0" fmla="*/ 992056 h 1686951"/>
                <a:gd name="connsiteX1" fmla="*/ 453495 w 2146438"/>
                <a:gd name="connsiteY1" fmla="*/ 755471 h 1686951"/>
                <a:gd name="connsiteX2" fmla="*/ 316599 w 2146438"/>
                <a:gd name="connsiteY2" fmla="*/ 955482 h 1686951"/>
                <a:gd name="connsiteX3" fmla="*/ 637164 w 2146438"/>
                <a:gd name="connsiteY3" fmla="*/ 1068631 h 1686951"/>
                <a:gd name="connsiteX4" fmla="*/ 573279 w 2146438"/>
                <a:gd name="connsiteY4" fmla="*/ 1286929 h 1686951"/>
                <a:gd name="connsiteX5" fmla="*/ 87299 w 2146438"/>
                <a:gd name="connsiteY5" fmla="*/ 1174923 h 1686951"/>
                <a:gd name="connsiteX6" fmla="*/ 265264 w 2146438"/>
                <a:gd name="connsiteY6" fmla="*/ 315446 h 1686951"/>
                <a:gd name="connsiteX7" fmla="*/ 445510 w 2146438"/>
                <a:gd name="connsiteY7" fmla="*/ 173724 h 1686951"/>
                <a:gd name="connsiteX8" fmla="*/ 599517 w 2146438"/>
                <a:gd name="connsiteY8" fmla="*/ 128007 h 1686951"/>
                <a:gd name="connsiteX9" fmla="*/ 599517 w 2146438"/>
                <a:gd name="connsiteY9" fmla="*/ 128007 h 1686951"/>
                <a:gd name="connsiteX10" fmla="*/ 769496 w 2146438"/>
                <a:gd name="connsiteY10" fmla="*/ 0 h 1686951"/>
                <a:gd name="connsiteX11" fmla="*/ 767214 w 2146438"/>
                <a:gd name="connsiteY11" fmla="*/ 49146 h 1686951"/>
                <a:gd name="connsiteX12" fmla="*/ 786608 w 2146438"/>
                <a:gd name="connsiteY12" fmla="*/ 90291 h 1686951"/>
                <a:gd name="connsiteX13" fmla="*/ 891561 w 2146438"/>
                <a:gd name="connsiteY13" fmla="*/ 203440 h 1686951"/>
                <a:gd name="connsiteX14" fmla="*/ 893843 w 2146438"/>
                <a:gd name="connsiteY14" fmla="*/ 203440 h 1686951"/>
                <a:gd name="connsiteX15" fmla="*/ 985107 w 2146438"/>
                <a:gd name="connsiteY15" fmla="*/ 78862 h 1686951"/>
                <a:gd name="connsiteX16" fmla="*/ 1013627 w 2146438"/>
                <a:gd name="connsiteY16" fmla="*/ 29716 h 1686951"/>
                <a:gd name="connsiteX17" fmla="*/ 1143677 w 2146438"/>
                <a:gd name="connsiteY17" fmla="*/ 131436 h 1686951"/>
                <a:gd name="connsiteX18" fmla="*/ 1294263 w 2146438"/>
                <a:gd name="connsiteY18" fmla="*/ 177153 h 1686951"/>
                <a:gd name="connsiteX19" fmla="*/ 1461960 w 2146438"/>
                <a:gd name="connsiteY19" fmla="*/ 325733 h 1686951"/>
                <a:gd name="connsiteX20" fmla="*/ 1682134 w 2146438"/>
                <a:gd name="connsiteY20" fmla="*/ 861763 h 1686951"/>
                <a:gd name="connsiteX21" fmla="*/ 2064301 w 2146438"/>
                <a:gd name="connsiteY21" fmla="*/ 746328 h 1686951"/>
                <a:gd name="connsiteX22" fmla="*/ 2146438 w 2146438"/>
                <a:gd name="connsiteY22" fmla="*/ 942910 h 1686951"/>
                <a:gd name="connsiteX23" fmla="*/ 1522422 w 2146438"/>
                <a:gd name="connsiteY23" fmla="*/ 1148636 h 1686951"/>
                <a:gd name="connsiteX24" fmla="*/ 1393512 w 2146438"/>
                <a:gd name="connsiteY24" fmla="*/ 961197 h 1686951"/>
                <a:gd name="connsiteX25" fmla="*/ 1436863 w 2146438"/>
                <a:gd name="connsiteY25" fmla="*/ 1644664 h 1686951"/>
                <a:gd name="connsiteX26" fmla="*/ 467185 w 2146438"/>
                <a:gd name="connsiteY26" fmla="*/ 1686952 h 1686951"/>
                <a:gd name="connsiteX27" fmla="*/ 445510 w 2146438"/>
                <a:gd name="connsiteY27" fmla="*/ 1276643 h 1686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46438" h="1686951">
                  <a:moveTo>
                    <a:pt x="446650" y="992056"/>
                  </a:moveTo>
                  <a:cubicBezTo>
                    <a:pt x="446650" y="992056"/>
                    <a:pt x="443228" y="853762"/>
                    <a:pt x="453495" y="755471"/>
                  </a:cubicBezTo>
                  <a:lnTo>
                    <a:pt x="316599" y="955482"/>
                  </a:lnTo>
                  <a:cubicBezTo>
                    <a:pt x="316599" y="955482"/>
                    <a:pt x="642867" y="1042344"/>
                    <a:pt x="637164" y="1068631"/>
                  </a:cubicBezTo>
                  <a:cubicBezTo>
                    <a:pt x="629178" y="1108634"/>
                    <a:pt x="609784" y="1265214"/>
                    <a:pt x="573279" y="1286929"/>
                  </a:cubicBezTo>
                  <a:cubicBezTo>
                    <a:pt x="548181" y="1301787"/>
                    <a:pt x="132931" y="1203496"/>
                    <a:pt x="87299" y="1174923"/>
                  </a:cubicBezTo>
                  <a:cubicBezTo>
                    <a:pt x="-179647" y="1004628"/>
                    <a:pt x="249292" y="346305"/>
                    <a:pt x="265264" y="315446"/>
                  </a:cubicBezTo>
                  <a:cubicBezTo>
                    <a:pt x="300628" y="248014"/>
                    <a:pt x="373639" y="197725"/>
                    <a:pt x="445510" y="173724"/>
                  </a:cubicBezTo>
                  <a:lnTo>
                    <a:pt x="599517" y="128007"/>
                  </a:lnTo>
                  <a:lnTo>
                    <a:pt x="599517" y="128007"/>
                  </a:lnTo>
                  <a:cubicBezTo>
                    <a:pt x="634882" y="1143"/>
                    <a:pt x="739835" y="0"/>
                    <a:pt x="769496" y="0"/>
                  </a:cubicBezTo>
                  <a:cubicBezTo>
                    <a:pt x="762651" y="25144"/>
                    <a:pt x="769496" y="28573"/>
                    <a:pt x="767214" y="49146"/>
                  </a:cubicBezTo>
                  <a:cubicBezTo>
                    <a:pt x="770637" y="61718"/>
                    <a:pt x="775200" y="76576"/>
                    <a:pt x="786608" y="90291"/>
                  </a:cubicBezTo>
                  <a:cubicBezTo>
                    <a:pt x="820832" y="133722"/>
                    <a:pt x="866464" y="185153"/>
                    <a:pt x="891561" y="203440"/>
                  </a:cubicBezTo>
                  <a:lnTo>
                    <a:pt x="893843" y="203440"/>
                  </a:lnTo>
                  <a:cubicBezTo>
                    <a:pt x="944038" y="176010"/>
                    <a:pt x="962291" y="130293"/>
                    <a:pt x="985107" y="78862"/>
                  </a:cubicBezTo>
                  <a:lnTo>
                    <a:pt x="1013627" y="29716"/>
                  </a:lnTo>
                  <a:cubicBezTo>
                    <a:pt x="1013627" y="29716"/>
                    <a:pt x="1117439" y="40002"/>
                    <a:pt x="1143677" y="131436"/>
                  </a:cubicBezTo>
                  <a:lnTo>
                    <a:pt x="1294263" y="177153"/>
                  </a:lnTo>
                  <a:cubicBezTo>
                    <a:pt x="1366133" y="201154"/>
                    <a:pt x="1426595" y="258300"/>
                    <a:pt x="1461960" y="325733"/>
                  </a:cubicBezTo>
                  <a:cubicBezTo>
                    <a:pt x="1481354" y="364592"/>
                    <a:pt x="1682134" y="861763"/>
                    <a:pt x="1682134" y="861763"/>
                  </a:cubicBezTo>
                  <a:cubicBezTo>
                    <a:pt x="1718639" y="876621"/>
                    <a:pt x="2064301" y="746328"/>
                    <a:pt x="2064301" y="746328"/>
                  </a:cubicBezTo>
                  <a:lnTo>
                    <a:pt x="2146438" y="942910"/>
                  </a:lnTo>
                  <a:cubicBezTo>
                    <a:pt x="2146438" y="942910"/>
                    <a:pt x="1662740" y="1338361"/>
                    <a:pt x="1522422" y="1148636"/>
                  </a:cubicBezTo>
                  <a:cubicBezTo>
                    <a:pt x="1382104" y="958911"/>
                    <a:pt x="1393512" y="961197"/>
                    <a:pt x="1393512" y="961197"/>
                  </a:cubicBezTo>
                  <a:lnTo>
                    <a:pt x="1436863" y="1644664"/>
                  </a:lnTo>
                  <a:lnTo>
                    <a:pt x="467185" y="1686952"/>
                  </a:lnTo>
                  <a:cubicBezTo>
                    <a:pt x="459199" y="1506370"/>
                    <a:pt x="450073" y="1416079"/>
                    <a:pt x="445510" y="1276643"/>
                  </a:cubicBezTo>
                </a:path>
              </a:pathLst>
            </a:custGeom>
            <a:solidFill>
              <a:srgbClr val="281805"/>
            </a:solidFill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B38896EF-A25B-8951-43C9-EAB00027BD11}"/>
                </a:ext>
              </a:extLst>
            </p:cNvPr>
            <p:cNvSpPr/>
            <p:nvPr/>
          </p:nvSpPr>
          <p:spPr>
            <a:xfrm>
              <a:off x="-3458231" y="1634550"/>
              <a:ext cx="267479" cy="821999"/>
            </a:xfrm>
            <a:custGeom>
              <a:avLst/>
              <a:gdLst>
                <a:gd name="connsiteX0" fmla="*/ 2282 w 267479"/>
                <a:gd name="connsiteY0" fmla="*/ 73386 h 821999"/>
                <a:gd name="connsiteX1" fmla="*/ 63885 w 267479"/>
                <a:gd name="connsiteY1" fmla="*/ 653990 h 821999"/>
                <a:gd name="connsiteX2" fmla="*/ 63885 w 267479"/>
                <a:gd name="connsiteY2" fmla="*/ 821999 h 821999"/>
                <a:gd name="connsiteX3" fmla="*/ 188232 w 267479"/>
                <a:gd name="connsiteY3" fmla="*/ 8239 h 821999"/>
                <a:gd name="connsiteX4" fmla="*/ 0 w 267479"/>
                <a:gd name="connsiteY4" fmla="*/ 74529 h 821999"/>
                <a:gd name="connsiteX5" fmla="*/ 0 w 267479"/>
                <a:gd name="connsiteY5" fmla="*/ 74529 h 82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479" h="821999">
                  <a:moveTo>
                    <a:pt x="2282" y="73386"/>
                  </a:moveTo>
                  <a:cubicBezTo>
                    <a:pt x="2282" y="73386"/>
                    <a:pt x="189372" y="218537"/>
                    <a:pt x="63885" y="653990"/>
                  </a:cubicBezTo>
                  <a:cubicBezTo>
                    <a:pt x="67307" y="736280"/>
                    <a:pt x="63885" y="821999"/>
                    <a:pt x="63885" y="821999"/>
                  </a:cubicBezTo>
                  <a:cubicBezTo>
                    <a:pt x="63885" y="821999"/>
                    <a:pt x="422095" y="527126"/>
                    <a:pt x="188232" y="8239"/>
                  </a:cubicBezTo>
                  <a:cubicBezTo>
                    <a:pt x="74152" y="-29477"/>
                    <a:pt x="0" y="74529"/>
                    <a:pt x="0" y="74529"/>
                  </a:cubicBezTo>
                  <a:lnTo>
                    <a:pt x="0" y="74529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29175C6A-810F-DB87-9F75-C4531ECB3BF8}"/>
                </a:ext>
              </a:extLst>
            </p:cNvPr>
            <p:cNvSpPr/>
            <p:nvPr/>
          </p:nvSpPr>
          <p:spPr>
            <a:xfrm>
              <a:off x="-2693896" y="1623349"/>
              <a:ext cx="300027" cy="840057"/>
            </a:xfrm>
            <a:custGeom>
              <a:avLst/>
              <a:gdLst>
                <a:gd name="connsiteX0" fmla="*/ 0 w 300027"/>
                <a:gd name="connsiteY0" fmla="*/ 11440 h 840057"/>
                <a:gd name="connsiteX1" fmla="*/ 248694 w 300027"/>
                <a:gd name="connsiteY1" fmla="*/ 840058 h 840057"/>
                <a:gd name="connsiteX2" fmla="*/ 203062 w 300027"/>
                <a:gd name="connsiteY2" fmla="*/ 86873 h 840057"/>
                <a:gd name="connsiteX3" fmla="*/ 0 w 300027"/>
                <a:gd name="connsiteY3" fmla="*/ 11440 h 840057"/>
                <a:gd name="connsiteX4" fmla="*/ 0 w 300027"/>
                <a:gd name="connsiteY4" fmla="*/ 11440 h 84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27" h="840057">
                  <a:moveTo>
                    <a:pt x="0" y="11440"/>
                  </a:moveTo>
                  <a:cubicBezTo>
                    <a:pt x="106094" y="115446"/>
                    <a:pt x="257820" y="528040"/>
                    <a:pt x="248694" y="840058"/>
                  </a:cubicBezTo>
                  <a:cubicBezTo>
                    <a:pt x="310297" y="739481"/>
                    <a:pt x="338817" y="350887"/>
                    <a:pt x="203062" y="86873"/>
                  </a:cubicBezTo>
                  <a:cubicBezTo>
                    <a:pt x="149444" y="-1132"/>
                    <a:pt x="46772" y="-13704"/>
                    <a:pt x="0" y="11440"/>
                  </a:cubicBezTo>
                  <a:lnTo>
                    <a:pt x="0" y="11440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44A87FA7-88FD-AF28-2BD4-BCFC98680AC7}"/>
                </a:ext>
              </a:extLst>
            </p:cNvPr>
            <p:cNvSpPr/>
            <p:nvPr/>
          </p:nvSpPr>
          <p:spPr>
            <a:xfrm>
              <a:off x="-3240338" y="1629074"/>
              <a:ext cx="165415" cy="158866"/>
            </a:xfrm>
            <a:custGeom>
              <a:avLst/>
              <a:gdLst>
                <a:gd name="connsiteX0" fmla="*/ 0 w 165415"/>
                <a:gd name="connsiteY0" fmla="*/ 0 h 158866"/>
                <a:gd name="connsiteX1" fmla="*/ 165416 w 165415"/>
                <a:gd name="connsiteY1" fmla="*/ 158866 h 15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15" h="158866">
                  <a:moveTo>
                    <a:pt x="0" y="0"/>
                  </a:moveTo>
                  <a:cubicBezTo>
                    <a:pt x="0" y="0"/>
                    <a:pt x="51336" y="112006"/>
                    <a:pt x="165416" y="158866"/>
                  </a:cubicBezTo>
                </a:path>
              </a:pathLst>
            </a:custGeom>
            <a:noFill/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985E961C-45CB-65D2-7A57-923BBEAFA26A}"/>
                </a:ext>
              </a:extLst>
            </p:cNvPr>
            <p:cNvSpPr/>
            <p:nvPr/>
          </p:nvSpPr>
          <p:spPr>
            <a:xfrm>
              <a:off x="-2846763" y="1634789"/>
              <a:ext cx="153522" cy="150865"/>
            </a:xfrm>
            <a:custGeom>
              <a:avLst/>
              <a:gdLst>
                <a:gd name="connsiteX0" fmla="*/ 152867 w 153522"/>
                <a:gd name="connsiteY0" fmla="*/ 0 h 150865"/>
                <a:gd name="connsiteX1" fmla="*/ 0 w 153522"/>
                <a:gd name="connsiteY1" fmla="*/ 150866 h 15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522" h="150865">
                  <a:moveTo>
                    <a:pt x="152867" y="0"/>
                  </a:moveTo>
                  <a:cubicBezTo>
                    <a:pt x="152867" y="0"/>
                    <a:pt x="172260" y="59432"/>
                    <a:pt x="0" y="150866"/>
                  </a:cubicBezTo>
                </a:path>
              </a:pathLst>
            </a:custGeom>
            <a:noFill/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A4CB7FBC-3E6E-9A17-668B-2E5CD8095B7A}"/>
                </a:ext>
              </a:extLst>
            </p:cNvPr>
            <p:cNvSpPr/>
            <p:nvPr/>
          </p:nvSpPr>
          <p:spPr>
            <a:xfrm rot="20388001">
              <a:off x="-1064028" y="2330994"/>
              <a:ext cx="41068" cy="2671006"/>
            </a:xfrm>
            <a:custGeom>
              <a:avLst/>
              <a:gdLst>
                <a:gd name="connsiteX0" fmla="*/ 0 w 41068"/>
                <a:gd name="connsiteY0" fmla="*/ 0 h 2671006"/>
                <a:gd name="connsiteX1" fmla="*/ 41069 w 41068"/>
                <a:gd name="connsiteY1" fmla="*/ 0 h 2671006"/>
                <a:gd name="connsiteX2" fmla="*/ 41069 w 41068"/>
                <a:gd name="connsiteY2" fmla="*/ 2671007 h 2671006"/>
                <a:gd name="connsiteX3" fmla="*/ 0 w 41068"/>
                <a:gd name="connsiteY3" fmla="*/ 2671007 h 267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68" h="2671006">
                  <a:moveTo>
                    <a:pt x="0" y="0"/>
                  </a:moveTo>
                  <a:lnTo>
                    <a:pt x="41069" y="0"/>
                  </a:lnTo>
                  <a:lnTo>
                    <a:pt x="41069" y="2671007"/>
                  </a:lnTo>
                  <a:lnTo>
                    <a:pt x="0" y="2671007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36A52455-AEAF-18BB-A832-D401E38F26D4}"/>
                </a:ext>
              </a:extLst>
            </p:cNvPr>
            <p:cNvSpPr/>
            <p:nvPr/>
          </p:nvSpPr>
          <p:spPr>
            <a:xfrm>
              <a:off x="-600533" y="4910401"/>
              <a:ext cx="90122" cy="166866"/>
            </a:xfrm>
            <a:custGeom>
              <a:avLst/>
              <a:gdLst>
                <a:gd name="connsiteX0" fmla="*/ 38787 w 90122"/>
                <a:gd name="connsiteY0" fmla="*/ 0 h 166866"/>
                <a:gd name="connsiteX1" fmla="*/ 0 w 90122"/>
                <a:gd name="connsiteY1" fmla="*/ 14858 h 166866"/>
                <a:gd name="connsiteX2" fmla="*/ 63884 w 90122"/>
                <a:gd name="connsiteY2" fmla="*/ 166867 h 166866"/>
                <a:gd name="connsiteX3" fmla="*/ 90123 w 90122"/>
                <a:gd name="connsiteY3" fmla="*/ 155437 h 166866"/>
                <a:gd name="connsiteX4" fmla="*/ 38787 w 90122"/>
                <a:gd name="connsiteY4" fmla="*/ 0 h 16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122" h="166866">
                  <a:moveTo>
                    <a:pt x="38787" y="0"/>
                  </a:moveTo>
                  <a:lnTo>
                    <a:pt x="0" y="14858"/>
                  </a:lnTo>
                  <a:lnTo>
                    <a:pt x="63884" y="166867"/>
                  </a:lnTo>
                  <a:lnTo>
                    <a:pt x="90123" y="155437"/>
                  </a:lnTo>
                  <a:lnTo>
                    <a:pt x="38787" y="0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874F3555-4593-753D-2E9B-C919E29261B7}"/>
                </a:ext>
              </a:extLst>
            </p:cNvPr>
            <p:cNvSpPr/>
            <p:nvPr/>
          </p:nvSpPr>
          <p:spPr>
            <a:xfrm rot="20388001">
              <a:off x="-1600317" y="2013710"/>
              <a:ext cx="60462" cy="441167"/>
            </a:xfrm>
            <a:custGeom>
              <a:avLst/>
              <a:gdLst>
                <a:gd name="connsiteX0" fmla="*/ 0 w 60462"/>
                <a:gd name="connsiteY0" fmla="*/ 0 h 441167"/>
                <a:gd name="connsiteX1" fmla="*/ 60462 w 60462"/>
                <a:gd name="connsiteY1" fmla="*/ 0 h 441167"/>
                <a:gd name="connsiteX2" fmla="*/ 60462 w 60462"/>
                <a:gd name="connsiteY2" fmla="*/ 441168 h 441167"/>
                <a:gd name="connsiteX3" fmla="*/ 0 w 60462"/>
                <a:gd name="connsiteY3" fmla="*/ 441168 h 4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462" h="441167">
                  <a:moveTo>
                    <a:pt x="0" y="0"/>
                  </a:moveTo>
                  <a:lnTo>
                    <a:pt x="60462" y="0"/>
                  </a:lnTo>
                  <a:lnTo>
                    <a:pt x="60462" y="441168"/>
                  </a:lnTo>
                  <a:lnTo>
                    <a:pt x="0" y="441168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5C1D1EC9-24AB-A9D7-3794-E4B01E5D338B}"/>
                </a:ext>
              </a:extLst>
            </p:cNvPr>
            <p:cNvSpPr/>
            <p:nvPr/>
          </p:nvSpPr>
          <p:spPr>
            <a:xfrm>
              <a:off x="-1634832" y="2133103"/>
              <a:ext cx="176419" cy="232421"/>
            </a:xfrm>
            <a:custGeom>
              <a:avLst/>
              <a:gdLst>
                <a:gd name="connsiteX0" fmla="*/ 76030 w 176419"/>
                <a:gd name="connsiteY0" fmla="*/ 0 h 232421"/>
                <a:gd name="connsiteX1" fmla="*/ 5300 w 176419"/>
                <a:gd name="connsiteY1" fmla="*/ 66289 h 232421"/>
                <a:gd name="connsiteX2" fmla="*/ 31538 w 176419"/>
                <a:gd name="connsiteY2" fmla="*/ 107435 h 232421"/>
                <a:gd name="connsiteX3" fmla="*/ 26975 w 176419"/>
                <a:gd name="connsiteY3" fmla="*/ 156580 h 232421"/>
                <a:gd name="connsiteX4" fmla="*/ 61199 w 176419"/>
                <a:gd name="connsiteY4" fmla="*/ 157723 h 232421"/>
                <a:gd name="connsiteX5" fmla="*/ 56636 w 176419"/>
                <a:gd name="connsiteY5" fmla="*/ 194297 h 232421"/>
                <a:gd name="connsiteX6" fmla="*/ 79452 w 176419"/>
                <a:gd name="connsiteY6" fmla="*/ 204583 h 232421"/>
                <a:gd name="connsiteX7" fmla="*/ 176420 w 176419"/>
                <a:gd name="connsiteY7" fmla="*/ 194297 h 23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419" h="232421">
                  <a:moveTo>
                    <a:pt x="76030" y="0"/>
                  </a:moveTo>
                  <a:cubicBezTo>
                    <a:pt x="76030" y="0"/>
                    <a:pt x="15567" y="42288"/>
                    <a:pt x="5300" y="66289"/>
                  </a:cubicBezTo>
                  <a:cubicBezTo>
                    <a:pt x="-11812" y="105149"/>
                    <a:pt x="16708" y="113149"/>
                    <a:pt x="31538" y="107435"/>
                  </a:cubicBezTo>
                  <a:cubicBezTo>
                    <a:pt x="32679" y="112006"/>
                    <a:pt x="16708" y="141722"/>
                    <a:pt x="26975" y="156580"/>
                  </a:cubicBezTo>
                  <a:cubicBezTo>
                    <a:pt x="37242" y="171438"/>
                    <a:pt x="53214" y="158866"/>
                    <a:pt x="61199" y="157723"/>
                  </a:cubicBezTo>
                  <a:cubicBezTo>
                    <a:pt x="58918" y="163438"/>
                    <a:pt x="49791" y="177153"/>
                    <a:pt x="56636" y="194297"/>
                  </a:cubicBezTo>
                  <a:cubicBezTo>
                    <a:pt x="64622" y="211440"/>
                    <a:pt x="77170" y="197725"/>
                    <a:pt x="79452" y="204583"/>
                  </a:cubicBezTo>
                  <a:cubicBezTo>
                    <a:pt x="84015" y="264015"/>
                    <a:pt x="163871" y="212583"/>
                    <a:pt x="176420" y="194297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F5504BC7-5775-5DA3-941B-666EB7214B73}"/>
                </a:ext>
              </a:extLst>
            </p:cNvPr>
            <p:cNvSpPr/>
            <p:nvPr/>
          </p:nvSpPr>
          <p:spPr>
            <a:xfrm>
              <a:off x="-1718515" y="2049669"/>
              <a:ext cx="149089" cy="137150"/>
            </a:xfrm>
            <a:custGeom>
              <a:avLst/>
              <a:gdLst>
                <a:gd name="connsiteX0" fmla="*/ 0 w 149089"/>
                <a:gd name="connsiteY0" fmla="*/ 122293 h 137150"/>
                <a:gd name="connsiteX1" fmla="*/ 37646 w 149089"/>
                <a:gd name="connsiteY1" fmla="*/ 70861 h 137150"/>
                <a:gd name="connsiteX2" fmla="*/ 125488 w 149089"/>
                <a:gd name="connsiteY2" fmla="*/ 0 h 137150"/>
                <a:gd name="connsiteX3" fmla="*/ 138036 w 149089"/>
                <a:gd name="connsiteY3" fmla="*/ 76576 h 137150"/>
                <a:gd name="connsiteX4" fmla="*/ 70729 w 149089"/>
                <a:gd name="connsiteY4" fmla="*/ 137151 h 13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089" h="137150">
                  <a:moveTo>
                    <a:pt x="0" y="122293"/>
                  </a:moveTo>
                  <a:cubicBezTo>
                    <a:pt x="13689" y="101720"/>
                    <a:pt x="26238" y="80004"/>
                    <a:pt x="37646" y="70861"/>
                  </a:cubicBezTo>
                  <a:cubicBezTo>
                    <a:pt x="86700" y="27430"/>
                    <a:pt x="125488" y="0"/>
                    <a:pt x="125488" y="0"/>
                  </a:cubicBezTo>
                  <a:cubicBezTo>
                    <a:pt x="125488" y="0"/>
                    <a:pt x="168838" y="30859"/>
                    <a:pt x="138036" y="76576"/>
                  </a:cubicBezTo>
                  <a:cubicBezTo>
                    <a:pt x="112939" y="113149"/>
                    <a:pt x="84419" y="108578"/>
                    <a:pt x="70729" y="137151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129C9D01-C92E-EBBA-D88C-2401573E5C38}"/>
                </a:ext>
              </a:extLst>
            </p:cNvPr>
            <p:cNvSpPr/>
            <p:nvPr/>
          </p:nvSpPr>
          <p:spPr>
            <a:xfrm>
              <a:off x="-3076063" y="2557126"/>
              <a:ext cx="183023" cy="81147"/>
            </a:xfrm>
            <a:custGeom>
              <a:avLst/>
              <a:gdLst>
                <a:gd name="connsiteX0" fmla="*/ 27379 w 183023"/>
                <a:gd name="connsiteY0" fmla="*/ 1143 h 81147"/>
                <a:gd name="connsiteX1" fmla="*/ 168838 w 183023"/>
                <a:gd name="connsiteY1" fmla="*/ 17144 h 81147"/>
                <a:gd name="connsiteX2" fmla="*/ 151726 w 183023"/>
                <a:gd name="connsiteY2" fmla="*/ 81147 h 81147"/>
                <a:gd name="connsiteX3" fmla="*/ 0 w 183023"/>
                <a:gd name="connsiteY3" fmla="*/ 59432 h 81147"/>
                <a:gd name="connsiteX4" fmla="*/ 26238 w 183023"/>
                <a:gd name="connsiteY4" fmla="*/ 0 h 81147"/>
                <a:gd name="connsiteX5" fmla="*/ 27379 w 183023"/>
                <a:gd name="connsiteY5" fmla="*/ 0 h 8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023" h="81147">
                  <a:moveTo>
                    <a:pt x="27379" y="1143"/>
                  </a:moveTo>
                  <a:cubicBezTo>
                    <a:pt x="27379" y="1143"/>
                    <a:pt x="130051" y="-5715"/>
                    <a:pt x="168838" y="17144"/>
                  </a:cubicBezTo>
                  <a:cubicBezTo>
                    <a:pt x="208766" y="40002"/>
                    <a:pt x="151726" y="81147"/>
                    <a:pt x="151726" y="81147"/>
                  </a:cubicBezTo>
                  <a:lnTo>
                    <a:pt x="0" y="59432"/>
                  </a:lnTo>
                  <a:lnTo>
                    <a:pt x="26238" y="0"/>
                  </a:lnTo>
                  <a:lnTo>
                    <a:pt x="27379" y="0"/>
                  </a:lnTo>
                  <a:close/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03F39181-4F9C-5818-77BF-5A76424A53FC}"/>
                </a:ext>
              </a:extLst>
            </p:cNvPr>
            <p:cNvSpPr/>
            <p:nvPr/>
          </p:nvSpPr>
          <p:spPr>
            <a:xfrm rot="17730000">
              <a:off x="-5022561" y="4074170"/>
              <a:ext cx="2666042" cy="41145"/>
            </a:xfrm>
            <a:custGeom>
              <a:avLst/>
              <a:gdLst>
                <a:gd name="connsiteX0" fmla="*/ 0 w 2666042"/>
                <a:gd name="connsiteY0" fmla="*/ 0 h 41145"/>
                <a:gd name="connsiteX1" fmla="*/ 2666042 w 2666042"/>
                <a:gd name="connsiteY1" fmla="*/ 0 h 41145"/>
                <a:gd name="connsiteX2" fmla="*/ 2666042 w 2666042"/>
                <a:gd name="connsiteY2" fmla="*/ 41145 h 41145"/>
                <a:gd name="connsiteX3" fmla="*/ 0 w 2666042"/>
                <a:gd name="connsiteY3" fmla="*/ 41145 h 4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6042" h="41145">
                  <a:moveTo>
                    <a:pt x="0" y="0"/>
                  </a:moveTo>
                  <a:lnTo>
                    <a:pt x="2666042" y="0"/>
                  </a:lnTo>
                  <a:lnTo>
                    <a:pt x="2666042" y="41145"/>
                  </a:lnTo>
                  <a:lnTo>
                    <a:pt x="0" y="41145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9B81388E-ADD3-FB2A-9247-B16EEB83D51F}"/>
                </a:ext>
              </a:extLst>
            </p:cNvPr>
            <p:cNvSpPr/>
            <p:nvPr/>
          </p:nvSpPr>
          <p:spPr>
            <a:xfrm rot="17730000">
              <a:off x="-3254597" y="2685503"/>
              <a:ext cx="440347" cy="60574"/>
            </a:xfrm>
            <a:custGeom>
              <a:avLst/>
              <a:gdLst>
                <a:gd name="connsiteX0" fmla="*/ 0 w 440347"/>
                <a:gd name="connsiteY0" fmla="*/ 0 h 60574"/>
                <a:gd name="connsiteX1" fmla="*/ 440348 w 440347"/>
                <a:gd name="connsiteY1" fmla="*/ 0 h 60574"/>
                <a:gd name="connsiteX2" fmla="*/ 440348 w 440347"/>
                <a:gd name="connsiteY2" fmla="*/ 60575 h 60574"/>
                <a:gd name="connsiteX3" fmla="*/ 0 w 440347"/>
                <a:gd name="connsiteY3" fmla="*/ 60575 h 60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0347" h="60574">
                  <a:moveTo>
                    <a:pt x="0" y="0"/>
                  </a:moveTo>
                  <a:lnTo>
                    <a:pt x="440348" y="0"/>
                  </a:lnTo>
                  <a:lnTo>
                    <a:pt x="440348" y="60575"/>
                  </a:lnTo>
                  <a:lnTo>
                    <a:pt x="0" y="60575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56B30EE4-6B51-F16E-C42B-29E5F91B6184}"/>
                </a:ext>
              </a:extLst>
            </p:cNvPr>
            <p:cNvSpPr/>
            <p:nvPr/>
          </p:nvSpPr>
          <p:spPr>
            <a:xfrm rot="20327999">
              <a:off x="-705154" y="4913215"/>
              <a:ext cx="264665" cy="37716"/>
            </a:xfrm>
            <a:custGeom>
              <a:avLst/>
              <a:gdLst>
                <a:gd name="connsiteX0" fmla="*/ 0 w 264665"/>
                <a:gd name="connsiteY0" fmla="*/ 0 h 37716"/>
                <a:gd name="connsiteX1" fmla="*/ 264665 w 264665"/>
                <a:gd name="connsiteY1" fmla="*/ 0 h 37716"/>
                <a:gd name="connsiteX2" fmla="*/ 264665 w 264665"/>
                <a:gd name="connsiteY2" fmla="*/ 37716 h 37716"/>
                <a:gd name="connsiteX3" fmla="*/ 0 w 264665"/>
                <a:gd name="connsiteY3" fmla="*/ 37716 h 37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665" h="37716">
                  <a:moveTo>
                    <a:pt x="0" y="0"/>
                  </a:moveTo>
                  <a:lnTo>
                    <a:pt x="264665" y="0"/>
                  </a:lnTo>
                  <a:lnTo>
                    <a:pt x="264665" y="37716"/>
                  </a:lnTo>
                  <a:lnTo>
                    <a:pt x="0" y="37716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3C3D2CAE-2E8A-81A0-1FDE-5CBD2F43EABB}"/>
                </a:ext>
              </a:extLst>
            </p:cNvPr>
            <p:cNvSpPr/>
            <p:nvPr/>
          </p:nvSpPr>
          <p:spPr>
            <a:xfrm>
              <a:off x="-4349193" y="5289851"/>
              <a:ext cx="102671" cy="163437"/>
            </a:xfrm>
            <a:custGeom>
              <a:avLst/>
              <a:gdLst>
                <a:gd name="connsiteX0" fmla="*/ 102672 w 102671"/>
                <a:gd name="connsiteY0" fmla="*/ 18287 h 163437"/>
                <a:gd name="connsiteX1" fmla="*/ 66166 w 102671"/>
                <a:gd name="connsiteY1" fmla="*/ 0 h 163437"/>
                <a:gd name="connsiteX2" fmla="*/ 0 w 102671"/>
                <a:gd name="connsiteY2" fmla="*/ 152008 h 163437"/>
                <a:gd name="connsiteX3" fmla="*/ 27379 w 102671"/>
                <a:gd name="connsiteY3" fmla="*/ 163438 h 163437"/>
                <a:gd name="connsiteX4" fmla="*/ 102672 w 102671"/>
                <a:gd name="connsiteY4" fmla="*/ 18287 h 16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71" h="163437">
                  <a:moveTo>
                    <a:pt x="102672" y="18287"/>
                  </a:moveTo>
                  <a:lnTo>
                    <a:pt x="66166" y="0"/>
                  </a:lnTo>
                  <a:lnTo>
                    <a:pt x="0" y="152008"/>
                  </a:lnTo>
                  <a:lnTo>
                    <a:pt x="27379" y="163438"/>
                  </a:lnTo>
                  <a:lnTo>
                    <a:pt x="102672" y="18287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2C53654A-520F-4805-D2F3-E4D796EB40CC}"/>
                </a:ext>
              </a:extLst>
            </p:cNvPr>
            <p:cNvSpPr/>
            <p:nvPr/>
          </p:nvSpPr>
          <p:spPr>
            <a:xfrm rot="17711999">
              <a:off x="-4289663" y="5183991"/>
              <a:ext cx="37646" cy="265157"/>
            </a:xfrm>
            <a:custGeom>
              <a:avLst/>
              <a:gdLst>
                <a:gd name="connsiteX0" fmla="*/ 0 w 37646"/>
                <a:gd name="connsiteY0" fmla="*/ 0 h 265157"/>
                <a:gd name="connsiteX1" fmla="*/ 37646 w 37646"/>
                <a:gd name="connsiteY1" fmla="*/ 0 h 265157"/>
                <a:gd name="connsiteX2" fmla="*/ 37646 w 37646"/>
                <a:gd name="connsiteY2" fmla="*/ 265158 h 265157"/>
                <a:gd name="connsiteX3" fmla="*/ 0 w 37646"/>
                <a:gd name="connsiteY3" fmla="*/ 265158 h 26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46" h="265157">
                  <a:moveTo>
                    <a:pt x="0" y="0"/>
                  </a:moveTo>
                  <a:lnTo>
                    <a:pt x="37646" y="0"/>
                  </a:lnTo>
                  <a:lnTo>
                    <a:pt x="37646" y="265158"/>
                  </a:lnTo>
                  <a:lnTo>
                    <a:pt x="0" y="265158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15D92021-6BE9-D233-4C13-D87114AFC150}"/>
                </a:ext>
              </a:extLst>
            </p:cNvPr>
            <p:cNvSpPr/>
            <p:nvPr/>
          </p:nvSpPr>
          <p:spPr>
            <a:xfrm>
              <a:off x="-3266883" y="2555983"/>
              <a:ext cx="373662" cy="309222"/>
            </a:xfrm>
            <a:custGeom>
              <a:avLst/>
              <a:gdLst>
                <a:gd name="connsiteX0" fmla="*/ 217058 w 373662"/>
                <a:gd name="connsiteY0" fmla="*/ 58289 h 309222"/>
                <a:gd name="connsiteX1" fmla="*/ 367643 w 373662"/>
                <a:gd name="connsiteY1" fmla="*/ 109720 h 309222"/>
                <a:gd name="connsiteX2" fmla="*/ 367643 w 373662"/>
                <a:gd name="connsiteY2" fmla="*/ 154294 h 309222"/>
                <a:gd name="connsiteX3" fmla="*/ 359658 w 373662"/>
                <a:gd name="connsiteY3" fmla="*/ 192011 h 309222"/>
                <a:gd name="connsiteX4" fmla="*/ 332279 w 373662"/>
                <a:gd name="connsiteY4" fmla="*/ 220584 h 309222"/>
                <a:gd name="connsiteX5" fmla="*/ 317448 w 373662"/>
                <a:gd name="connsiteY5" fmla="*/ 256014 h 309222"/>
                <a:gd name="connsiteX6" fmla="*/ 282083 w 373662"/>
                <a:gd name="connsiteY6" fmla="*/ 275444 h 309222"/>
                <a:gd name="connsiteX7" fmla="*/ 264971 w 373662"/>
                <a:gd name="connsiteY7" fmla="*/ 299445 h 309222"/>
                <a:gd name="connsiteX8" fmla="*/ 58487 w 373662"/>
                <a:gd name="connsiteY8" fmla="*/ 233156 h 309222"/>
                <a:gd name="connsiteX9" fmla="*/ 306 w 373662"/>
                <a:gd name="connsiteY9" fmla="*/ 193154 h 309222"/>
                <a:gd name="connsiteX10" fmla="*/ 43657 w 373662"/>
                <a:gd name="connsiteY10" fmla="*/ 53717 h 309222"/>
                <a:gd name="connsiteX11" fmla="*/ 234170 w 373662"/>
                <a:gd name="connsiteY11" fmla="*/ 0 h 309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3662" h="309222">
                  <a:moveTo>
                    <a:pt x="217058" y="58289"/>
                  </a:moveTo>
                  <a:cubicBezTo>
                    <a:pt x="268394" y="76576"/>
                    <a:pt x="343686" y="60575"/>
                    <a:pt x="367643" y="109720"/>
                  </a:cubicBezTo>
                  <a:cubicBezTo>
                    <a:pt x="374488" y="124578"/>
                    <a:pt x="376770" y="131436"/>
                    <a:pt x="367643" y="154294"/>
                  </a:cubicBezTo>
                  <a:cubicBezTo>
                    <a:pt x="363080" y="165724"/>
                    <a:pt x="367643" y="180582"/>
                    <a:pt x="359658" y="192011"/>
                  </a:cubicBezTo>
                  <a:cubicBezTo>
                    <a:pt x="353954" y="202297"/>
                    <a:pt x="339123" y="211440"/>
                    <a:pt x="332279" y="220584"/>
                  </a:cubicBezTo>
                  <a:cubicBezTo>
                    <a:pt x="325434" y="229727"/>
                    <a:pt x="326575" y="245728"/>
                    <a:pt x="317448" y="256014"/>
                  </a:cubicBezTo>
                  <a:cubicBezTo>
                    <a:pt x="310603" y="262872"/>
                    <a:pt x="288928" y="264015"/>
                    <a:pt x="282083" y="275444"/>
                  </a:cubicBezTo>
                  <a:cubicBezTo>
                    <a:pt x="275239" y="286873"/>
                    <a:pt x="269535" y="297160"/>
                    <a:pt x="264971" y="299445"/>
                  </a:cubicBezTo>
                  <a:cubicBezTo>
                    <a:pt x="177130" y="341733"/>
                    <a:pt x="58487" y="233156"/>
                    <a:pt x="58487" y="233156"/>
                  </a:cubicBezTo>
                  <a:lnTo>
                    <a:pt x="306" y="193154"/>
                  </a:lnTo>
                  <a:cubicBezTo>
                    <a:pt x="-4257" y="190868"/>
                    <a:pt x="43657" y="53717"/>
                    <a:pt x="43657" y="53717"/>
                  </a:cubicBezTo>
                  <a:cubicBezTo>
                    <a:pt x="83585" y="27430"/>
                    <a:pt x="181693" y="2286"/>
                    <a:pt x="234170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BB5FDAE3-A46B-55EA-84A4-761E6A2E8E10}"/>
                </a:ext>
              </a:extLst>
            </p:cNvPr>
            <p:cNvSpPr/>
            <p:nvPr/>
          </p:nvSpPr>
          <p:spPr>
            <a:xfrm>
              <a:off x="-1603294" y="2185677"/>
              <a:ext cx="82137" cy="54860"/>
            </a:xfrm>
            <a:custGeom>
              <a:avLst/>
              <a:gdLst>
                <a:gd name="connsiteX0" fmla="*/ 0 w 82137"/>
                <a:gd name="connsiteY0" fmla="*/ 54860 h 54860"/>
                <a:gd name="connsiteX1" fmla="*/ 82138 w 82137"/>
                <a:gd name="connsiteY1" fmla="*/ 0 h 5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137" h="54860">
                  <a:moveTo>
                    <a:pt x="0" y="54860"/>
                  </a:moveTo>
                  <a:cubicBezTo>
                    <a:pt x="3423" y="54860"/>
                    <a:pt x="69589" y="14858"/>
                    <a:pt x="82138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55368799-AD6B-5D58-EB0B-15E30BEB85DD}"/>
                </a:ext>
              </a:extLst>
            </p:cNvPr>
            <p:cNvSpPr/>
            <p:nvPr/>
          </p:nvSpPr>
          <p:spPr>
            <a:xfrm>
              <a:off x="-1577056" y="2238251"/>
              <a:ext cx="78714" cy="54860"/>
            </a:xfrm>
            <a:custGeom>
              <a:avLst/>
              <a:gdLst>
                <a:gd name="connsiteX0" fmla="*/ 0 w 78714"/>
                <a:gd name="connsiteY0" fmla="*/ 54860 h 54860"/>
                <a:gd name="connsiteX1" fmla="*/ 78715 w 78714"/>
                <a:gd name="connsiteY1" fmla="*/ 0 h 5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714" h="54860">
                  <a:moveTo>
                    <a:pt x="0" y="54860"/>
                  </a:moveTo>
                  <a:cubicBezTo>
                    <a:pt x="2281" y="54860"/>
                    <a:pt x="65025" y="16001"/>
                    <a:pt x="78715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D56D77A5-6986-123D-7170-A65A66B68833}"/>
                </a:ext>
              </a:extLst>
            </p:cNvPr>
            <p:cNvSpPr/>
            <p:nvPr/>
          </p:nvSpPr>
          <p:spPr>
            <a:xfrm>
              <a:off x="-1559944" y="2302255"/>
              <a:ext cx="68447" cy="34287"/>
            </a:xfrm>
            <a:custGeom>
              <a:avLst/>
              <a:gdLst>
                <a:gd name="connsiteX0" fmla="*/ 0 w 68447"/>
                <a:gd name="connsiteY0" fmla="*/ 34288 h 34287"/>
                <a:gd name="connsiteX1" fmla="*/ 68448 w 68447"/>
                <a:gd name="connsiteY1" fmla="*/ 0 h 3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47" h="34287">
                  <a:moveTo>
                    <a:pt x="0" y="34288"/>
                  </a:moveTo>
                  <a:cubicBezTo>
                    <a:pt x="3422" y="34288"/>
                    <a:pt x="53617" y="11429"/>
                    <a:pt x="68448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CB5040A9-B5AC-A8FB-9976-62A6A969AC56}"/>
                </a:ext>
              </a:extLst>
            </p:cNvPr>
            <p:cNvSpPr/>
            <p:nvPr/>
          </p:nvSpPr>
          <p:spPr>
            <a:xfrm>
              <a:off x="-2964265" y="2712564"/>
              <a:ext cx="65025" cy="11429"/>
            </a:xfrm>
            <a:custGeom>
              <a:avLst/>
              <a:gdLst>
                <a:gd name="connsiteX0" fmla="*/ 65026 w 65025"/>
                <a:gd name="connsiteY0" fmla="*/ 0 h 11429"/>
                <a:gd name="connsiteX1" fmla="*/ 0 w 65025"/>
                <a:gd name="connsiteY1" fmla="*/ 11429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025" h="11429">
                  <a:moveTo>
                    <a:pt x="65026" y="0"/>
                  </a:moveTo>
                  <a:cubicBezTo>
                    <a:pt x="65026" y="0"/>
                    <a:pt x="41069" y="11429"/>
                    <a:pt x="0" y="11429"/>
                  </a:cubicBezTo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EB15651A-E84C-3512-30A9-A9F2296C60B9}"/>
                </a:ext>
              </a:extLst>
            </p:cNvPr>
            <p:cNvSpPr/>
            <p:nvPr/>
          </p:nvSpPr>
          <p:spPr>
            <a:xfrm>
              <a:off x="-2985940" y="2768567"/>
              <a:ext cx="60462" cy="11502"/>
            </a:xfrm>
            <a:custGeom>
              <a:avLst/>
              <a:gdLst>
                <a:gd name="connsiteX0" fmla="*/ 60462 w 60462"/>
                <a:gd name="connsiteY0" fmla="*/ 0 h 11502"/>
                <a:gd name="connsiteX1" fmla="*/ 0 w 60462"/>
                <a:gd name="connsiteY1" fmla="*/ 11429 h 1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62" h="11502">
                  <a:moveTo>
                    <a:pt x="60462" y="0"/>
                  </a:moveTo>
                  <a:cubicBezTo>
                    <a:pt x="60462" y="0"/>
                    <a:pt x="41069" y="12572"/>
                    <a:pt x="0" y="11429"/>
                  </a:cubicBezTo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C3C5F76A-4C54-E51B-86A5-4C2565F19030}"/>
                </a:ext>
              </a:extLst>
            </p:cNvPr>
            <p:cNvSpPr/>
            <p:nvPr/>
          </p:nvSpPr>
          <p:spPr>
            <a:xfrm>
              <a:off x="-3021305" y="2822284"/>
              <a:ext cx="52476" cy="4571"/>
            </a:xfrm>
            <a:custGeom>
              <a:avLst/>
              <a:gdLst>
                <a:gd name="connsiteX0" fmla="*/ 0 w 52476"/>
                <a:gd name="connsiteY0" fmla="*/ 4572 h 4571"/>
                <a:gd name="connsiteX1" fmla="*/ 52477 w 52476"/>
                <a:gd name="connsiteY1" fmla="*/ 0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476" h="4571">
                  <a:moveTo>
                    <a:pt x="0" y="4572"/>
                  </a:moveTo>
                  <a:cubicBezTo>
                    <a:pt x="41069" y="4572"/>
                    <a:pt x="52477" y="0"/>
                    <a:pt x="52477" y="0"/>
                  </a:cubicBezTo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4387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06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raphic 49">
            <a:extLst>
              <a:ext uri="{FF2B5EF4-FFF2-40B4-BE49-F238E27FC236}">
                <a16:creationId xmlns:a16="http://schemas.microsoft.com/office/drawing/2014/main" id="{EA4FB258-C57B-8858-82C7-C869DBDDBD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 flipH="1">
            <a:off x="6945998" y="1597930"/>
            <a:ext cx="6858002" cy="3662142"/>
          </a:xfrm>
          <a:prstGeom prst="rect">
            <a:avLst/>
          </a:prstGeom>
        </p:spPr>
      </p:pic>
      <p:graphicFrame>
        <p:nvGraphicFramePr>
          <p:cNvPr id="107" name="think-cell data - do not delete" hidden="1">
            <a:extLst>
              <a:ext uri="{FF2B5EF4-FFF2-40B4-BE49-F238E27FC236}">
                <a16:creationId xmlns:a16="http://schemas.microsoft.com/office/drawing/2014/main" id="{E344D579-EFFA-CB08-7550-795A1D5F11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07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44D579-EFFA-CB08-7550-795A1D5F11AE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Static">
            <a:extLst>
              <a:ext uri="{FF2B5EF4-FFF2-40B4-BE49-F238E27FC236}">
                <a16:creationId xmlns:a16="http://schemas.microsoft.com/office/drawing/2014/main" id="{937BD67B-C175-2488-50E8-9F092322A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6DE2089-FB40-42A6-C6CD-C812F2483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96235"/>
            <a:ext cx="6783838" cy="4931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</a:t>
            </a:r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C12B65C7-394E-8483-465E-149D56F051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4144" y="142278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1CCB94A0-2F75-7D3A-EEA9-F20BF4B6C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4144" y="197416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3182C0B8-EC78-DA6B-207E-82F12B96C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0913" y="142062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9A11367E-B9A5-323F-AC5A-45C6CB299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0913" y="197199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1C803A30-A737-9B7E-3516-D78F678CAE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44144" y="3124393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DC87BEAB-1E73-036A-94E9-9302832609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44144" y="3675769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E65B8093-F40D-1DD2-95EF-8C52D076389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0913" y="3122224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7BB1F3D-846C-F05B-8B08-B64E06B4A6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0913" y="3673600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CE93FEAF-0426-0627-D498-71F3F3BA678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057280" y="482375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10F1CE8-DE46-7D84-0EC9-87A54E9B28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57280" y="537512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E46E880F-1449-9DDD-8434-B1E5FF0E0F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14049" y="4821581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66A01DEB-E38F-1639-2D1B-3C76147BE19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514049" y="5372957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DA708669-F77F-5685-98F9-2FCB314D32C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7375" y="142062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AF84363E-B407-DA53-4D46-6DE41E54011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7375" y="197199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6" name="Text Placeholder 19">
            <a:extLst>
              <a:ext uri="{FF2B5EF4-FFF2-40B4-BE49-F238E27FC236}">
                <a16:creationId xmlns:a16="http://schemas.microsoft.com/office/drawing/2014/main" id="{0E01BE24-78FB-0120-D394-92EAF611D44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7375" y="3122224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E221DA7A-D811-629C-5581-FA3B99C9864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7375" y="3673600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8" name="Text Placeholder 19">
            <a:extLst>
              <a:ext uri="{FF2B5EF4-FFF2-40B4-BE49-F238E27FC236}">
                <a16:creationId xmlns:a16="http://schemas.microsoft.com/office/drawing/2014/main" id="{54CEC030-9AAE-59DE-E2AE-C1EF4D97417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7375" y="4821581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6A6C0A21-6DA5-D860-5121-EF9A4B0E5E9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7375" y="5372957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E2C6781-DD06-1D8F-C06A-A46A951B28D3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E67C552B-FFC6-07B3-BF3F-A9C791B75292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4" name="Logo">
              <a:extLst>
                <a:ext uri="{FF2B5EF4-FFF2-40B4-BE49-F238E27FC236}">
                  <a16:creationId xmlns:a16="http://schemas.microsoft.com/office/drawing/2014/main" id="{1EBBA3C1-9A98-65FC-3D8C-8464FBB695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9ED2DAB8-E5F1-1D42-61F2-0CA148217ECD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6" name="Logo">
                <a:extLst>
                  <a:ext uri="{FF2B5EF4-FFF2-40B4-BE49-F238E27FC236}">
                    <a16:creationId xmlns:a16="http://schemas.microsoft.com/office/drawing/2014/main" id="{2618E01E-F34B-3A30-7518-C19743A1517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57" name="Freeform 56">
                  <a:extLst>
                    <a:ext uri="{FF2B5EF4-FFF2-40B4-BE49-F238E27FC236}">
                      <a16:creationId xmlns:a16="http://schemas.microsoft.com/office/drawing/2014/main" id="{9E30C716-798C-3077-9511-7094DA2FF55F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" name="Freeform 57">
                  <a:extLst>
                    <a:ext uri="{FF2B5EF4-FFF2-40B4-BE49-F238E27FC236}">
                      <a16:creationId xmlns:a16="http://schemas.microsoft.com/office/drawing/2014/main" id="{10A7B71B-C729-37FB-C86A-007B6D5B27D1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" name="Freeform 58">
                  <a:extLst>
                    <a:ext uri="{FF2B5EF4-FFF2-40B4-BE49-F238E27FC236}">
                      <a16:creationId xmlns:a16="http://schemas.microsoft.com/office/drawing/2014/main" id="{6BBFE3F7-482C-5809-4766-818A497B0CA1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" name="Freeform 59">
                  <a:extLst>
                    <a:ext uri="{FF2B5EF4-FFF2-40B4-BE49-F238E27FC236}">
                      <a16:creationId xmlns:a16="http://schemas.microsoft.com/office/drawing/2014/main" id="{6F55C410-8622-EF2B-01C0-579D724CF1C2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" name="Freeform 60">
                  <a:extLst>
                    <a:ext uri="{FF2B5EF4-FFF2-40B4-BE49-F238E27FC236}">
                      <a16:creationId xmlns:a16="http://schemas.microsoft.com/office/drawing/2014/main" id="{E7598683-997B-36C7-8E9B-949DC18CC08D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0AA94850-C422-C046-64C9-44BCBD14FC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2017"/>
          <a:stretch>
            <a:fillRect/>
          </a:stretch>
        </p:blipFill>
        <p:spPr>
          <a:xfrm>
            <a:off x="8543928" y="213715"/>
            <a:ext cx="3629057" cy="6721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613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06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F7A05886-92EE-5514-70B5-758DE7F9F04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4" y="-12700"/>
            <a:ext cx="3648079" cy="6884016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0A3D76-AB94-4F36-799C-B4A43450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8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A3D76-AB94-4F36-799C-B4A43450459F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3A9FBCB7-64C8-3334-37BD-F3B8A49DE9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8075" y="12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5CE6E23-185E-6743-91C2-61D59594F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57982" y="1293765"/>
            <a:ext cx="716276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923CF1CE-3D31-7F6E-DCDF-E2F32A2553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8075" y="21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32ED8768-6538-2B1A-5362-29FACA673D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7982" y="2193765"/>
            <a:ext cx="716276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C1E5DC26-4E6F-3BA6-58B6-F8B36941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8075" y="30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26DE173D-E761-A333-0E17-81FA88BE0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57982" y="3093765"/>
            <a:ext cx="716276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CDF225B3-43B7-A7EE-F801-EE1CFF559F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8075" y="39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221CA5C7-1F08-8BBE-8775-34E8EE29D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7981" y="3993765"/>
            <a:ext cx="716276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97DE4764-8675-CC7C-7D0D-87C75EAE0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48075" y="48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F590146E-A290-D74E-2524-F9FEB48C32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57980" y="4893765"/>
            <a:ext cx="716276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53B440B1-4AF1-02C4-D21D-AF9D0377BB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48075" y="57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F425F257-B79D-5713-0549-ACA5273F15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7980" y="5793765"/>
            <a:ext cx="716276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C1602382-22BB-1E2D-EC89-BC09E05B4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159E32D-5C8A-D3EB-196F-55944097E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DBB51045-3C2C-A734-23E7-C3E75F164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8075" y="596235"/>
            <a:ext cx="7993063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</a:t>
            </a:r>
          </a:p>
        </p:txBody>
      </p:sp>
      <p:grpSp>
        <p:nvGrpSpPr>
          <p:cNvPr id="95" name="Graphic 6">
            <a:extLst>
              <a:ext uri="{FF2B5EF4-FFF2-40B4-BE49-F238E27FC236}">
                <a16:creationId xmlns:a16="http://schemas.microsoft.com/office/drawing/2014/main" id="{C47FE3D1-E2A1-948C-72CF-F8F3FD42AFA3}"/>
              </a:ext>
            </a:extLst>
          </p:cNvPr>
          <p:cNvGrpSpPr/>
          <p:nvPr/>
        </p:nvGrpSpPr>
        <p:grpSpPr>
          <a:xfrm flipH="1">
            <a:off x="-1409039" y="968342"/>
            <a:ext cx="4274730" cy="4921315"/>
            <a:chOff x="-9291728" y="2405438"/>
            <a:chExt cx="2953726" cy="3400500"/>
          </a:xfrm>
        </p:grpSpPr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E2BCF55F-89A2-A8DE-8E0E-8BC8158F3A18}"/>
                </a:ext>
              </a:extLst>
            </p:cNvPr>
            <p:cNvSpPr/>
            <p:nvPr/>
          </p:nvSpPr>
          <p:spPr>
            <a:xfrm>
              <a:off x="-8300192" y="5624427"/>
              <a:ext cx="147544" cy="60667"/>
            </a:xfrm>
            <a:custGeom>
              <a:avLst/>
              <a:gdLst>
                <a:gd name="connsiteX0" fmla="*/ 9661 w 147544"/>
                <a:gd name="connsiteY0" fmla="*/ 60667 h 60667"/>
                <a:gd name="connsiteX1" fmla="*/ 147545 w 147544"/>
                <a:gd name="connsiteY1" fmla="*/ 60667 h 60667"/>
                <a:gd name="connsiteX2" fmla="*/ 142275 w 147544"/>
                <a:gd name="connsiteY2" fmla="*/ 0 h 60667"/>
                <a:gd name="connsiteX3" fmla="*/ 0 w 147544"/>
                <a:gd name="connsiteY3" fmla="*/ 0 h 60667"/>
                <a:gd name="connsiteX4" fmla="*/ 9661 w 147544"/>
                <a:gd name="connsiteY4" fmla="*/ 60667 h 6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544" h="60667">
                  <a:moveTo>
                    <a:pt x="9661" y="60667"/>
                  </a:moveTo>
                  <a:cubicBezTo>
                    <a:pt x="69381" y="53633"/>
                    <a:pt x="143153" y="60667"/>
                    <a:pt x="147545" y="60667"/>
                  </a:cubicBezTo>
                  <a:lnTo>
                    <a:pt x="142275" y="0"/>
                  </a:lnTo>
                  <a:lnTo>
                    <a:pt x="0" y="0"/>
                  </a:lnTo>
                  <a:lnTo>
                    <a:pt x="9661" y="60667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EADB41F4-11E8-02BE-055F-725431A12F44}"/>
                </a:ext>
              </a:extLst>
            </p:cNvPr>
            <p:cNvSpPr/>
            <p:nvPr/>
          </p:nvSpPr>
          <p:spPr>
            <a:xfrm>
              <a:off x="-8861389" y="5624427"/>
              <a:ext cx="147544" cy="91440"/>
            </a:xfrm>
            <a:custGeom>
              <a:avLst/>
              <a:gdLst>
                <a:gd name="connsiteX0" fmla="*/ 0 w 147544"/>
                <a:gd name="connsiteY0" fmla="*/ 51875 h 91440"/>
                <a:gd name="connsiteX1" fmla="*/ 145788 w 147544"/>
                <a:gd name="connsiteY1" fmla="*/ 91440 h 91440"/>
                <a:gd name="connsiteX2" fmla="*/ 147545 w 147544"/>
                <a:gd name="connsiteY2" fmla="*/ 0 h 91440"/>
                <a:gd name="connsiteX3" fmla="*/ 5269 w 147544"/>
                <a:gd name="connsiteY3" fmla="*/ 0 h 91440"/>
                <a:gd name="connsiteX4" fmla="*/ 0 w 147544"/>
                <a:gd name="connsiteY4" fmla="*/ 51875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544" h="91440">
                  <a:moveTo>
                    <a:pt x="0" y="51875"/>
                  </a:moveTo>
                  <a:cubicBezTo>
                    <a:pt x="7026" y="48358"/>
                    <a:pt x="88702" y="83527"/>
                    <a:pt x="145788" y="91440"/>
                  </a:cubicBezTo>
                  <a:lnTo>
                    <a:pt x="147545" y="0"/>
                  </a:lnTo>
                  <a:lnTo>
                    <a:pt x="5269" y="0"/>
                  </a:lnTo>
                  <a:lnTo>
                    <a:pt x="0" y="51875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85092CB2-9509-3A6C-3F13-B07651B36B67}"/>
                </a:ext>
              </a:extLst>
            </p:cNvPr>
            <p:cNvSpPr/>
            <p:nvPr/>
          </p:nvSpPr>
          <p:spPr>
            <a:xfrm>
              <a:off x="-8995978" y="5666818"/>
              <a:ext cx="310676" cy="134333"/>
            </a:xfrm>
            <a:custGeom>
              <a:avLst/>
              <a:gdLst>
                <a:gd name="connsiteX0" fmla="*/ 282134 w 310676"/>
                <a:gd name="connsiteY0" fmla="*/ 23551 h 134333"/>
                <a:gd name="connsiteX1" fmla="*/ 131076 w 310676"/>
                <a:gd name="connsiteY1" fmla="*/ 1570 h 134333"/>
                <a:gd name="connsiteX2" fmla="*/ 36226 w 310676"/>
                <a:gd name="connsiteY2" fmla="*/ 56082 h 134333"/>
                <a:gd name="connsiteX3" fmla="*/ 218 w 310676"/>
                <a:gd name="connsiteY3" fmla="*/ 134334 h 134333"/>
                <a:gd name="connsiteX4" fmla="*/ 309359 w 310676"/>
                <a:gd name="connsiteY4" fmla="*/ 134334 h 134333"/>
                <a:gd name="connsiteX5" fmla="*/ 282134 w 310676"/>
                <a:gd name="connsiteY5" fmla="*/ 22672 h 134333"/>
                <a:gd name="connsiteX6" fmla="*/ 282134 w 310676"/>
                <a:gd name="connsiteY6" fmla="*/ 22672 h 13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676" h="134333">
                  <a:moveTo>
                    <a:pt x="282134" y="23551"/>
                  </a:moveTo>
                  <a:cubicBezTo>
                    <a:pt x="176745" y="37618"/>
                    <a:pt x="234709" y="-8981"/>
                    <a:pt x="131076" y="1570"/>
                  </a:cubicBezTo>
                  <a:cubicBezTo>
                    <a:pt x="117024" y="5966"/>
                    <a:pt x="97703" y="43773"/>
                    <a:pt x="36226" y="56082"/>
                  </a:cubicBezTo>
                  <a:cubicBezTo>
                    <a:pt x="-5052" y="63995"/>
                    <a:pt x="218" y="134334"/>
                    <a:pt x="218" y="134334"/>
                  </a:cubicBezTo>
                  <a:lnTo>
                    <a:pt x="309359" y="134334"/>
                  </a:lnTo>
                  <a:cubicBezTo>
                    <a:pt x="316385" y="93010"/>
                    <a:pt x="293551" y="35860"/>
                    <a:pt x="282134" y="22672"/>
                  </a:cubicBezTo>
                  <a:lnTo>
                    <a:pt x="282134" y="22672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B9874C77-1707-9A1E-A7E2-301119210B84}"/>
                </a:ext>
              </a:extLst>
            </p:cNvPr>
            <p:cNvSpPr/>
            <p:nvPr/>
          </p:nvSpPr>
          <p:spPr>
            <a:xfrm>
              <a:off x="-8311648" y="5657922"/>
              <a:ext cx="241960" cy="148016"/>
            </a:xfrm>
            <a:custGeom>
              <a:avLst/>
              <a:gdLst>
                <a:gd name="connsiteX0" fmla="*/ 917 w 241960"/>
                <a:gd name="connsiteY0" fmla="*/ 125645 h 148016"/>
                <a:gd name="connsiteX1" fmla="*/ 7065 w 241960"/>
                <a:gd name="connsiteY1" fmla="*/ 64978 h 148016"/>
                <a:gd name="connsiteX2" fmla="*/ 20239 w 241960"/>
                <a:gd name="connsiteY2" fmla="*/ 28930 h 148016"/>
                <a:gd name="connsiteX3" fmla="*/ 68542 w 241960"/>
                <a:gd name="connsiteY3" fmla="*/ 13983 h 148016"/>
                <a:gd name="connsiteX4" fmla="*/ 172175 w 241960"/>
                <a:gd name="connsiteY4" fmla="*/ 19258 h 148016"/>
                <a:gd name="connsiteX5" fmla="*/ 238043 w 241960"/>
                <a:gd name="connsiteY5" fmla="*/ 99268 h 148016"/>
                <a:gd name="connsiteX6" fmla="*/ 216965 w 241960"/>
                <a:gd name="connsiteY6" fmla="*/ 147626 h 148016"/>
                <a:gd name="connsiteX7" fmla="*/ 24630 w 241960"/>
                <a:gd name="connsiteY7" fmla="*/ 147626 h 148016"/>
                <a:gd name="connsiteX8" fmla="*/ 39 w 241960"/>
                <a:gd name="connsiteY8" fmla="*/ 124766 h 148016"/>
                <a:gd name="connsiteX9" fmla="*/ 917 w 241960"/>
                <a:gd name="connsiteY9" fmla="*/ 124766 h 14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960" h="148016">
                  <a:moveTo>
                    <a:pt x="917" y="125645"/>
                  </a:moveTo>
                  <a:cubicBezTo>
                    <a:pt x="917" y="125645"/>
                    <a:pt x="917" y="83442"/>
                    <a:pt x="7065" y="64978"/>
                  </a:cubicBezTo>
                  <a:cubicBezTo>
                    <a:pt x="13213" y="46515"/>
                    <a:pt x="20239" y="28930"/>
                    <a:pt x="20239" y="28930"/>
                  </a:cubicBezTo>
                  <a:cubicBezTo>
                    <a:pt x="25508" y="24534"/>
                    <a:pt x="29021" y="35085"/>
                    <a:pt x="68542" y="13983"/>
                  </a:cubicBezTo>
                  <a:cubicBezTo>
                    <a:pt x="134410" y="-20307"/>
                    <a:pt x="172175" y="19258"/>
                    <a:pt x="172175" y="19258"/>
                  </a:cubicBezTo>
                  <a:cubicBezTo>
                    <a:pt x="196766" y="48273"/>
                    <a:pt x="234530" y="89597"/>
                    <a:pt x="238043" y="99268"/>
                  </a:cubicBezTo>
                  <a:cubicBezTo>
                    <a:pt x="250338" y="129162"/>
                    <a:pt x="231017" y="146747"/>
                    <a:pt x="216965" y="147626"/>
                  </a:cubicBezTo>
                  <a:cubicBezTo>
                    <a:pt x="202913" y="148505"/>
                    <a:pt x="36047" y="147626"/>
                    <a:pt x="24630" y="147626"/>
                  </a:cubicBezTo>
                  <a:cubicBezTo>
                    <a:pt x="13213" y="147626"/>
                    <a:pt x="-839" y="130921"/>
                    <a:pt x="39" y="124766"/>
                  </a:cubicBezTo>
                  <a:lnTo>
                    <a:pt x="917" y="124766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55280779-E709-18B6-21C6-144C60B7E63C}"/>
                </a:ext>
              </a:extLst>
            </p:cNvPr>
            <p:cNvSpPr/>
            <p:nvPr/>
          </p:nvSpPr>
          <p:spPr>
            <a:xfrm>
              <a:off x="-7981919" y="4211763"/>
              <a:ext cx="180568" cy="386710"/>
            </a:xfrm>
            <a:custGeom>
              <a:avLst/>
              <a:gdLst>
                <a:gd name="connsiteX0" fmla="*/ 118213 w 180568"/>
                <a:gd name="connsiteY0" fmla="*/ 352311 h 386710"/>
                <a:gd name="connsiteX1" fmla="*/ 118213 w 180568"/>
                <a:gd name="connsiteY1" fmla="*/ 267905 h 386710"/>
                <a:gd name="connsiteX2" fmla="*/ 118213 w 180568"/>
                <a:gd name="connsiteY2" fmla="*/ 267905 h 386710"/>
                <a:gd name="connsiteX3" fmla="*/ 90988 w 180568"/>
                <a:gd name="connsiteY3" fmla="*/ 385722 h 386710"/>
                <a:gd name="connsiteX4" fmla="*/ 76058 w 180568"/>
                <a:gd name="connsiteY4" fmla="*/ 351432 h 386710"/>
                <a:gd name="connsiteX5" fmla="*/ 79570 w 180568"/>
                <a:gd name="connsiteY5" fmla="*/ 274939 h 386710"/>
                <a:gd name="connsiteX6" fmla="*/ 79570 w 180568"/>
                <a:gd name="connsiteY6" fmla="*/ 274939 h 386710"/>
                <a:gd name="connsiteX7" fmla="*/ 54980 w 180568"/>
                <a:gd name="connsiteY7" fmla="*/ 354070 h 386710"/>
                <a:gd name="connsiteX8" fmla="*/ 32146 w 180568"/>
                <a:gd name="connsiteY8" fmla="*/ 351432 h 386710"/>
                <a:gd name="connsiteX9" fmla="*/ 50589 w 180568"/>
                <a:gd name="connsiteY9" fmla="*/ 252958 h 386710"/>
                <a:gd name="connsiteX10" fmla="*/ 47954 w 180568"/>
                <a:gd name="connsiteY10" fmla="*/ 201963 h 386710"/>
                <a:gd name="connsiteX11" fmla="*/ 42685 w 180568"/>
                <a:gd name="connsiteY11" fmla="*/ 211634 h 386710"/>
                <a:gd name="connsiteX12" fmla="*/ 6676 w 180568"/>
                <a:gd name="connsiteY12" fmla="*/ 256475 h 386710"/>
                <a:gd name="connsiteX13" fmla="*/ 2285 w 180568"/>
                <a:gd name="connsiteY13" fmla="*/ 240649 h 386710"/>
                <a:gd name="connsiteX14" fmla="*/ 10190 w 180568"/>
                <a:gd name="connsiteY14" fmla="*/ 184378 h 386710"/>
                <a:gd name="connsiteX15" fmla="*/ 37415 w 180568"/>
                <a:gd name="connsiteY15" fmla="*/ 114040 h 386710"/>
                <a:gd name="connsiteX16" fmla="*/ 26876 w 180568"/>
                <a:gd name="connsiteY16" fmla="*/ 47218 h 386710"/>
                <a:gd name="connsiteX17" fmla="*/ 103283 w 180568"/>
                <a:gd name="connsiteY17" fmla="*/ 11170 h 386710"/>
                <a:gd name="connsiteX18" fmla="*/ 144561 w 180568"/>
                <a:gd name="connsiteY18" fmla="*/ 92059 h 386710"/>
                <a:gd name="connsiteX19" fmla="*/ 162125 w 180568"/>
                <a:gd name="connsiteY19" fmla="*/ 132504 h 386710"/>
                <a:gd name="connsiteX20" fmla="*/ 178812 w 180568"/>
                <a:gd name="connsiteY20" fmla="*/ 241528 h 386710"/>
                <a:gd name="connsiteX21" fmla="*/ 171786 w 180568"/>
                <a:gd name="connsiteY21" fmla="*/ 332089 h 386710"/>
                <a:gd name="connsiteX22" fmla="*/ 156856 w 180568"/>
                <a:gd name="connsiteY22" fmla="*/ 328572 h 386710"/>
                <a:gd name="connsiteX23" fmla="*/ 151586 w 180568"/>
                <a:gd name="connsiteY23" fmla="*/ 257354 h 386710"/>
                <a:gd name="connsiteX24" fmla="*/ 134022 w 180568"/>
                <a:gd name="connsiteY24" fmla="*/ 370775 h 386710"/>
                <a:gd name="connsiteX25" fmla="*/ 117335 w 180568"/>
                <a:gd name="connsiteY25" fmla="*/ 354070 h 386710"/>
                <a:gd name="connsiteX26" fmla="*/ 117335 w 180568"/>
                <a:gd name="connsiteY26" fmla="*/ 352311 h 3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0568" h="386710">
                  <a:moveTo>
                    <a:pt x="118213" y="352311"/>
                  </a:moveTo>
                  <a:cubicBezTo>
                    <a:pt x="123483" y="324176"/>
                    <a:pt x="118213" y="267905"/>
                    <a:pt x="118213" y="267905"/>
                  </a:cubicBezTo>
                  <a:lnTo>
                    <a:pt x="118213" y="267905"/>
                  </a:lnTo>
                  <a:cubicBezTo>
                    <a:pt x="118213" y="267905"/>
                    <a:pt x="112066" y="377809"/>
                    <a:pt x="90988" y="385722"/>
                  </a:cubicBezTo>
                  <a:cubicBezTo>
                    <a:pt x="69910" y="393635"/>
                    <a:pt x="76058" y="351432"/>
                    <a:pt x="76058" y="351432"/>
                  </a:cubicBezTo>
                  <a:cubicBezTo>
                    <a:pt x="76058" y="351432"/>
                    <a:pt x="82206" y="304833"/>
                    <a:pt x="79570" y="274939"/>
                  </a:cubicBezTo>
                  <a:lnTo>
                    <a:pt x="79570" y="274939"/>
                  </a:lnTo>
                  <a:cubicBezTo>
                    <a:pt x="79570" y="274939"/>
                    <a:pt x="68153" y="340881"/>
                    <a:pt x="54980" y="354070"/>
                  </a:cubicBezTo>
                  <a:cubicBezTo>
                    <a:pt x="41806" y="366379"/>
                    <a:pt x="30389" y="361983"/>
                    <a:pt x="32146" y="351432"/>
                  </a:cubicBezTo>
                  <a:cubicBezTo>
                    <a:pt x="33902" y="340881"/>
                    <a:pt x="50589" y="275818"/>
                    <a:pt x="50589" y="252958"/>
                  </a:cubicBezTo>
                  <a:cubicBezTo>
                    <a:pt x="50589" y="230098"/>
                    <a:pt x="48832" y="213393"/>
                    <a:pt x="47954" y="201963"/>
                  </a:cubicBezTo>
                  <a:cubicBezTo>
                    <a:pt x="47954" y="185258"/>
                    <a:pt x="42685" y="210755"/>
                    <a:pt x="42685" y="211634"/>
                  </a:cubicBezTo>
                  <a:cubicBezTo>
                    <a:pt x="40928" y="277577"/>
                    <a:pt x="6676" y="256475"/>
                    <a:pt x="6676" y="256475"/>
                  </a:cubicBezTo>
                  <a:cubicBezTo>
                    <a:pt x="6676" y="256475"/>
                    <a:pt x="-4741" y="252079"/>
                    <a:pt x="2285" y="240649"/>
                  </a:cubicBezTo>
                  <a:cubicBezTo>
                    <a:pt x="9311" y="229219"/>
                    <a:pt x="7555" y="194929"/>
                    <a:pt x="10190" y="184378"/>
                  </a:cubicBezTo>
                  <a:cubicBezTo>
                    <a:pt x="13702" y="172069"/>
                    <a:pt x="42685" y="143934"/>
                    <a:pt x="37415" y="114040"/>
                  </a:cubicBezTo>
                  <a:cubicBezTo>
                    <a:pt x="33902" y="95576"/>
                    <a:pt x="40050" y="95576"/>
                    <a:pt x="26876" y="47218"/>
                  </a:cubicBezTo>
                  <a:cubicBezTo>
                    <a:pt x="13702" y="-1139"/>
                    <a:pt x="61128" y="-10811"/>
                    <a:pt x="103283" y="11170"/>
                  </a:cubicBezTo>
                  <a:cubicBezTo>
                    <a:pt x="139291" y="30513"/>
                    <a:pt x="144561" y="92059"/>
                    <a:pt x="144561" y="92059"/>
                  </a:cubicBezTo>
                  <a:cubicBezTo>
                    <a:pt x="156856" y="112281"/>
                    <a:pt x="163882" y="135141"/>
                    <a:pt x="162125" y="132504"/>
                  </a:cubicBezTo>
                  <a:cubicBezTo>
                    <a:pt x="168273" y="149209"/>
                    <a:pt x="178812" y="241528"/>
                    <a:pt x="178812" y="241528"/>
                  </a:cubicBezTo>
                  <a:cubicBezTo>
                    <a:pt x="178812" y="241528"/>
                    <a:pt x="185838" y="323297"/>
                    <a:pt x="171786" y="332089"/>
                  </a:cubicBezTo>
                  <a:cubicBezTo>
                    <a:pt x="156856" y="340881"/>
                    <a:pt x="156856" y="328572"/>
                    <a:pt x="156856" y="328572"/>
                  </a:cubicBezTo>
                  <a:lnTo>
                    <a:pt x="151586" y="257354"/>
                  </a:lnTo>
                  <a:cubicBezTo>
                    <a:pt x="151586" y="257354"/>
                    <a:pt x="155100" y="345277"/>
                    <a:pt x="134022" y="370775"/>
                  </a:cubicBezTo>
                  <a:cubicBezTo>
                    <a:pt x="134022" y="370775"/>
                    <a:pt x="112066" y="382205"/>
                    <a:pt x="117335" y="354070"/>
                  </a:cubicBezTo>
                  <a:lnTo>
                    <a:pt x="117335" y="352311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1725BC74-FC94-463D-35EA-2D40C9E4E09D}"/>
                </a:ext>
              </a:extLst>
            </p:cNvPr>
            <p:cNvSpPr/>
            <p:nvPr/>
          </p:nvSpPr>
          <p:spPr>
            <a:xfrm>
              <a:off x="-8939042" y="4057638"/>
              <a:ext cx="864133" cy="1569426"/>
            </a:xfrm>
            <a:custGeom>
              <a:avLst/>
              <a:gdLst>
                <a:gd name="connsiteX0" fmla="*/ 14419 w 864133"/>
                <a:gd name="connsiteY0" fmla="*/ 879 h 1569426"/>
                <a:gd name="connsiteX1" fmla="*/ 845236 w 864133"/>
                <a:gd name="connsiteY1" fmla="*/ 40445 h 1569426"/>
                <a:gd name="connsiteX2" fmla="*/ 845236 w 864133"/>
                <a:gd name="connsiteY2" fmla="*/ 1569427 h 1569426"/>
                <a:gd name="connsiteX3" fmla="*/ 576494 w 864133"/>
                <a:gd name="connsiteY3" fmla="*/ 1569427 h 1569426"/>
                <a:gd name="connsiteX4" fmla="*/ 439488 w 864133"/>
                <a:gd name="connsiteY4" fmla="*/ 451045 h 1569426"/>
                <a:gd name="connsiteX5" fmla="*/ 297213 w 864133"/>
                <a:gd name="connsiteY5" fmla="*/ 1569427 h 1569426"/>
                <a:gd name="connsiteX6" fmla="*/ 26714 w 864133"/>
                <a:gd name="connsiteY6" fmla="*/ 1569427 h 1569426"/>
                <a:gd name="connsiteX7" fmla="*/ 14419 w 864133"/>
                <a:gd name="connsiteY7" fmla="*/ 0 h 1569426"/>
                <a:gd name="connsiteX8" fmla="*/ 14419 w 864133"/>
                <a:gd name="connsiteY8" fmla="*/ 0 h 156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4133" h="1569426">
                  <a:moveTo>
                    <a:pt x="14419" y="879"/>
                  </a:moveTo>
                  <a:lnTo>
                    <a:pt x="845236" y="40445"/>
                  </a:lnTo>
                  <a:cubicBezTo>
                    <a:pt x="861923" y="451925"/>
                    <a:pt x="877732" y="962758"/>
                    <a:pt x="845236" y="1569427"/>
                  </a:cubicBezTo>
                  <a:lnTo>
                    <a:pt x="576494" y="1569427"/>
                  </a:lnTo>
                  <a:lnTo>
                    <a:pt x="439488" y="451045"/>
                  </a:lnTo>
                  <a:lnTo>
                    <a:pt x="297213" y="1569427"/>
                  </a:lnTo>
                  <a:lnTo>
                    <a:pt x="26714" y="1569427"/>
                  </a:lnTo>
                  <a:cubicBezTo>
                    <a:pt x="-25102" y="1132449"/>
                    <a:pt x="14419" y="0"/>
                    <a:pt x="14419" y="0"/>
                  </a:cubicBezTo>
                  <a:lnTo>
                    <a:pt x="14419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E14218DD-E027-2B46-2C2C-4120A1E0A702}"/>
                </a:ext>
              </a:extLst>
            </p:cNvPr>
            <p:cNvSpPr/>
            <p:nvPr/>
          </p:nvSpPr>
          <p:spPr>
            <a:xfrm>
              <a:off x="-8904423" y="4180730"/>
              <a:ext cx="98363" cy="225083"/>
            </a:xfrm>
            <a:custGeom>
              <a:avLst/>
              <a:gdLst>
                <a:gd name="connsiteX0" fmla="*/ 0 w 98363"/>
                <a:gd name="connsiteY0" fmla="*/ 225083 h 225083"/>
                <a:gd name="connsiteX1" fmla="*/ 98363 w 98363"/>
                <a:gd name="connsiteY1" fmla="*/ 0 h 22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363" h="225083">
                  <a:moveTo>
                    <a:pt x="0" y="225083"/>
                  </a:moveTo>
                  <a:lnTo>
                    <a:pt x="98363" y="0"/>
                  </a:lnTo>
                </a:path>
              </a:pathLst>
            </a:custGeom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F692729-9D6D-4310-4515-085F964038E2}"/>
                </a:ext>
              </a:extLst>
            </p:cNvPr>
            <p:cNvSpPr/>
            <p:nvPr/>
          </p:nvSpPr>
          <p:spPr>
            <a:xfrm>
              <a:off x="-8927257" y="4199194"/>
              <a:ext cx="93093" cy="169691"/>
            </a:xfrm>
            <a:custGeom>
              <a:avLst/>
              <a:gdLst>
                <a:gd name="connsiteX0" fmla="*/ 45668 w 93093"/>
                <a:gd name="connsiteY0" fmla="*/ 0 h 169691"/>
                <a:gd name="connsiteX1" fmla="*/ 93093 w 93093"/>
                <a:gd name="connsiteY1" fmla="*/ 40444 h 169691"/>
                <a:gd name="connsiteX2" fmla="*/ 38642 w 93093"/>
                <a:gd name="connsiteY2" fmla="*/ 169691 h 169691"/>
                <a:gd name="connsiteX3" fmla="*/ 0 w 93093"/>
                <a:gd name="connsiteY3" fmla="*/ 133643 h 169691"/>
                <a:gd name="connsiteX4" fmla="*/ 45668 w 93093"/>
                <a:gd name="connsiteY4" fmla="*/ 0 h 16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093" h="169691">
                  <a:moveTo>
                    <a:pt x="45668" y="0"/>
                  </a:moveTo>
                  <a:cubicBezTo>
                    <a:pt x="58842" y="5275"/>
                    <a:pt x="83433" y="35169"/>
                    <a:pt x="93093" y="40444"/>
                  </a:cubicBezTo>
                  <a:lnTo>
                    <a:pt x="38642" y="169691"/>
                  </a:lnTo>
                  <a:lnTo>
                    <a:pt x="0" y="133643"/>
                  </a:lnTo>
                  <a:lnTo>
                    <a:pt x="45668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6F1665A4-A005-6014-8AC9-A982EBF87588}"/>
                </a:ext>
              </a:extLst>
            </p:cNvPr>
            <p:cNvSpPr/>
            <p:nvPr/>
          </p:nvSpPr>
          <p:spPr>
            <a:xfrm>
              <a:off x="-7966460" y="4261619"/>
              <a:ext cx="152814" cy="58908"/>
            </a:xfrm>
            <a:custGeom>
              <a:avLst/>
              <a:gdLst>
                <a:gd name="connsiteX0" fmla="*/ 151058 w 152814"/>
                <a:gd name="connsiteY0" fmla="*/ 0 h 58908"/>
                <a:gd name="connsiteX1" fmla="*/ 151058 w 152814"/>
                <a:gd name="connsiteY1" fmla="*/ 45720 h 58908"/>
                <a:gd name="connsiteX2" fmla="*/ 2635 w 152814"/>
                <a:gd name="connsiteY2" fmla="*/ 58909 h 58908"/>
                <a:gd name="connsiteX3" fmla="*/ 0 w 152814"/>
                <a:gd name="connsiteY3" fmla="*/ 10551 h 58908"/>
                <a:gd name="connsiteX4" fmla="*/ 152814 w 152814"/>
                <a:gd name="connsiteY4" fmla="*/ 0 h 58908"/>
                <a:gd name="connsiteX5" fmla="*/ 151936 w 152814"/>
                <a:gd name="connsiteY5" fmla="*/ 0 h 5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814" h="58908">
                  <a:moveTo>
                    <a:pt x="151058" y="0"/>
                  </a:moveTo>
                  <a:cubicBezTo>
                    <a:pt x="148423" y="15826"/>
                    <a:pt x="152814" y="34290"/>
                    <a:pt x="151058" y="45720"/>
                  </a:cubicBezTo>
                  <a:lnTo>
                    <a:pt x="2635" y="58909"/>
                  </a:lnTo>
                  <a:cubicBezTo>
                    <a:pt x="2635" y="58909"/>
                    <a:pt x="2635" y="34290"/>
                    <a:pt x="0" y="10551"/>
                  </a:cubicBezTo>
                  <a:lnTo>
                    <a:pt x="152814" y="0"/>
                  </a:lnTo>
                  <a:lnTo>
                    <a:pt x="151936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EEFAE4BC-5588-828A-3609-3826605DACC9}"/>
                </a:ext>
              </a:extLst>
            </p:cNvPr>
            <p:cNvSpPr/>
            <p:nvPr/>
          </p:nvSpPr>
          <p:spPr>
            <a:xfrm>
              <a:off x="-8642707" y="2929585"/>
              <a:ext cx="253812" cy="564466"/>
            </a:xfrm>
            <a:custGeom>
              <a:avLst/>
              <a:gdLst>
                <a:gd name="connsiteX0" fmla="*/ 10539 w 253812"/>
                <a:gd name="connsiteY0" fmla="*/ 3517 h 564466"/>
                <a:gd name="connsiteX1" fmla="*/ 157206 w 253812"/>
                <a:gd name="connsiteY1" fmla="*/ 30773 h 564466"/>
                <a:gd name="connsiteX2" fmla="*/ 223952 w 253812"/>
                <a:gd name="connsiteY2" fmla="*/ 0 h 564466"/>
                <a:gd name="connsiteX3" fmla="*/ 253812 w 253812"/>
                <a:gd name="connsiteY3" fmla="*/ 7913 h 564466"/>
                <a:gd name="connsiteX4" fmla="*/ 144032 w 253812"/>
                <a:gd name="connsiteY4" fmla="*/ 564466 h 564466"/>
                <a:gd name="connsiteX5" fmla="*/ 0 w 253812"/>
                <a:gd name="connsiteY5" fmla="*/ 15826 h 564466"/>
                <a:gd name="connsiteX6" fmla="*/ 10539 w 253812"/>
                <a:gd name="connsiteY6" fmla="*/ 3517 h 56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812" h="564466">
                  <a:moveTo>
                    <a:pt x="10539" y="3517"/>
                  </a:moveTo>
                  <a:lnTo>
                    <a:pt x="157206" y="30773"/>
                  </a:lnTo>
                  <a:lnTo>
                    <a:pt x="223952" y="0"/>
                  </a:lnTo>
                  <a:cubicBezTo>
                    <a:pt x="225708" y="0"/>
                    <a:pt x="253812" y="7913"/>
                    <a:pt x="253812" y="7913"/>
                  </a:cubicBezTo>
                  <a:lnTo>
                    <a:pt x="144032" y="564466"/>
                  </a:lnTo>
                  <a:lnTo>
                    <a:pt x="0" y="15826"/>
                  </a:lnTo>
                  <a:lnTo>
                    <a:pt x="10539" y="3517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7777A077-B22C-2B6F-9F17-DA11D3257AD9}"/>
                </a:ext>
              </a:extLst>
            </p:cNvPr>
            <p:cNvSpPr/>
            <p:nvPr/>
          </p:nvSpPr>
          <p:spPr>
            <a:xfrm>
              <a:off x="-8638315" y="2640303"/>
              <a:ext cx="253812" cy="362257"/>
            </a:xfrm>
            <a:custGeom>
              <a:avLst/>
              <a:gdLst>
                <a:gd name="connsiteX0" fmla="*/ 207266 w 253812"/>
                <a:gd name="connsiteY0" fmla="*/ 167069 h 362257"/>
                <a:gd name="connsiteX1" fmla="*/ 144032 w 253812"/>
                <a:gd name="connsiteY1" fmla="*/ 104643 h 362257"/>
                <a:gd name="connsiteX2" fmla="*/ 165988 w 253812"/>
                <a:gd name="connsiteY2" fmla="*/ 75629 h 362257"/>
                <a:gd name="connsiteX3" fmla="*/ 126467 w 253812"/>
                <a:gd name="connsiteY3" fmla="*/ 15 h 362257"/>
                <a:gd name="connsiteX4" fmla="*/ 85190 w 253812"/>
                <a:gd name="connsiteY4" fmla="*/ 41339 h 362257"/>
                <a:gd name="connsiteX5" fmla="*/ 92215 w 253812"/>
                <a:gd name="connsiteY5" fmla="*/ 167948 h 362257"/>
                <a:gd name="connsiteX6" fmla="*/ 0 w 253812"/>
                <a:gd name="connsiteY6" fmla="*/ 251475 h 362257"/>
                <a:gd name="connsiteX7" fmla="*/ 3513 w 253812"/>
                <a:gd name="connsiteY7" fmla="*/ 300712 h 362257"/>
                <a:gd name="connsiteX8" fmla="*/ 110659 w 253812"/>
                <a:gd name="connsiteY8" fmla="*/ 362258 h 362257"/>
                <a:gd name="connsiteX9" fmla="*/ 253812 w 253812"/>
                <a:gd name="connsiteY9" fmla="*/ 292798 h 362257"/>
                <a:gd name="connsiteX10" fmla="*/ 206387 w 253812"/>
                <a:gd name="connsiteY10" fmla="*/ 167069 h 362257"/>
                <a:gd name="connsiteX11" fmla="*/ 207266 w 253812"/>
                <a:gd name="connsiteY11" fmla="*/ 167069 h 36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812" h="362257">
                  <a:moveTo>
                    <a:pt x="207266" y="167069"/>
                  </a:moveTo>
                  <a:cubicBezTo>
                    <a:pt x="204630" y="167069"/>
                    <a:pt x="144910" y="108160"/>
                    <a:pt x="144032" y="104643"/>
                  </a:cubicBezTo>
                  <a:cubicBezTo>
                    <a:pt x="153692" y="99368"/>
                    <a:pt x="162475" y="90575"/>
                    <a:pt x="165988" y="75629"/>
                  </a:cubicBezTo>
                  <a:cubicBezTo>
                    <a:pt x="173014" y="37822"/>
                    <a:pt x="163353" y="-865"/>
                    <a:pt x="126467" y="15"/>
                  </a:cubicBezTo>
                  <a:cubicBezTo>
                    <a:pt x="95729" y="1773"/>
                    <a:pt x="87824" y="24633"/>
                    <a:pt x="85190" y="41339"/>
                  </a:cubicBezTo>
                  <a:cubicBezTo>
                    <a:pt x="85190" y="60682"/>
                    <a:pt x="92215" y="167948"/>
                    <a:pt x="92215" y="167948"/>
                  </a:cubicBezTo>
                  <a:cubicBezTo>
                    <a:pt x="79920" y="199600"/>
                    <a:pt x="37764" y="204875"/>
                    <a:pt x="0" y="251475"/>
                  </a:cubicBezTo>
                  <a:lnTo>
                    <a:pt x="3513" y="300712"/>
                  </a:lnTo>
                  <a:lnTo>
                    <a:pt x="110659" y="362258"/>
                  </a:lnTo>
                  <a:lnTo>
                    <a:pt x="253812" y="292798"/>
                  </a:lnTo>
                  <a:cubicBezTo>
                    <a:pt x="247665" y="276972"/>
                    <a:pt x="211657" y="183774"/>
                    <a:pt x="206387" y="167069"/>
                  </a:cubicBezTo>
                  <a:lnTo>
                    <a:pt x="207266" y="167069"/>
                  </a:lnTo>
                  <a:close/>
                </a:path>
              </a:pathLst>
            </a:custGeom>
            <a:solidFill>
              <a:srgbClr val="DE9C74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7" name="Graphic 6">
              <a:extLst>
                <a:ext uri="{FF2B5EF4-FFF2-40B4-BE49-F238E27FC236}">
                  <a16:creationId xmlns:a16="http://schemas.microsoft.com/office/drawing/2014/main" id="{61CE84F4-D918-1CC2-D48A-A2FF7269192D}"/>
                </a:ext>
              </a:extLst>
            </p:cNvPr>
            <p:cNvGrpSpPr/>
            <p:nvPr/>
          </p:nvGrpSpPr>
          <p:grpSpPr>
            <a:xfrm>
              <a:off x="-8804027" y="2405438"/>
              <a:ext cx="896444" cy="500660"/>
              <a:chOff x="-8804027" y="2405438"/>
              <a:chExt cx="896444" cy="500660"/>
            </a:xfrm>
          </p:grpSpPr>
          <p:sp>
            <p:nvSpPr>
              <p:cNvPr id="108" name="Freeform 107">
                <a:extLst>
                  <a:ext uri="{FF2B5EF4-FFF2-40B4-BE49-F238E27FC236}">
                    <a16:creationId xmlns:a16="http://schemas.microsoft.com/office/drawing/2014/main" id="{8F022049-CB15-A203-C478-039E08AF3220}"/>
                  </a:ext>
                </a:extLst>
              </p:cNvPr>
              <p:cNvSpPr/>
              <p:nvPr/>
            </p:nvSpPr>
            <p:spPr>
              <a:xfrm>
                <a:off x="-8779712" y="2778357"/>
                <a:ext cx="60251" cy="53633"/>
              </a:xfrm>
              <a:custGeom>
                <a:avLst/>
                <a:gdLst>
                  <a:gd name="connsiteX0" fmla="*/ 59720 w 60251"/>
                  <a:gd name="connsiteY0" fmla="*/ 16705 h 53633"/>
                  <a:gd name="connsiteX1" fmla="*/ 33373 w 60251"/>
                  <a:gd name="connsiteY1" fmla="*/ 2638 h 53633"/>
                  <a:gd name="connsiteX2" fmla="*/ 0 w 60251"/>
                  <a:gd name="connsiteY2" fmla="*/ 0 h 53633"/>
                  <a:gd name="connsiteX3" fmla="*/ 19321 w 60251"/>
                  <a:gd name="connsiteY3" fmla="*/ 14947 h 53633"/>
                  <a:gd name="connsiteX4" fmla="*/ 7904 w 60251"/>
                  <a:gd name="connsiteY4" fmla="*/ 30773 h 53633"/>
                  <a:gd name="connsiteX5" fmla="*/ 21956 w 60251"/>
                  <a:gd name="connsiteY5" fmla="*/ 53633 h 53633"/>
                  <a:gd name="connsiteX6" fmla="*/ 59720 w 60251"/>
                  <a:gd name="connsiteY6" fmla="*/ 16705 h 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251" h="53633">
                    <a:moveTo>
                      <a:pt x="59720" y="16705"/>
                    </a:moveTo>
                    <a:cubicBezTo>
                      <a:pt x="57964" y="9672"/>
                      <a:pt x="41278" y="2638"/>
                      <a:pt x="33373" y="2638"/>
                    </a:cubicBezTo>
                    <a:cubicBezTo>
                      <a:pt x="20199" y="2638"/>
                      <a:pt x="7904" y="1759"/>
                      <a:pt x="0" y="0"/>
                    </a:cubicBezTo>
                    <a:cubicBezTo>
                      <a:pt x="1757" y="8792"/>
                      <a:pt x="14052" y="14068"/>
                      <a:pt x="19321" y="14947"/>
                    </a:cubicBezTo>
                    <a:cubicBezTo>
                      <a:pt x="27225" y="16705"/>
                      <a:pt x="10539" y="15826"/>
                      <a:pt x="7904" y="30773"/>
                    </a:cubicBezTo>
                    <a:cubicBezTo>
                      <a:pt x="5269" y="45720"/>
                      <a:pt x="21956" y="53633"/>
                      <a:pt x="21956" y="53633"/>
                    </a:cubicBezTo>
                    <a:cubicBezTo>
                      <a:pt x="49181" y="41324"/>
                      <a:pt x="63234" y="30773"/>
                      <a:pt x="59720" y="16705"/>
                    </a:cubicBezTo>
                    <a:close/>
                  </a:path>
                </a:pathLst>
              </a:custGeom>
              <a:solidFill>
                <a:srgbClr val="DE9C74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" name="Freeform 108">
                <a:extLst>
                  <a:ext uri="{FF2B5EF4-FFF2-40B4-BE49-F238E27FC236}">
                    <a16:creationId xmlns:a16="http://schemas.microsoft.com/office/drawing/2014/main" id="{CDEE67A5-012A-2E98-88BB-4F956615A1E7}"/>
                  </a:ext>
                </a:extLst>
              </p:cNvPr>
              <p:cNvSpPr/>
              <p:nvPr/>
            </p:nvSpPr>
            <p:spPr>
              <a:xfrm>
                <a:off x="-8788532" y="2405438"/>
                <a:ext cx="445358" cy="500660"/>
              </a:xfrm>
              <a:custGeom>
                <a:avLst/>
                <a:gdLst>
                  <a:gd name="connsiteX0" fmla="*/ 250336 w 445358"/>
                  <a:gd name="connsiteY0" fmla="*/ 16831 h 500660"/>
                  <a:gd name="connsiteX1" fmla="*/ 80836 w 445358"/>
                  <a:gd name="connsiteY1" fmla="*/ 1004 h 500660"/>
                  <a:gd name="connsiteX2" fmla="*/ 74688 w 445358"/>
                  <a:gd name="connsiteY2" fmla="*/ 91565 h 500660"/>
                  <a:gd name="connsiteX3" fmla="*/ 74688 w 445358"/>
                  <a:gd name="connsiteY3" fmla="*/ 93324 h 500660"/>
                  <a:gd name="connsiteX4" fmla="*/ 175686 w 445358"/>
                  <a:gd name="connsiteY4" fmla="*/ 132889 h 500660"/>
                  <a:gd name="connsiteX5" fmla="*/ 171294 w 445358"/>
                  <a:gd name="connsiteY5" fmla="*/ 187401 h 500660"/>
                  <a:gd name="connsiteX6" fmla="*/ 201154 w 445358"/>
                  <a:gd name="connsiteY6" fmla="*/ 240155 h 500660"/>
                  <a:gd name="connsiteX7" fmla="*/ 187981 w 445358"/>
                  <a:gd name="connsiteY7" fmla="*/ 316648 h 500660"/>
                  <a:gd name="connsiteX8" fmla="*/ 116843 w 445358"/>
                  <a:gd name="connsiteY8" fmla="*/ 361489 h 500660"/>
                  <a:gd name="connsiteX9" fmla="*/ 15845 w 445358"/>
                  <a:gd name="connsiteY9" fmla="*/ 336871 h 500660"/>
                  <a:gd name="connsiteX10" fmla="*/ 15845 w 445358"/>
                  <a:gd name="connsiteY10" fmla="*/ 336871 h 500660"/>
                  <a:gd name="connsiteX11" fmla="*/ 7941 w 445358"/>
                  <a:gd name="connsiteY11" fmla="*/ 367644 h 500660"/>
                  <a:gd name="connsiteX12" fmla="*/ 46584 w 445358"/>
                  <a:gd name="connsiteY12" fmla="*/ 377315 h 500660"/>
                  <a:gd name="connsiteX13" fmla="*/ 68540 w 445358"/>
                  <a:gd name="connsiteY13" fmla="*/ 391383 h 500660"/>
                  <a:gd name="connsiteX14" fmla="*/ 30776 w 445358"/>
                  <a:gd name="connsiteY14" fmla="*/ 429190 h 500660"/>
                  <a:gd name="connsiteX15" fmla="*/ 30776 w 445358"/>
                  <a:gd name="connsiteY15" fmla="*/ 429190 h 500660"/>
                  <a:gd name="connsiteX16" fmla="*/ 39558 w 445358"/>
                  <a:gd name="connsiteY16" fmla="*/ 492494 h 500660"/>
                  <a:gd name="connsiteX17" fmla="*/ 109818 w 445358"/>
                  <a:gd name="connsiteY17" fmla="*/ 497770 h 500660"/>
                  <a:gd name="connsiteX18" fmla="*/ 152851 w 445358"/>
                  <a:gd name="connsiteY18" fmla="*/ 488098 h 500660"/>
                  <a:gd name="connsiteX19" fmla="*/ 231893 w 445358"/>
                  <a:gd name="connsiteY19" fmla="*/ 436224 h 500660"/>
                  <a:gd name="connsiteX20" fmla="*/ 244189 w 445358"/>
                  <a:gd name="connsiteY20" fmla="*/ 404571 h 500660"/>
                  <a:gd name="connsiteX21" fmla="*/ 238919 w 445358"/>
                  <a:gd name="connsiteY21" fmla="*/ 366764 h 500660"/>
                  <a:gd name="connsiteX22" fmla="*/ 237163 w 445358"/>
                  <a:gd name="connsiteY22" fmla="*/ 277962 h 500660"/>
                  <a:gd name="connsiteX23" fmla="*/ 278440 w 445358"/>
                  <a:gd name="connsiteY23" fmla="*/ 236638 h 500660"/>
                  <a:gd name="connsiteX24" fmla="*/ 317961 w 445358"/>
                  <a:gd name="connsiteY24" fmla="*/ 312252 h 500660"/>
                  <a:gd name="connsiteX25" fmla="*/ 296005 w 445358"/>
                  <a:gd name="connsiteY25" fmla="*/ 341267 h 500660"/>
                  <a:gd name="connsiteX26" fmla="*/ 298640 w 445358"/>
                  <a:gd name="connsiteY26" fmla="*/ 353576 h 500660"/>
                  <a:gd name="connsiteX27" fmla="*/ 342552 w 445358"/>
                  <a:gd name="connsiteY27" fmla="*/ 404571 h 500660"/>
                  <a:gd name="connsiteX28" fmla="*/ 372412 w 445358"/>
                  <a:gd name="connsiteY28" fmla="*/ 392262 h 500660"/>
                  <a:gd name="connsiteX29" fmla="*/ 384707 w 445358"/>
                  <a:gd name="connsiteY29" fmla="*/ 383470 h 500660"/>
                  <a:gd name="connsiteX30" fmla="*/ 441793 w 445358"/>
                  <a:gd name="connsiteY30" fmla="*/ 265653 h 500660"/>
                  <a:gd name="connsiteX31" fmla="*/ 251214 w 445358"/>
                  <a:gd name="connsiteY31" fmla="*/ 17710 h 500660"/>
                  <a:gd name="connsiteX32" fmla="*/ 249458 w 445358"/>
                  <a:gd name="connsiteY32" fmla="*/ 17710 h 5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45358" h="500660">
                    <a:moveTo>
                      <a:pt x="250336" y="16831"/>
                    </a:moveTo>
                    <a:cubicBezTo>
                      <a:pt x="169538" y="10676"/>
                      <a:pt x="121235" y="27381"/>
                      <a:pt x="80836" y="1004"/>
                    </a:cubicBezTo>
                    <a:cubicBezTo>
                      <a:pt x="66783" y="-8667"/>
                      <a:pt x="43071" y="53758"/>
                      <a:pt x="74688" y="91565"/>
                    </a:cubicBezTo>
                    <a:cubicBezTo>
                      <a:pt x="74688" y="91565"/>
                      <a:pt x="74688" y="91565"/>
                      <a:pt x="74688" y="93324"/>
                    </a:cubicBezTo>
                    <a:cubicBezTo>
                      <a:pt x="86105" y="93324"/>
                      <a:pt x="167781" y="102995"/>
                      <a:pt x="175686" y="132889"/>
                    </a:cubicBezTo>
                    <a:cubicBezTo>
                      <a:pt x="183590" y="164541"/>
                      <a:pt x="171294" y="187401"/>
                      <a:pt x="171294" y="187401"/>
                    </a:cubicBezTo>
                    <a:cubicBezTo>
                      <a:pt x="171294" y="187401"/>
                      <a:pt x="190616" y="204107"/>
                      <a:pt x="201154" y="240155"/>
                    </a:cubicBezTo>
                    <a:cubicBezTo>
                      <a:pt x="204668" y="276204"/>
                      <a:pt x="198520" y="299943"/>
                      <a:pt x="187981" y="316648"/>
                    </a:cubicBezTo>
                    <a:cubicBezTo>
                      <a:pt x="166903" y="350059"/>
                      <a:pt x="128260" y="354455"/>
                      <a:pt x="116843" y="361489"/>
                    </a:cubicBezTo>
                    <a:cubicBezTo>
                      <a:pt x="98400" y="372919"/>
                      <a:pt x="36045" y="323682"/>
                      <a:pt x="15845" y="336871"/>
                    </a:cubicBezTo>
                    <a:lnTo>
                      <a:pt x="15845" y="336871"/>
                    </a:lnTo>
                    <a:cubicBezTo>
                      <a:pt x="-6111" y="343904"/>
                      <a:pt x="-1719" y="365885"/>
                      <a:pt x="7941" y="367644"/>
                    </a:cubicBezTo>
                    <a:cubicBezTo>
                      <a:pt x="7941" y="367644"/>
                      <a:pt x="33410" y="379074"/>
                      <a:pt x="46584" y="377315"/>
                    </a:cubicBezTo>
                    <a:cubicBezTo>
                      <a:pt x="55366" y="375557"/>
                      <a:pt x="65905" y="382590"/>
                      <a:pt x="68540" y="391383"/>
                    </a:cubicBezTo>
                    <a:cubicBezTo>
                      <a:pt x="72053" y="405451"/>
                      <a:pt x="58001" y="416001"/>
                      <a:pt x="30776" y="429190"/>
                    </a:cubicBezTo>
                    <a:lnTo>
                      <a:pt x="30776" y="429190"/>
                    </a:lnTo>
                    <a:cubicBezTo>
                      <a:pt x="11454" y="438861"/>
                      <a:pt x="39558" y="492494"/>
                      <a:pt x="39558" y="492494"/>
                    </a:cubicBezTo>
                    <a:cubicBezTo>
                      <a:pt x="39558" y="492494"/>
                      <a:pt x="53610" y="506562"/>
                      <a:pt x="109818" y="497770"/>
                    </a:cubicBezTo>
                    <a:cubicBezTo>
                      <a:pt x="124748" y="495132"/>
                      <a:pt x="138799" y="491615"/>
                      <a:pt x="152851" y="488098"/>
                    </a:cubicBezTo>
                    <a:cubicBezTo>
                      <a:pt x="152851" y="488098"/>
                      <a:pt x="217841" y="458204"/>
                      <a:pt x="231893" y="436224"/>
                    </a:cubicBezTo>
                    <a:cubicBezTo>
                      <a:pt x="236284" y="426552"/>
                      <a:pt x="241554" y="418639"/>
                      <a:pt x="244189" y="404571"/>
                    </a:cubicBezTo>
                    <a:cubicBezTo>
                      <a:pt x="244189" y="401054"/>
                      <a:pt x="239797" y="372919"/>
                      <a:pt x="238919" y="366764"/>
                    </a:cubicBezTo>
                    <a:cubicBezTo>
                      <a:pt x="235406" y="333354"/>
                      <a:pt x="236284" y="297305"/>
                      <a:pt x="237163" y="277962"/>
                    </a:cubicBezTo>
                    <a:cubicBezTo>
                      <a:pt x="239797" y="261257"/>
                      <a:pt x="247702" y="238397"/>
                      <a:pt x="278440" y="236638"/>
                    </a:cubicBezTo>
                    <a:cubicBezTo>
                      <a:pt x="315326" y="234880"/>
                      <a:pt x="325865" y="274445"/>
                      <a:pt x="317961" y="312252"/>
                    </a:cubicBezTo>
                    <a:cubicBezTo>
                      <a:pt x="315326" y="328078"/>
                      <a:pt x="305666" y="336871"/>
                      <a:pt x="296005" y="341267"/>
                    </a:cubicBezTo>
                    <a:cubicBezTo>
                      <a:pt x="296005" y="344784"/>
                      <a:pt x="297761" y="349180"/>
                      <a:pt x="298640" y="353576"/>
                    </a:cubicBezTo>
                    <a:cubicBezTo>
                      <a:pt x="298640" y="354455"/>
                      <a:pt x="326744" y="402813"/>
                      <a:pt x="342552" y="404571"/>
                    </a:cubicBezTo>
                    <a:cubicBezTo>
                      <a:pt x="358360" y="404571"/>
                      <a:pt x="365386" y="394900"/>
                      <a:pt x="372412" y="392262"/>
                    </a:cubicBezTo>
                    <a:cubicBezTo>
                      <a:pt x="375047" y="390504"/>
                      <a:pt x="383829" y="384349"/>
                      <a:pt x="384707" y="383470"/>
                    </a:cubicBezTo>
                    <a:cubicBezTo>
                      <a:pt x="418080" y="357093"/>
                      <a:pt x="433011" y="312252"/>
                      <a:pt x="441793" y="265653"/>
                    </a:cubicBezTo>
                    <a:cubicBezTo>
                      <a:pt x="464627" y="143440"/>
                      <a:pt x="375047" y="27381"/>
                      <a:pt x="251214" y="17710"/>
                    </a:cubicBezTo>
                    <a:lnTo>
                      <a:pt x="249458" y="17710"/>
                    </a:lnTo>
                    <a:close/>
                  </a:path>
                </a:pathLst>
              </a:custGeom>
              <a:solidFill>
                <a:srgbClr val="DEDDDC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" name="Freeform 109">
                <a:extLst>
                  <a:ext uri="{FF2B5EF4-FFF2-40B4-BE49-F238E27FC236}">
                    <a16:creationId xmlns:a16="http://schemas.microsoft.com/office/drawing/2014/main" id="{BA2F7653-2190-E886-CFF3-32186F4EADE0}"/>
                  </a:ext>
                </a:extLst>
              </p:cNvPr>
              <p:cNvSpPr/>
              <p:nvPr/>
            </p:nvSpPr>
            <p:spPr>
              <a:xfrm>
                <a:off x="-8804027" y="2497883"/>
                <a:ext cx="217642" cy="270128"/>
              </a:xfrm>
              <a:custGeom>
                <a:avLst/>
                <a:gdLst>
                  <a:gd name="connsiteX0" fmla="*/ 216650 w 217642"/>
                  <a:gd name="connsiteY0" fmla="*/ 146832 h 270128"/>
                  <a:gd name="connsiteX1" fmla="*/ 186790 w 217642"/>
                  <a:gd name="connsiteY1" fmla="*/ 94078 h 270128"/>
                  <a:gd name="connsiteX2" fmla="*/ 191181 w 217642"/>
                  <a:gd name="connsiteY2" fmla="*/ 39565 h 270128"/>
                  <a:gd name="connsiteX3" fmla="*/ 90183 w 217642"/>
                  <a:gd name="connsiteY3" fmla="*/ 0 h 270128"/>
                  <a:gd name="connsiteX4" fmla="*/ 88427 w 217642"/>
                  <a:gd name="connsiteY4" fmla="*/ 0 h 270128"/>
                  <a:gd name="connsiteX5" fmla="*/ 46271 w 217642"/>
                  <a:gd name="connsiteY5" fmla="*/ 88802 h 270128"/>
                  <a:gd name="connsiteX6" fmla="*/ 50662 w 217642"/>
                  <a:gd name="connsiteY6" fmla="*/ 137160 h 270128"/>
                  <a:gd name="connsiteX7" fmla="*/ 37489 w 217642"/>
                  <a:gd name="connsiteY7" fmla="*/ 160020 h 270128"/>
                  <a:gd name="connsiteX8" fmla="*/ 602 w 217642"/>
                  <a:gd name="connsiteY8" fmla="*/ 218049 h 270128"/>
                  <a:gd name="connsiteX9" fmla="*/ 11141 w 217642"/>
                  <a:gd name="connsiteY9" fmla="*/ 237392 h 270128"/>
                  <a:gd name="connsiteX10" fmla="*/ 132339 w 217642"/>
                  <a:gd name="connsiteY10" fmla="*/ 268165 h 270128"/>
                  <a:gd name="connsiteX11" fmla="*/ 203476 w 217642"/>
                  <a:gd name="connsiteY11" fmla="*/ 223325 h 270128"/>
                  <a:gd name="connsiteX12" fmla="*/ 216650 w 217642"/>
                  <a:gd name="connsiteY12" fmla="*/ 146832 h 270128"/>
                  <a:gd name="connsiteX13" fmla="*/ 216650 w 217642"/>
                  <a:gd name="connsiteY13" fmla="*/ 146832 h 270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7642" h="270128">
                    <a:moveTo>
                      <a:pt x="216650" y="146832"/>
                    </a:moveTo>
                    <a:cubicBezTo>
                      <a:pt x="206989" y="116938"/>
                      <a:pt x="186790" y="94078"/>
                      <a:pt x="186790" y="94078"/>
                    </a:cubicBezTo>
                    <a:cubicBezTo>
                      <a:pt x="186790" y="94078"/>
                      <a:pt x="199085" y="72097"/>
                      <a:pt x="191181" y="39565"/>
                    </a:cubicBezTo>
                    <a:cubicBezTo>
                      <a:pt x="184155" y="9672"/>
                      <a:pt x="102478" y="1759"/>
                      <a:pt x="90183" y="0"/>
                    </a:cubicBezTo>
                    <a:lnTo>
                      <a:pt x="88427" y="0"/>
                    </a:lnTo>
                    <a:cubicBezTo>
                      <a:pt x="78766" y="16705"/>
                      <a:pt x="57688" y="55392"/>
                      <a:pt x="46271" y="88802"/>
                    </a:cubicBezTo>
                    <a:cubicBezTo>
                      <a:pt x="41001" y="104628"/>
                      <a:pt x="44514" y="121334"/>
                      <a:pt x="50662" y="137160"/>
                    </a:cubicBezTo>
                    <a:cubicBezTo>
                      <a:pt x="56810" y="152986"/>
                      <a:pt x="41880" y="152107"/>
                      <a:pt x="37489" y="160020"/>
                    </a:cubicBezTo>
                    <a:lnTo>
                      <a:pt x="602" y="218049"/>
                    </a:lnTo>
                    <a:cubicBezTo>
                      <a:pt x="602" y="218049"/>
                      <a:pt x="-3789" y="238272"/>
                      <a:pt x="11141" y="237392"/>
                    </a:cubicBezTo>
                    <a:cubicBezTo>
                      <a:pt x="26072" y="237392"/>
                      <a:pt x="113896" y="279595"/>
                      <a:pt x="132339" y="268165"/>
                    </a:cubicBezTo>
                    <a:cubicBezTo>
                      <a:pt x="143756" y="261132"/>
                      <a:pt x="182399" y="257615"/>
                      <a:pt x="203476" y="223325"/>
                    </a:cubicBezTo>
                    <a:cubicBezTo>
                      <a:pt x="214015" y="206619"/>
                      <a:pt x="220163" y="182001"/>
                      <a:pt x="216650" y="146832"/>
                    </a:cubicBezTo>
                    <a:lnTo>
                      <a:pt x="216650" y="146832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6CA4BECD-AB5D-EB81-9589-E3317BE11082}"/>
                </a:ext>
              </a:extLst>
            </p:cNvPr>
            <p:cNvSpPr/>
            <p:nvPr/>
          </p:nvSpPr>
          <p:spPr>
            <a:xfrm>
              <a:off x="-9289971" y="2933981"/>
              <a:ext cx="1516724" cy="1346102"/>
            </a:xfrm>
            <a:custGeom>
              <a:avLst/>
              <a:gdLst>
                <a:gd name="connsiteX0" fmla="*/ 349541 w 1516724"/>
                <a:gd name="connsiteY0" fmla="*/ 654148 h 1346102"/>
                <a:gd name="connsiteX1" fmla="*/ 345149 w 1516724"/>
                <a:gd name="connsiteY1" fmla="*/ 805375 h 1346102"/>
                <a:gd name="connsiteX2" fmla="*/ 340758 w 1516724"/>
                <a:gd name="connsiteY2" fmla="*/ 1253783 h 1346102"/>
                <a:gd name="connsiteX3" fmla="*/ 753532 w 1516724"/>
                <a:gd name="connsiteY3" fmla="*/ 1269609 h 1346102"/>
                <a:gd name="connsiteX4" fmla="*/ 783392 w 1516724"/>
                <a:gd name="connsiteY4" fmla="*/ 1219493 h 1346102"/>
                <a:gd name="connsiteX5" fmla="*/ 822035 w 1516724"/>
                <a:gd name="connsiteY5" fmla="*/ 1272247 h 1346102"/>
                <a:gd name="connsiteX6" fmla="*/ 1222514 w 1516724"/>
                <a:gd name="connsiteY6" fmla="*/ 1287194 h 1346102"/>
                <a:gd name="connsiteX7" fmla="*/ 1208462 w 1516724"/>
                <a:gd name="connsiteY7" fmla="*/ 867801 h 1346102"/>
                <a:gd name="connsiteX8" fmla="*/ 1182993 w 1516724"/>
                <a:gd name="connsiteY8" fmla="*/ 659423 h 1346102"/>
                <a:gd name="connsiteX9" fmla="*/ 1219879 w 1516724"/>
                <a:gd name="connsiteY9" fmla="*/ 859888 h 1346102"/>
                <a:gd name="connsiteX10" fmla="*/ 1311216 w 1516724"/>
                <a:gd name="connsiteY10" fmla="*/ 1346102 h 1346102"/>
                <a:gd name="connsiteX11" fmla="*/ 1516725 w 1516724"/>
                <a:gd name="connsiteY11" fmla="*/ 1337310 h 1346102"/>
                <a:gd name="connsiteX12" fmla="*/ 1459639 w 1516724"/>
                <a:gd name="connsiteY12" fmla="*/ 726244 h 1346102"/>
                <a:gd name="connsiteX13" fmla="*/ 1283990 w 1516724"/>
                <a:gd name="connsiteY13" fmla="*/ 144194 h 1346102"/>
                <a:gd name="connsiteX14" fmla="*/ 1214610 w 1516724"/>
                <a:gd name="connsiteY14" fmla="*/ 76493 h 1346102"/>
                <a:gd name="connsiteX15" fmla="*/ 994170 w 1516724"/>
                <a:gd name="connsiteY15" fmla="*/ 13188 h 1346102"/>
                <a:gd name="connsiteX16" fmla="*/ 908103 w 1516724"/>
                <a:gd name="connsiteY16" fmla="*/ 0 h 1346102"/>
                <a:gd name="connsiteX17" fmla="*/ 784271 w 1516724"/>
                <a:gd name="connsiteY17" fmla="*/ 555674 h 1346102"/>
                <a:gd name="connsiteX18" fmla="*/ 647265 w 1516724"/>
                <a:gd name="connsiteY18" fmla="*/ 4396 h 1346102"/>
                <a:gd name="connsiteX19" fmla="*/ 329341 w 1516724"/>
                <a:gd name="connsiteY19" fmla="*/ 88802 h 1346102"/>
                <a:gd name="connsiteX20" fmla="*/ 5270 w 1516724"/>
                <a:gd name="connsiteY20" fmla="*/ 729761 h 1346102"/>
                <a:gd name="connsiteX21" fmla="*/ 0 w 1516724"/>
                <a:gd name="connsiteY21" fmla="*/ 766689 h 134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16724" h="1346102">
                  <a:moveTo>
                    <a:pt x="349541" y="654148"/>
                  </a:moveTo>
                  <a:lnTo>
                    <a:pt x="345149" y="805375"/>
                  </a:lnTo>
                  <a:cubicBezTo>
                    <a:pt x="324071" y="962758"/>
                    <a:pt x="323193" y="1152671"/>
                    <a:pt x="340758" y="1253783"/>
                  </a:cubicBezTo>
                  <a:lnTo>
                    <a:pt x="753532" y="1269609"/>
                  </a:lnTo>
                  <a:lnTo>
                    <a:pt x="783392" y="1219493"/>
                  </a:lnTo>
                  <a:lnTo>
                    <a:pt x="822035" y="1272247"/>
                  </a:lnTo>
                  <a:lnTo>
                    <a:pt x="1222514" y="1287194"/>
                  </a:lnTo>
                  <a:lnTo>
                    <a:pt x="1208462" y="867801"/>
                  </a:lnTo>
                  <a:lnTo>
                    <a:pt x="1182993" y="659423"/>
                  </a:lnTo>
                  <a:lnTo>
                    <a:pt x="1219879" y="859888"/>
                  </a:lnTo>
                  <a:cubicBezTo>
                    <a:pt x="1243592" y="1108710"/>
                    <a:pt x="1311216" y="1346102"/>
                    <a:pt x="1311216" y="1346102"/>
                  </a:cubicBezTo>
                  <a:lnTo>
                    <a:pt x="1516725" y="1337310"/>
                  </a:lnTo>
                  <a:cubicBezTo>
                    <a:pt x="1516725" y="1337310"/>
                    <a:pt x="1486865" y="1076178"/>
                    <a:pt x="1459639" y="726244"/>
                  </a:cubicBezTo>
                  <a:cubicBezTo>
                    <a:pt x="1431535" y="376311"/>
                    <a:pt x="1283990" y="144194"/>
                    <a:pt x="1283990" y="144194"/>
                  </a:cubicBezTo>
                  <a:cubicBezTo>
                    <a:pt x="1283990" y="144194"/>
                    <a:pt x="1261156" y="90561"/>
                    <a:pt x="1214610" y="76493"/>
                  </a:cubicBezTo>
                  <a:cubicBezTo>
                    <a:pt x="1181236" y="60667"/>
                    <a:pt x="1087264" y="32532"/>
                    <a:pt x="994170" y="13188"/>
                  </a:cubicBezTo>
                  <a:cubicBezTo>
                    <a:pt x="967823" y="7913"/>
                    <a:pt x="938841" y="2638"/>
                    <a:pt x="908103" y="0"/>
                  </a:cubicBezTo>
                  <a:cubicBezTo>
                    <a:pt x="903712" y="0"/>
                    <a:pt x="784271" y="555674"/>
                    <a:pt x="784271" y="555674"/>
                  </a:cubicBezTo>
                  <a:lnTo>
                    <a:pt x="647265" y="4396"/>
                  </a:lnTo>
                  <a:cubicBezTo>
                    <a:pt x="556806" y="17585"/>
                    <a:pt x="432974" y="43962"/>
                    <a:pt x="329341" y="88802"/>
                  </a:cubicBezTo>
                  <a:cubicBezTo>
                    <a:pt x="329341" y="88802"/>
                    <a:pt x="199361" y="283992"/>
                    <a:pt x="5270" y="729761"/>
                  </a:cubicBezTo>
                  <a:cubicBezTo>
                    <a:pt x="5270" y="731520"/>
                    <a:pt x="0" y="763172"/>
                    <a:pt x="0" y="766689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44CE408B-9CC9-5001-6E33-A93158960B14}"/>
                </a:ext>
              </a:extLst>
            </p:cNvPr>
            <p:cNvSpPr/>
            <p:nvPr/>
          </p:nvSpPr>
          <p:spPr>
            <a:xfrm>
              <a:off x="-9291728" y="3588129"/>
              <a:ext cx="420678" cy="768447"/>
            </a:xfrm>
            <a:custGeom>
              <a:avLst/>
              <a:gdLst>
                <a:gd name="connsiteX0" fmla="*/ 351297 w 420678"/>
                <a:gd name="connsiteY0" fmla="*/ 0 h 768447"/>
                <a:gd name="connsiteX1" fmla="*/ 274012 w 420678"/>
                <a:gd name="connsiteY1" fmla="*/ 162658 h 768447"/>
                <a:gd name="connsiteX2" fmla="*/ 420678 w 420678"/>
                <a:gd name="connsiteY2" fmla="*/ 575896 h 768447"/>
                <a:gd name="connsiteX3" fmla="*/ 359201 w 420678"/>
                <a:gd name="connsiteY3" fmla="*/ 768448 h 768447"/>
                <a:gd name="connsiteX4" fmla="*/ 0 w 420678"/>
                <a:gd name="connsiteY4" fmla="*/ 85285 h 76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0678" h="768447">
                  <a:moveTo>
                    <a:pt x="351297" y="0"/>
                  </a:moveTo>
                  <a:cubicBezTo>
                    <a:pt x="319680" y="46599"/>
                    <a:pt x="303872" y="127488"/>
                    <a:pt x="274012" y="162658"/>
                  </a:cubicBezTo>
                  <a:cubicBezTo>
                    <a:pt x="279281" y="288388"/>
                    <a:pt x="343393" y="429944"/>
                    <a:pt x="420678" y="575896"/>
                  </a:cubicBezTo>
                  <a:cubicBezTo>
                    <a:pt x="390818" y="677008"/>
                    <a:pt x="374131" y="697230"/>
                    <a:pt x="359201" y="768448"/>
                  </a:cubicBezTo>
                  <a:cubicBezTo>
                    <a:pt x="2635" y="439615"/>
                    <a:pt x="2635" y="156503"/>
                    <a:pt x="0" y="85285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2DF17E33-2AB0-BE26-7226-38D79C903319}"/>
                </a:ext>
              </a:extLst>
            </p:cNvPr>
            <p:cNvSpPr/>
            <p:nvPr/>
          </p:nvSpPr>
          <p:spPr>
            <a:xfrm>
              <a:off x="-8507457" y="2940136"/>
              <a:ext cx="244151" cy="548639"/>
            </a:xfrm>
            <a:custGeom>
              <a:avLst/>
              <a:gdLst>
                <a:gd name="connsiteX0" fmla="*/ 0 w 244151"/>
                <a:gd name="connsiteY0" fmla="*/ 548640 h 548639"/>
                <a:gd name="connsiteX1" fmla="*/ 207265 w 244151"/>
                <a:gd name="connsiteY1" fmla="*/ 151228 h 548639"/>
                <a:gd name="connsiteX2" fmla="*/ 176527 w 244151"/>
                <a:gd name="connsiteY2" fmla="*/ 117817 h 548639"/>
                <a:gd name="connsiteX3" fmla="*/ 244151 w 244151"/>
                <a:gd name="connsiteY3" fmla="*/ 106387 h 548639"/>
                <a:gd name="connsiteX4" fmla="*/ 185309 w 244151"/>
                <a:gd name="connsiteY4" fmla="*/ 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51" h="548639">
                  <a:moveTo>
                    <a:pt x="0" y="548640"/>
                  </a:moveTo>
                  <a:lnTo>
                    <a:pt x="207265" y="151228"/>
                  </a:lnTo>
                  <a:lnTo>
                    <a:pt x="176527" y="117817"/>
                  </a:lnTo>
                  <a:lnTo>
                    <a:pt x="244151" y="106387"/>
                  </a:lnTo>
                  <a:lnTo>
                    <a:pt x="185309" y="0"/>
                  </a:lnTo>
                </a:path>
              </a:pathLst>
            </a:custGeom>
            <a:noFill/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49D5E40E-12AA-6AF7-AEEF-E60ADD7470AE}"/>
                </a:ext>
              </a:extLst>
            </p:cNvPr>
            <p:cNvSpPr/>
            <p:nvPr/>
          </p:nvSpPr>
          <p:spPr>
            <a:xfrm>
              <a:off x="-8743705" y="2944532"/>
              <a:ext cx="236247" cy="1208942"/>
            </a:xfrm>
            <a:custGeom>
              <a:avLst/>
              <a:gdLst>
                <a:gd name="connsiteX0" fmla="*/ 56208 w 236247"/>
                <a:gd name="connsiteY0" fmla="*/ 0 h 1208942"/>
                <a:gd name="connsiteX1" fmla="*/ 0 w 236247"/>
                <a:gd name="connsiteY1" fmla="*/ 101991 h 1208942"/>
                <a:gd name="connsiteX2" fmla="*/ 67625 w 236247"/>
                <a:gd name="connsiteY2" fmla="*/ 113421 h 1208942"/>
                <a:gd name="connsiteX3" fmla="*/ 36886 w 236247"/>
                <a:gd name="connsiteY3" fmla="*/ 146831 h 1208942"/>
                <a:gd name="connsiteX4" fmla="*/ 236247 w 236247"/>
                <a:gd name="connsiteY4" fmla="*/ 547761 h 1208942"/>
                <a:gd name="connsiteX5" fmla="*/ 236247 w 236247"/>
                <a:gd name="connsiteY5" fmla="*/ 1208942 h 1208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247" h="1208942">
                  <a:moveTo>
                    <a:pt x="56208" y="0"/>
                  </a:moveTo>
                  <a:lnTo>
                    <a:pt x="0" y="101991"/>
                  </a:lnTo>
                  <a:lnTo>
                    <a:pt x="67625" y="113421"/>
                  </a:lnTo>
                  <a:lnTo>
                    <a:pt x="36886" y="146831"/>
                  </a:lnTo>
                  <a:lnTo>
                    <a:pt x="236247" y="547761"/>
                  </a:lnTo>
                  <a:lnTo>
                    <a:pt x="236247" y="1208942"/>
                  </a:lnTo>
                </a:path>
              </a:pathLst>
            </a:custGeom>
            <a:noFill/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4024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7537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0A3D76-AB94-4F36-799C-B4A43450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8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A3D76-AB94-4F36-799C-B4A43450459F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3A9FBCB7-64C8-3334-37BD-F3B8A49DE9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12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5CE6E23-185E-6743-91C2-61D59594F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7283" y="1293765"/>
            <a:ext cx="418537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923CF1CE-3D31-7F6E-DCDF-E2F32A2553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1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32ED8768-6538-2B1A-5362-29FACA673D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7283" y="2193765"/>
            <a:ext cx="418537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C1E5DC26-4E6F-3BA6-58B6-F8B36941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30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26DE173D-E761-A333-0E17-81FA88BE0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7282" y="3093765"/>
            <a:ext cx="418537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CDF225B3-43B7-A7EE-F801-EE1CFF559F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39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221CA5C7-1F08-8BBE-8775-34E8EE29D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7281" y="3993765"/>
            <a:ext cx="418537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97DE4764-8675-CC7C-7D0D-87C75EAE0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48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F590146E-A290-D74E-2524-F9FEB48C32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97280" y="4893765"/>
            <a:ext cx="418537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53B440B1-4AF1-02C4-D21D-AF9D0377BB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5" y="57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F425F257-B79D-5713-0549-ACA5273F15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97280" y="5793765"/>
            <a:ext cx="418537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C1602382-22BB-1E2D-EC89-BC09E05B4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159E32D-5C8A-D3EB-196F-55944097E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grpSp>
        <p:nvGrpSpPr>
          <p:cNvPr id="12" name="Graphic 6">
            <a:extLst>
              <a:ext uri="{FF2B5EF4-FFF2-40B4-BE49-F238E27FC236}">
                <a16:creationId xmlns:a16="http://schemas.microsoft.com/office/drawing/2014/main" id="{B5CFCF9A-2780-ADBF-86CC-00E75F133F40}"/>
              </a:ext>
            </a:extLst>
          </p:cNvPr>
          <p:cNvGrpSpPr/>
          <p:nvPr/>
        </p:nvGrpSpPr>
        <p:grpSpPr>
          <a:xfrm>
            <a:off x="-12394315" y="2136257"/>
            <a:ext cx="2480746" cy="3669345"/>
            <a:chOff x="-12394315" y="2136257"/>
            <a:chExt cx="2480746" cy="3669345"/>
          </a:xfrm>
        </p:grpSpPr>
        <p:grpSp>
          <p:nvGrpSpPr>
            <p:cNvPr id="13" name="Graphic 6">
              <a:extLst>
                <a:ext uri="{FF2B5EF4-FFF2-40B4-BE49-F238E27FC236}">
                  <a16:creationId xmlns:a16="http://schemas.microsoft.com/office/drawing/2014/main" id="{C3EDF20E-631C-53E0-FA9E-F4170B5F24A9}"/>
                </a:ext>
              </a:extLst>
            </p:cNvPr>
            <p:cNvGrpSpPr/>
            <p:nvPr/>
          </p:nvGrpSpPr>
          <p:grpSpPr>
            <a:xfrm>
              <a:off x="-12394315" y="2136257"/>
              <a:ext cx="2480746" cy="3669345"/>
              <a:chOff x="-12394315" y="2136257"/>
              <a:chExt cx="2480746" cy="3669345"/>
            </a:xfrm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478D2EF2-54C5-BD00-D54F-60EFD17622C1}"/>
                  </a:ext>
                </a:extLst>
              </p:cNvPr>
              <p:cNvSpPr/>
              <p:nvPr/>
            </p:nvSpPr>
            <p:spPr>
              <a:xfrm>
                <a:off x="-12178674" y="3689240"/>
                <a:ext cx="836249" cy="1834954"/>
              </a:xfrm>
              <a:custGeom>
                <a:avLst/>
                <a:gdLst>
                  <a:gd name="connsiteX0" fmla="*/ 163 w 836249"/>
                  <a:gd name="connsiteY0" fmla="*/ 1557117 h 1834954"/>
                  <a:gd name="connsiteX1" fmla="*/ 29145 w 836249"/>
                  <a:gd name="connsiteY1" fmla="*/ 1353136 h 1834954"/>
                  <a:gd name="connsiteX2" fmla="*/ 95891 w 836249"/>
                  <a:gd name="connsiteY2" fmla="*/ 0 h 1834954"/>
                  <a:gd name="connsiteX3" fmla="*/ 813416 w 836249"/>
                  <a:gd name="connsiteY3" fmla="*/ 31652 h 1834954"/>
                  <a:gd name="connsiteX4" fmla="*/ 826589 w 836249"/>
                  <a:gd name="connsiteY4" fmla="*/ 371915 h 1834954"/>
                  <a:gd name="connsiteX5" fmla="*/ 836250 w 836249"/>
                  <a:gd name="connsiteY5" fmla="*/ 1670538 h 1834954"/>
                  <a:gd name="connsiteX6" fmla="*/ 775651 w 836249"/>
                  <a:gd name="connsiteY6" fmla="*/ 1762858 h 1834954"/>
                  <a:gd name="connsiteX7" fmla="*/ 746669 w 836249"/>
                  <a:gd name="connsiteY7" fmla="*/ 1825283 h 1834954"/>
                  <a:gd name="connsiteX8" fmla="*/ 614055 w 836249"/>
                  <a:gd name="connsiteY8" fmla="*/ 1834954 h 1834954"/>
                  <a:gd name="connsiteX9" fmla="*/ 597368 w 836249"/>
                  <a:gd name="connsiteY9" fmla="*/ 1776046 h 1834954"/>
                  <a:gd name="connsiteX10" fmla="*/ 518326 w 836249"/>
                  <a:gd name="connsiteY10" fmla="*/ 1664384 h 1834954"/>
                  <a:gd name="connsiteX11" fmla="*/ 451580 w 836249"/>
                  <a:gd name="connsiteY11" fmla="*/ 534572 h 1834954"/>
                  <a:gd name="connsiteX12" fmla="*/ 451580 w 836249"/>
                  <a:gd name="connsiteY12" fmla="*/ 232117 h 1834954"/>
                  <a:gd name="connsiteX13" fmla="*/ 257488 w 836249"/>
                  <a:gd name="connsiteY13" fmla="*/ 1753186 h 1834954"/>
                  <a:gd name="connsiteX14" fmla="*/ 250462 w 836249"/>
                  <a:gd name="connsiteY14" fmla="*/ 1753186 h 1834954"/>
                  <a:gd name="connsiteX15" fmla="*/ 236410 w 836249"/>
                  <a:gd name="connsiteY15" fmla="*/ 1804181 h 1834954"/>
                  <a:gd name="connsiteX16" fmla="*/ 80083 w 836249"/>
                  <a:gd name="connsiteY16" fmla="*/ 1795389 h 1834954"/>
                  <a:gd name="connsiteX17" fmla="*/ 61640 w 836249"/>
                  <a:gd name="connsiteY17" fmla="*/ 1738239 h 1834954"/>
                  <a:gd name="connsiteX18" fmla="*/ 51101 w 836249"/>
                  <a:gd name="connsiteY18" fmla="*/ 1738239 h 1834954"/>
                  <a:gd name="connsiteX19" fmla="*/ 163 w 836249"/>
                  <a:gd name="connsiteY19" fmla="*/ 1556238 h 1834954"/>
                  <a:gd name="connsiteX20" fmla="*/ 163 w 836249"/>
                  <a:gd name="connsiteY20" fmla="*/ 1556238 h 183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36249" h="1834954">
                    <a:moveTo>
                      <a:pt x="163" y="1557117"/>
                    </a:moveTo>
                    <a:cubicBezTo>
                      <a:pt x="3676" y="1442817"/>
                      <a:pt x="29145" y="1353136"/>
                      <a:pt x="29145" y="1353136"/>
                    </a:cubicBezTo>
                    <a:lnTo>
                      <a:pt x="95891" y="0"/>
                    </a:lnTo>
                    <a:lnTo>
                      <a:pt x="813416" y="31652"/>
                    </a:lnTo>
                    <a:lnTo>
                      <a:pt x="826589" y="371915"/>
                    </a:lnTo>
                    <a:lnTo>
                      <a:pt x="836250" y="1670538"/>
                    </a:lnTo>
                    <a:cubicBezTo>
                      <a:pt x="836250" y="1670538"/>
                      <a:pt x="807268" y="1747031"/>
                      <a:pt x="775651" y="1762858"/>
                    </a:cubicBezTo>
                    <a:lnTo>
                      <a:pt x="746669" y="1825283"/>
                    </a:lnTo>
                    <a:lnTo>
                      <a:pt x="614055" y="1834954"/>
                    </a:lnTo>
                    <a:lnTo>
                      <a:pt x="597368" y="1776046"/>
                    </a:lnTo>
                    <a:cubicBezTo>
                      <a:pt x="597368" y="1776046"/>
                      <a:pt x="518326" y="1734722"/>
                      <a:pt x="518326" y="1664384"/>
                    </a:cubicBezTo>
                    <a:cubicBezTo>
                      <a:pt x="518326" y="1594045"/>
                      <a:pt x="451580" y="534572"/>
                      <a:pt x="451580" y="534572"/>
                    </a:cubicBezTo>
                    <a:lnTo>
                      <a:pt x="451580" y="232117"/>
                    </a:lnTo>
                    <a:cubicBezTo>
                      <a:pt x="451580" y="232117"/>
                      <a:pt x="362877" y="1674055"/>
                      <a:pt x="257488" y="1753186"/>
                    </a:cubicBezTo>
                    <a:lnTo>
                      <a:pt x="250462" y="1753186"/>
                    </a:lnTo>
                    <a:lnTo>
                      <a:pt x="236410" y="1804181"/>
                    </a:lnTo>
                    <a:lnTo>
                      <a:pt x="80083" y="1795389"/>
                    </a:lnTo>
                    <a:lnTo>
                      <a:pt x="61640" y="1738239"/>
                    </a:lnTo>
                    <a:lnTo>
                      <a:pt x="51101" y="1738239"/>
                    </a:lnTo>
                    <a:cubicBezTo>
                      <a:pt x="51101" y="1738239"/>
                      <a:pt x="-3350" y="1670538"/>
                      <a:pt x="163" y="1556238"/>
                    </a:cubicBezTo>
                    <a:lnTo>
                      <a:pt x="163" y="1556238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6A65904-B5DB-4E65-CA93-E159DC8EC93C}"/>
                  </a:ext>
                </a:extLst>
              </p:cNvPr>
              <p:cNvSpPr/>
              <p:nvPr/>
            </p:nvSpPr>
            <p:spPr>
              <a:xfrm>
                <a:off x="-12394315" y="2721448"/>
                <a:ext cx="481974" cy="928012"/>
              </a:xfrm>
              <a:custGeom>
                <a:avLst/>
                <a:gdLst>
                  <a:gd name="connsiteX0" fmla="*/ 435365 w 481974"/>
                  <a:gd name="connsiteY0" fmla="*/ 1517 h 928012"/>
                  <a:gd name="connsiteX1" fmla="*/ 95485 w 481974"/>
                  <a:gd name="connsiteY1" fmla="*/ 95595 h 928012"/>
                  <a:gd name="connsiteX2" fmla="*/ 6782 w 481974"/>
                  <a:gd name="connsiteY2" fmla="*/ 864043 h 928012"/>
                  <a:gd name="connsiteX3" fmla="*/ 304507 w 481974"/>
                  <a:gd name="connsiteY3" fmla="*/ 921193 h 928012"/>
                  <a:gd name="connsiteX4" fmla="*/ 435365 w 481974"/>
                  <a:gd name="connsiteY4" fmla="*/ 638 h 928012"/>
                  <a:gd name="connsiteX5" fmla="*/ 435365 w 481974"/>
                  <a:gd name="connsiteY5" fmla="*/ 638 h 92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1974" h="928012">
                    <a:moveTo>
                      <a:pt x="435365" y="1517"/>
                    </a:moveTo>
                    <a:cubicBezTo>
                      <a:pt x="435365" y="1517"/>
                      <a:pt x="179796" y="-19584"/>
                      <a:pt x="95485" y="95595"/>
                    </a:cubicBezTo>
                    <a:cubicBezTo>
                      <a:pt x="95485" y="95595"/>
                      <a:pt x="-30104" y="576534"/>
                      <a:pt x="6782" y="864043"/>
                    </a:cubicBezTo>
                    <a:cubicBezTo>
                      <a:pt x="6782" y="864043"/>
                      <a:pt x="6782" y="952845"/>
                      <a:pt x="304507" y="921193"/>
                    </a:cubicBezTo>
                    <a:cubicBezTo>
                      <a:pt x="602231" y="889540"/>
                      <a:pt x="435365" y="638"/>
                      <a:pt x="435365" y="638"/>
                    </a:cubicBezTo>
                    <a:lnTo>
                      <a:pt x="435365" y="638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02740F4E-1790-AF8C-054D-1D7DE90990D8}"/>
                  </a:ext>
                </a:extLst>
              </p:cNvPr>
              <p:cNvSpPr/>
              <p:nvPr/>
            </p:nvSpPr>
            <p:spPr>
              <a:xfrm>
                <a:off x="-12347065" y="2669332"/>
                <a:ext cx="1228076" cy="1249386"/>
              </a:xfrm>
              <a:custGeom>
                <a:avLst/>
                <a:gdLst>
                  <a:gd name="connsiteX0" fmla="*/ 97416 w 1228076"/>
                  <a:gd name="connsiteY0" fmla="*/ 886265 h 1249386"/>
                  <a:gd name="connsiteX1" fmla="*/ 158015 w 1228076"/>
                  <a:gd name="connsiteY1" fmla="*/ 914400 h 1249386"/>
                  <a:gd name="connsiteX2" fmla="*/ 158015 w 1228076"/>
                  <a:gd name="connsiteY2" fmla="*/ 911762 h 1249386"/>
                  <a:gd name="connsiteX3" fmla="*/ 185240 w 1228076"/>
                  <a:gd name="connsiteY3" fmla="*/ 911762 h 1249386"/>
                  <a:gd name="connsiteX4" fmla="*/ 220370 w 1228076"/>
                  <a:gd name="connsiteY4" fmla="*/ 903849 h 1249386"/>
                  <a:gd name="connsiteX5" fmla="*/ 220370 w 1228076"/>
                  <a:gd name="connsiteY5" fmla="*/ 917038 h 1249386"/>
                  <a:gd name="connsiteX6" fmla="*/ 245839 w 1228076"/>
                  <a:gd name="connsiteY6" fmla="*/ 1215097 h 1249386"/>
                  <a:gd name="connsiteX7" fmla="*/ 929990 w 1228076"/>
                  <a:gd name="connsiteY7" fmla="*/ 1227406 h 1249386"/>
                  <a:gd name="connsiteX8" fmla="*/ 1035379 w 1228076"/>
                  <a:gd name="connsiteY8" fmla="*/ 1249387 h 1249386"/>
                  <a:gd name="connsiteX9" fmla="*/ 1080169 w 1228076"/>
                  <a:gd name="connsiteY9" fmla="*/ 1227406 h 1249386"/>
                  <a:gd name="connsiteX10" fmla="*/ 1217175 w 1228076"/>
                  <a:gd name="connsiteY10" fmla="*/ 891540 h 1249386"/>
                  <a:gd name="connsiteX11" fmla="*/ 1224201 w 1228076"/>
                  <a:gd name="connsiteY11" fmla="*/ 762293 h 1249386"/>
                  <a:gd name="connsiteX12" fmla="*/ 1153064 w 1228076"/>
                  <a:gd name="connsiteY12" fmla="*/ 324436 h 1249386"/>
                  <a:gd name="connsiteX13" fmla="*/ 785958 w 1228076"/>
                  <a:gd name="connsiteY13" fmla="*/ 0 h 1249386"/>
                  <a:gd name="connsiteX14" fmla="*/ 522485 w 1228076"/>
                  <a:gd name="connsiteY14" fmla="*/ 21981 h 1249386"/>
                  <a:gd name="connsiteX15" fmla="*/ 508433 w 1228076"/>
                  <a:gd name="connsiteY15" fmla="*/ 19343 h 1249386"/>
                  <a:gd name="connsiteX16" fmla="*/ 503164 w 1228076"/>
                  <a:gd name="connsiteY16" fmla="*/ 19343 h 1249386"/>
                  <a:gd name="connsiteX17" fmla="*/ 491747 w 1228076"/>
                  <a:gd name="connsiteY17" fmla="*/ 22860 h 1249386"/>
                  <a:gd name="connsiteX18" fmla="*/ 200170 w 1228076"/>
                  <a:gd name="connsiteY18" fmla="*/ 144194 h 1249386"/>
                  <a:gd name="connsiteX19" fmla="*/ 4322 w 1228076"/>
                  <a:gd name="connsiteY19" fmla="*/ 659423 h 1249386"/>
                  <a:gd name="connsiteX20" fmla="*/ 98294 w 1228076"/>
                  <a:gd name="connsiteY20" fmla="*/ 888023 h 1249386"/>
                  <a:gd name="connsiteX21" fmla="*/ 97416 w 1228076"/>
                  <a:gd name="connsiteY21" fmla="*/ 888023 h 1249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28076" h="1249386">
                    <a:moveTo>
                      <a:pt x="97416" y="886265"/>
                    </a:moveTo>
                    <a:cubicBezTo>
                      <a:pt x="123763" y="901211"/>
                      <a:pt x="127276" y="902970"/>
                      <a:pt x="158015" y="914400"/>
                    </a:cubicBezTo>
                    <a:lnTo>
                      <a:pt x="158015" y="911762"/>
                    </a:lnTo>
                    <a:cubicBezTo>
                      <a:pt x="166797" y="912641"/>
                      <a:pt x="175580" y="912641"/>
                      <a:pt x="185240" y="911762"/>
                    </a:cubicBezTo>
                    <a:cubicBezTo>
                      <a:pt x="197536" y="910004"/>
                      <a:pt x="208953" y="906487"/>
                      <a:pt x="220370" y="903849"/>
                    </a:cubicBezTo>
                    <a:lnTo>
                      <a:pt x="220370" y="917038"/>
                    </a:lnTo>
                    <a:cubicBezTo>
                      <a:pt x="225639" y="1131570"/>
                      <a:pt x="245839" y="1215097"/>
                      <a:pt x="245839" y="1215097"/>
                    </a:cubicBezTo>
                    <a:cubicBezTo>
                      <a:pt x="245839" y="1215097"/>
                      <a:pt x="763124" y="1237957"/>
                      <a:pt x="929990" y="1227406"/>
                    </a:cubicBezTo>
                    <a:lnTo>
                      <a:pt x="1035379" y="1249387"/>
                    </a:lnTo>
                    <a:lnTo>
                      <a:pt x="1080169" y="1227406"/>
                    </a:lnTo>
                    <a:cubicBezTo>
                      <a:pt x="1159211" y="1187841"/>
                      <a:pt x="1182924" y="1014632"/>
                      <a:pt x="1217175" y="891540"/>
                    </a:cubicBezTo>
                    <a:cubicBezTo>
                      <a:pt x="1228592" y="849337"/>
                      <a:pt x="1231227" y="805375"/>
                      <a:pt x="1224201" y="762293"/>
                    </a:cubicBezTo>
                    <a:lnTo>
                      <a:pt x="1153064" y="324436"/>
                    </a:lnTo>
                    <a:cubicBezTo>
                      <a:pt x="1124082" y="86165"/>
                      <a:pt x="785958" y="0"/>
                      <a:pt x="785958" y="0"/>
                    </a:cubicBezTo>
                    <a:cubicBezTo>
                      <a:pt x="680569" y="43962"/>
                      <a:pt x="566398" y="29894"/>
                      <a:pt x="522485" y="21981"/>
                    </a:cubicBezTo>
                    <a:cubicBezTo>
                      <a:pt x="518094" y="20222"/>
                      <a:pt x="512825" y="19343"/>
                      <a:pt x="508433" y="19343"/>
                    </a:cubicBezTo>
                    <a:cubicBezTo>
                      <a:pt x="504042" y="19343"/>
                      <a:pt x="503164" y="19343"/>
                      <a:pt x="503164" y="19343"/>
                    </a:cubicBezTo>
                    <a:lnTo>
                      <a:pt x="491747" y="22860"/>
                    </a:lnTo>
                    <a:cubicBezTo>
                      <a:pt x="431148" y="36049"/>
                      <a:pt x="260769" y="96715"/>
                      <a:pt x="200170" y="144194"/>
                    </a:cubicBezTo>
                    <a:cubicBezTo>
                      <a:pt x="125520" y="202223"/>
                      <a:pt x="45600" y="465113"/>
                      <a:pt x="4322" y="659423"/>
                    </a:cubicBezTo>
                    <a:cubicBezTo>
                      <a:pt x="-13243" y="743829"/>
                      <a:pt x="23644" y="844941"/>
                      <a:pt x="98294" y="888023"/>
                    </a:cubicBezTo>
                    <a:lnTo>
                      <a:pt x="97416" y="88802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E13D7265-65CD-8A65-5E1D-118441CE8F23}"/>
                  </a:ext>
                </a:extLst>
              </p:cNvPr>
              <p:cNvSpPr/>
              <p:nvPr/>
            </p:nvSpPr>
            <p:spPr>
              <a:xfrm>
                <a:off x="-11912333" y="2136257"/>
                <a:ext cx="421914" cy="572934"/>
              </a:xfrm>
              <a:custGeom>
                <a:avLst/>
                <a:gdLst>
                  <a:gd name="connsiteX0" fmla="*/ 35937 w 421914"/>
                  <a:gd name="connsiteY0" fmla="*/ 108407 h 572934"/>
                  <a:gd name="connsiteX1" fmla="*/ 63163 w 421914"/>
                  <a:gd name="connsiteY1" fmla="*/ 60050 h 572934"/>
                  <a:gd name="connsiteX2" fmla="*/ 173821 w 421914"/>
                  <a:gd name="connsiteY2" fmla="*/ 8175 h 572934"/>
                  <a:gd name="connsiteX3" fmla="*/ 288871 w 421914"/>
                  <a:gd name="connsiteY3" fmla="*/ 21364 h 572934"/>
                  <a:gd name="connsiteX4" fmla="*/ 306436 w 421914"/>
                  <a:gd name="connsiteY4" fmla="*/ 73238 h 572934"/>
                  <a:gd name="connsiteX5" fmla="*/ 367913 w 421914"/>
                  <a:gd name="connsiteY5" fmla="*/ 169074 h 572934"/>
                  <a:gd name="connsiteX6" fmla="*/ 421486 w 421914"/>
                  <a:gd name="connsiteY6" fmla="*/ 229741 h 572934"/>
                  <a:gd name="connsiteX7" fmla="*/ 406556 w 421914"/>
                  <a:gd name="connsiteY7" fmla="*/ 255239 h 572934"/>
                  <a:gd name="connsiteX8" fmla="*/ 407434 w 421914"/>
                  <a:gd name="connsiteY8" fmla="*/ 286012 h 572934"/>
                  <a:gd name="connsiteX9" fmla="*/ 389869 w 421914"/>
                  <a:gd name="connsiteY9" fmla="*/ 307113 h 572934"/>
                  <a:gd name="connsiteX10" fmla="*/ 407434 w 421914"/>
                  <a:gd name="connsiteY10" fmla="*/ 304476 h 572934"/>
                  <a:gd name="connsiteX11" fmla="*/ 407434 w 421914"/>
                  <a:gd name="connsiteY11" fmla="*/ 325577 h 572934"/>
                  <a:gd name="connsiteX12" fmla="*/ 411825 w 421914"/>
                  <a:gd name="connsiteY12" fmla="*/ 375693 h 572934"/>
                  <a:gd name="connsiteX13" fmla="*/ 325757 w 421914"/>
                  <a:gd name="connsiteY13" fmla="*/ 407346 h 572934"/>
                  <a:gd name="connsiteX14" fmla="*/ 309949 w 421914"/>
                  <a:gd name="connsiteY14" fmla="*/ 511974 h 572934"/>
                  <a:gd name="connsiteX15" fmla="*/ 350348 w 421914"/>
                  <a:gd name="connsiteY15" fmla="*/ 533955 h 572934"/>
                  <a:gd name="connsiteX16" fmla="*/ 53502 w 421914"/>
                  <a:gd name="connsiteY16" fmla="*/ 555057 h 572934"/>
                  <a:gd name="connsiteX17" fmla="*/ 103562 w 421914"/>
                  <a:gd name="connsiteY17" fmla="*/ 520767 h 572934"/>
                  <a:gd name="connsiteX18" fmla="*/ 128153 w 421914"/>
                  <a:gd name="connsiteY18" fmla="*/ 395916 h 572934"/>
                  <a:gd name="connsiteX19" fmla="*/ 116736 w 421914"/>
                  <a:gd name="connsiteY19" fmla="*/ 384486 h 572934"/>
                  <a:gd name="connsiteX20" fmla="*/ 49111 w 421914"/>
                  <a:gd name="connsiteY20" fmla="*/ 309751 h 572934"/>
                  <a:gd name="connsiteX21" fmla="*/ 35059 w 421914"/>
                  <a:gd name="connsiteY21" fmla="*/ 108407 h 572934"/>
                  <a:gd name="connsiteX22" fmla="*/ 35059 w 421914"/>
                  <a:gd name="connsiteY22" fmla="*/ 108407 h 57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21914" h="572934">
                    <a:moveTo>
                      <a:pt x="35937" y="108407"/>
                    </a:moveTo>
                    <a:cubicBezTo>
                      <a:pt x="41207" y="90823"/>
                      <a:pt x="49989" y="74117"/>
                      <a:pt x="63163" y="60050"/>
                    </a:cubicBezTo>
                    <a:cubicBezTo>
                      <a:pt x="102684" y="16967"/>
                      <a:pt x="173821" y="8175"/>
                      <a:pt x="173821" y="8175"/>
                    </a:cubicBezTo>
                    <a:cubicBezTo>
                      <a:pt x="239689" y="-11168"/>
                      <a:pt x="266037" y="8175"/>
                      <a:pt x="288871" y="21364"/>
                    </a:cubicBezTo>
                    <a:cubicBezTo>
                      <a:pt x="330148" y="47740"/>
                      <a:pt x="312584" y="67084"/>
                      <a:pt x="306436" y="73238"/>
                    </a:cubicBezTo>
                    <a:cubicBezTo>
                      <a:pt x="314340" y="79393"/>
                      <a:pt x="370548" y="126871"/>
                      <a:pt x="367913" y="169074"/>
                    </a:cubicBezTo>
                    <a:cubicBezTo>
                      <a:pt x="367913" y="181383"/>
                      <a:pt x="421486" y="229741"/>
                      <a:pt x="421486" y="229741"/>
                    </a:cubicBezTo>
                    <a:cubicBezTo>
                      <a:pt x="421486" y="229741"/>
                      <a:pt x="425877" y="247326"/>
                      <a:pt x="406556" y="255239"/>
                    </a:cubicBezTo>
                    <a:cubicBezTo>
                      <a:pt x="388112" y="263152"/>
                      <a:pt x="407434" y="286012"/>
                      <a:pt x="407434" y="286012"/>
                    </a:cubicBezTo>
                    <a:cubicBezTo>
                      <a:pt x="407434" y="286012"/>
                      <a:pt x="417094" y="298321"/>
                      <a:pt x="389869" y="307113"/>
                    </a:cubicBezTo>
                    <a:cubicBezTo>
                      <a:pt x="383721" y="308872"/>
                      <a:pt x="402164" y="302717"/>
                      <a:pt x="407434" y="304476"/>
                    </a:cubicBezTo>
                    <a:cubicBezTo>
                      <a:pt x="407434" y="304476"/>
                      <a:pt x="413582" y="315027"/>
                      <a:pt x="407434" y="325577"/>
                    </a:cubicBezTo>
                    <a:cubicBezTo>
                      <a:pt x="401286" y="335249"/>
                      <a:pt x="415338" y="364263"/>
                      <a:pt x="411825" y="375693"/>
                    </a:cubicBezTo>
                    <a:cubicBezTo>
                      <a:pt x="407434" y="392399"/>
                      <a:pt x="360009" y="402070"/>
                      <a:pt x="325757" y="407346"/>
                    </a:cubicBezTo>
                    <a:lnTo>
                      <a:pt x="309949" y="511974"/>
                    </a:lnTo>
                    <a:cubicBezTo>
                      <a:pt x="324879" y="531317"/>
                      <a:pt x="350348" y="533955"/>
                      <a:pt x="350348" y="533955"/>
                    </a:cubicBezTo>
                    <a:cubicBezTo>
                      <a:pt x="264280" y="606931"/>
                      <a:pt x="53502" y="555057"/>
                      <a:pt x="53502" y="555057"/>
                    </a:cubicBezTo>
                    <a:cubicBezTo>
                      <a:pt x="85119" y="548902"/>
                      <a:pt x="98292" y="530438"/>
                      <a:pt x="103562" y="520767"/>
                    </a:cubicBezTo>
                    <a:lnTo>
                      <a:pt x="128153" y="395916"/>
                    </a:lnTo>
                    <a:cubicBezTo>
                      <a:pt x="124640" y="395916"/>
                      <a:pt x="120248" y="391520"/>
                      <a:pt x="116736" y="384486"/>
                    </a:cubicBezTo>
                    <a:cubicBezTo>
                      <a:pt x="109710" y="370418"/>
                      <a:pt x="85997" y="340524"/>
                      <a:pt x="49111" y="309751"/>
                    </a:cubicBezTo>
                    <a:cubicBezTo>
                      <a:pt x="-71" y="268427"/>
                      <a:pt x="-24662" y="198089"/>
                      <a:pt x="35059" y="108407"/>
                    </a:cubicBezTo>
                    <a:lnTo>
                      <a:pt x="35059" y="10840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724238E0-8980-B45D-13AC-6EACCA7948F1}"/>
                  </a:ext>
                </a:extLst>
              </p:cNvPr>
              <p:cNvSpPr/>
              <p:nvPr/>
            </p:nvSpPr>
            <p:spPr>
              <a:xfrm>
                <a:off x="-11908820" y="2136257"/>
                <a:ext cx="419414" cy="414617"/>
              </a:xfrm>
              <a:custGeom>
                <a:avLst/>
                <a:gdLst>
                  <a:gd name="connsiteX0" fmla="*/ 32424 w 419414"/>
                  <a:gd name="connsiteY0" fmla="*/ 108407 h 414617"/>
                  <a:gd name="connsiteX1" fmla="*/ 59650 w 419414"/>
                  <a:gd name="connsiteY1" fmla="*/ 60050 h 414617"/>
                  <a:gd name="connsiteX2" fmla="*/ 170308 w 419414"/>
                  <a:gd name="connsiteY2" fmla="*/ 8175 h 414617"/>
                  <a:gd name="connsiteX3" fmla="*/ 285358 w 419414"/>
                  <a:gd name="connsiteY3" fmla="*/ 21364 h 414617"/>
                  <a:gd name="connsiteX4" fmla="*/ 302923 w 419414"/>
                  <a:gd name="connsiteY4" fmla="*/ 73238 h 414617"/>
                  <a:gd name="connsiteX5" fmla="*/ 302923 w 419414"/>
                  <a:gd name="connsiteY5" fmla="*/ 73238 h 414617"/>
                  <a:gd name="connsiteX6" fmla="*/ 249350 w 419414"/>
                  <a:gd name="connsiteY6" fmla="*/ 122475 h 414617"/>
                  <a:gd name="connsiteX7" fmla="*/ 217733 w 419414"/>
                  <a:gd name="connsiteY7" fmla="*/ 223587 h 414617"/>
                  <a:gd name="connsiteX8" fmla="*/ 325757 w 419414"/>
                  <a:gd name="connsiteY8" fmla="*/ 344920 h 414617"/>
                  <a:gd name="connsiteX9" fmla="*/ 339809 w 419414"/>
                  <a:gd name="connsiteY9" fmla="*/ 290408 h 414617"/>
                  <a:gd name="connsiteX10" fmla="*/ 396017 w 419414"/>
                  <a:gd name="connsiteY10" fmla="*/ 261394 h 414617"/>
                  <a:gd name="connsiteX11" fmla="*/ 403043 w 419414"/>
                  <a:gd name="connsiteY11" fmla="*/ 282495 h 414617"/>
                  <a:gd name="connsiteX12" fmla="*/ 361765 w 419414"/>
                  <a:gd name="connsiteY12" fmla="*/ 304476 h 414617"/>
                  <a:gd name="connsiteX13" fmla="*/ 361765 w 419414"/>
                  <a:gd name="connsiteY13" fmla="*/ 355471 h 414617"/>
                  <a:gd name="connsiteX14" fmla="*/ 410069 w 419414"/>
                  <a:gd name="connsiteY14" fmla="*/ 344920 h 414617"/>
                  <a:gd name="connsiteX15" fmla="*/ 413581 w 419414"/>
                  <a:gd name="connsiteY15" fmla="*/ 395916 h 414617"/>
                  <a:gd name="connsiteX16" fmla="*/ 288871 w 419414"/>
                  <a:gd name="connsiteY16" fmla="*/ 403829 h 414617"/>
                  <a:gd name="connsiteX17" fmla="*/ 217733 w 419414"/>
                  <a:gd name="connsiteY17" fmla="*/ 272823 h 414617"/>
                  <a:gd name="connsiteX18" fmla="*/ 210707 w 419414"/>
                  <a:gd name="connsiteY18" fmla="*/ 263152 h 414617"/>
                  <a:gd name="connsiteX19" fmla="*/ 141326 w 419414"/>
                  <a:gd name="connsiteY19" fmla="*/ 311510 h 414617"/>
                  <a:gd name="connsiteX20" fmla="*/ 162404 w 419414"/>
                  <a:gd name="connsiteY20" fmla="*/ 337887 h 414617"/>
                  <a:gd name="connsiteX21" fmla="*/ 142205 w 419414"/>
                  <a:gd name="connsiteY21" fmla="*/ 383607 h 414617"/>
                  <a:gd name="connsiteX22" fmla="*/ 116735 w 419414"/>
                  <a:gd name="connsiteY22" fmla="*/ 385365 h 414617"/>
                  <a:gd name="connsiteX23" fmla="*/ 49111 w 419414"/>
                  <a:gd name="connsiteY23" fmla="*/ 310630 h 414617"/>
                  <a:gd name="connsiteX24" fmla="*/ 35059 w 419414"/>
                  <a:gd name="connsiteY24" fmla="*/ 109287 h 414617"/>
                  <a:gd name="connsiteX25" fmla="*/ 33302 w 419414"/>
                  <a:gd name="connsiteY25" fmla="*/ 109287 h 41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19414" h="414617">
                    <a:moveTo>
                      <a:pt x="32424" y="108407"/>
                    </a:moveTo>
                    <a:cubicBezTo>
                      <a:pt x="37694" y="90823"/>
                      <a:pt x="46476" y="74117"/>
                      <a:pt x="59650" y="60050"/>
                    </a:cubicBezTo>
                    <a:cubicBezTo>
                      <a:pt x="99171" y="16967"/>
                      <a:pt x="170308" y="8175"/>
                      <a:pt x="170308" y="8175"/>
                    </a:cubicBezTo>
                    <a:cubicBezTo>
                      <a:pt x="236176" y="-11168"/>
                      <a:pt x="262524" y="8175"/>
                      <a:pt x="285358" y="21364"/>
                    </a:cubicBezTo>
                    <a:cubicBezTo>
                      <a:pt x="326636" y="47740"/>
                      <a:pt x="309071" y="67084"/>
                      <a:pt x="302923" y="73238"/>
                    </a:cubicBezTo>
                    <a:lnTo>
                      <a:pt x="302923" y="73238"/>
                    </a:lnTo>
                    <a:cubicBezTo>
                      <a:pt x="302923" y="73238"/>
                      <a:pt x="286236" y="107528"/>
                      <a:pt x="249350" y="122475"/>
                    </a:cubicBezTo>
                    <a:cubicBezTo>
                      <a:pt x="170308" y="153248"/>
                      <a:pt x="214220" y="214794"/>
                      <a:pt x="217733" y="223587"/>
                    </a:cubicBezTo>
                    <a:cubicBezTo>
                      <a:pt x="224759" y="240292"/>
                      <a:pt x="287115" y="322060"/>
                      <a:pt x="325757" y="344920"/>
                    </a:cubicBezTo>
                    <a:cubicBezTo>
                      <a:pt x="327514" y="330853"/>
                      <a:pt x="331905" y="303597"/>
                      <a:pt x="339809" y="290408"/>
                    </a:cubicBezTo>
                    <a:cubicBezTo>
                      <a:pt x="352104" y="270186"/>
                      <a:pt x="396017" y="261394"/>
                      <a:pt x="396017" y="261394"/>
                    </a:cubicBezTo>
                    <a:cubicBezTo>
                      <a:pt x="400408" y="266669"/>
                      <a:pt x="403043" y="276340"/>
                      <a:pt x="403043" y="282495"/>
                    </a:cubicBezTo>
                    <a:cubicBezTo>
                      <a:pt x="403043" y="282495"/>
                      <a:pt x="381087" y="278978"/>
                      <a:pt x="361765" y="304476"/>
                    </a:cubicBezTo>
                    <a:cubicBezTo>
                      <a:pt x="354739" y="313268"/>
                      <a:pt x="358252" y="344920"/>
                      <a:pt x="361765" y="355471"/>
                    </a:cubicBezTo>
                    <a:cubicBezTo>
                      <a:pt x="399530" y="351075"/>
                      <a:pt x="410069" y="344920"/>
                      <a:pt x="410069" y="344920"/>
                    </a:cubicBezTo>
                    <a:cubicBezTo>
                      <a:pt x="410069" y="344920"/>
                      <a:pt x="428512" y="379210"/>
                      <a:pt x="413581" y="395916"/>
                    </a:cubicBezTo>
                    <a:cubicBezTo>
                      <a:pt x="397773" y="412621"/>
                      <a:pt x="311705" y="424051"/>
                      <a:pt x="288871" y="403829"/>
                    </a:cubicBezTo>
                    <a:cubicBezTo>
                      <a:pt x="267793" y="385365"/>
                      <a:pt x="226516" y="292167"/>
                      <a:pt x="217733" y="272823"/>
                    </a:cubicBezTo>
                    <a:cubicBezTo>
                      <a:pt x="215977" y="271065"/>
                      <a:pt x="213342" y="268427"/>
                      <a:pt x="210707" y="263152"/>
                    </a:cubicBezTo>
                    <a:cubicBezTo>
                      <a:pt x="168552" y="192813"/>
                      <a:pt x="96536" y="231500"/>
                      <a:pt x="141326" y="311510"/>
                    </a:cubicBezTo>
                    <a:cubicBezTo>
                      <a:pt x="147474" y="322060"/>
                      <a:pt x="154500" y="330853"/>
                      <a:pt x="162404" y="337887"/>
                    </a:cubicBezTo>
                    <a:cubicBezTo>
                      <a:pt x="150987" y="358109"/>
                      <a:pt x="146596" y="373056"/>
                      <a:pt x="142205" y="383607"/>
                    </a:cubicBezTo>
                    <a:cubicBezTo>
                      <a:pt x="135179" y="400312"/>
                      <a:pt x="124640" y="401191"/>
                      <a:pt x="116735" y="385365"/>
                    </a:cubicBezTo>
                    <a:cubicBezTo>
                      <a:pt x="109709" y="371297"/>
                      <a:pt x="85997" y="341403"/>
                      <a:pt x="49111" y="310630"/>
                    </a:cubicBezTo>
                    <a:cubicBezTo>
                      <a:pt x="-71" y="269307"/>
                      <a:pt x="-24662" y="198968"/>
                      <a:pt x="35059" y="109287"/>
                    </a:cubicBezTo>
                    <a:lnTo>
                      <a:pt x="33302" y="109287"/>
                    </a:lnTo>
                    <a:close/>
                  </a:path>
                </a:pathLst>
              </a:custGeom>
              <a:solidFill>
                <a:srgbClr val="4D260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B56B49E-2B4B-E02A-5E8B-026232AB2D64}"/>
                  </a:ext>
                </a:extLst>
              </p:cNvPr>
              <p:cNvSpPr/>
              <p:nvPr/>
            </p:nvSpPr>
            <p:spPr>
              <a:xfrm>
                <a:off x="-11589492" y="5467924"/>
                <a:ext cx="418819" cy="329711"/>
              </a:xfrm>
              <a:custGeom>
                <a:avLst/>
                <a:gdLst>
                  <a:gd name="connsiteX0" fmla="*/ 32777 w 418819"/>
                  <a:gd name="connsiteY0" fmla="*/ 41324 h 329711"/>
                  <a:gd name="connsiteX1" fmla="*/ 6430 w 418819"/>
                  <a:gd name="connsiteY1" fmla="*/ 35169 h 329711"/>
                  <a:gd name="connsiteX2" fmla="*/ 14334 w 418819"/>
                  <a:gd name="connsiteY2" fmla="*/ 151228 h 329711"/>
                  <a:gd name="connsiteX3" fmla="*/ 282 w 418819"/>
                  <a:gd name="connsiteY3" fmla="*/ 277837 h 329711"/>
                  <a:gd name="connsiteX4" fmla="*/ 282 w 418819"/>
                  <a:gd name="connsiteY4" fmla="*/ 329712 h 329711"/>
                  <a:gd name="connsiteX5" fmla="*/ 129384 w 418819"/>
                  <a:gd name="connsiteY5" fmla="*/ 329712 h 329711"/>
                  <a:gd name="connsiteX6" fmla="*/ 138166 w 418819"/>
                  <a:gd name="connsiteY6" fmla="*/ 291025 h 329711"/>
                  <a:gd name="connsiteX7" fmla="*/ 209304 w 418819"/>
                  <a:gd name="connsiteY7" fmla="*/ 329712 h 329711"/>
                  <a:gd name="connsiteX8" fmla="*/ 413934 w 418819"/>
                  <a:gd name="connsiteY8" fmla="*/ 329712 h 329711"/>
                  <a:gd name="connsiteX9" fmla="*/ 418326 w 418819"/>
                  <a:gd name="connsiteY9" fmla="*/ 277837 h 329711"/>
                  <a:gd name="connsiteX10" fmla="*/ 378805 w 418819"/>
                  <a:gd name="connsiteY10" fmla="*/ 211895 h 329711"/>
                  <a:gd name="connsiteX11" fmla="*/ 204913 w 418819"/>
                  <a:gd name="connsiteY11" fmla="*/ 107266 h 329711"/>
                  <a:gd name="connsiteX12" fmla="*/ 179444 w 418819"/>
                  <a:gd name="connsiteY12" fmla="*/ 0 h 329711"/>
                  <a:gd name="connsiteX13" fmla="*/ 102158 w 418819"/>
                  <a:gd name="connsiteY13" fmla="*/ 21981 h 329711"/>
                  <a:gd name="connsiteX14" fmla="*/ 32777 w 418819"/>
                  <a:gd name="connsiteY14" fmla="*/ 41324 h 329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18819" h="329711">
                    <a:moveTo>
                      <a:pt x="32777" y="41324"/>
                    </a:moveTo>
                    <a:cubicBezTo>
                      <a:pt x="32777" y="41324"/>
                      <a:pt x="-4987" y="10551"/>
                      <a:pt x="6430" y="35169"/>
                    </a:cubicBezTo>
                    <a:cubicBezTo>
                      <a:pt x="17847" y="59788"/>
                      <a:pt x="11699" y="137160"/>
                      <a:pt x="14334" y="151228"/>
                    </a:cubicBezTo>
                    <a:cubicBezTo>
                      <a:pt x="14334" y="151228"/>
                      <a:pt x="-2353" y="225962"/>
                      <a:pt x="282" y="277837"/>
                    </a:cubicBezTo>
                    <a:lnTo>
                      <a:pt x="282" y="329712"/>
                    </a:lnTo>
                    <a:lnTo>
                      <a:pt x="129384" y="329712"/>
                    </a:lnTo>
                    <a:lnTo>
                      <a:pt x="138166" y="291025"/>
                    </a:lnTo>
                    <a:cubicBezTo>
                      <a:pt x="138166" y="291025"/>
                      <a:pt x="179444" y="299818"/>
                      <a:pt x="209304" y="329712"/>
                    </a:cubicBezTo>
                    <a:lnTo>
                      <a:pt x="413934" y="329712"/>
                    </a:lnTo>
                    <a:lnTo>
                      <a:pt x="418326" y="277837"/>
                    </a:lnTo>
                    <a:cubicBezTo>
                      <a:pt x="418326" y="277837"/>
                      <a:pt x="426230" y="240030"/>
                      <a:pt x="378805" y="211895"/>
                    </a:cubicBezTo>
                    <a:cubicBezTo>
                      <a:pt x="356849" y="199585"/>
                      <a:pt x="261120" y="201344"/>
                      <a:pt x="204913" y="107266"/>
                    </a:cubicBezTo>
                    <a:cubicBezTo>
                      <a:pt x="166270" y="42203"/>
                      <a:pt x="179444" y="0"/>
                      <a:pt x="179444" y="0"/>
                    </a:cubicBezTo>
                    <a:cubicBezTo>
                      <a:pt x="179444" y="0"/>
                      <a:pt x="116210" y="0"/>
                      <a:pt x="102158" y="21981"/>
                    </a:cubicBezTo>
                    <a:cubicBezTo>
                      <a:pt x="88106" y="43962"/>
                      <a:pt x="32777" y="41324"/>
                      <a:pt x="32777" y="41324"/>
                    </a:cubicBez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B00B5C8F-3719-FF2E-0BD2-F79CA49F25EE}"/>
                  </a:ext>
                </a:extLst>
              </p:cNvPr>
              <p:cNvSpPr/>
              <p:nvPr/>
            </p:nvSpPr>
            <p:spPr>
              <a:xfrm>
                <a:off x="-12205541" y="5475665"/>
                <a:ext cx="265034" cy="329937"/>
              </a:xfrm>
              <a:custGeom>
                <a:avLst/>
                <a:gdLst>
                  <a:gd name="connsiteX0" fmla="*/ 108707 w 265034"/>
                  <a:gd name="connsiteY0" fmla="*/ 44133 h 329937"/>
                  <a:gd name="connsiteX1" fmla="*/ 55134 w 265034"/>
                  <a:gd name="connsiteY1" fmla="*/ 160192 h 329937"/>
                  <a:gd name="connsiteX2" fmla="*/ 1561 w 265034"/>
                  <a:gd name="connsiteY2" fmla="*/ 241081 h 329937"/>
                  <a:gd name="connsiteX3" fmla="*/ 1561 w 265034"/>
                  <a:gd name="connsiteY3" fmla="*/ 317574 h 329937"/>
                  <a:gd name="connsiteX4" fmla="*/ 245713 w 265034"/>
                  <a:gd name="connsiteY4" fmla="*/ 294714 h 329937"/>
                  <a:gd name="connsiteX5" fmla="*/ 263278 w 265034"/>
                  <a:gd name="connsiteY5" fmla="*/ 154037 h 329937"/>
                  <a:gd name="connsiteX6" fmla="*/ 265034 w 265034"/>
                  <a:gd name="connsiteY6" fmla="*/ 10723 h 329937"/>
                  <a:gd name="connsiteX7" fmla="*/ 125393 w 265034"/>
                  <a:gd name="connsiteY7" fmla="*/ 172 h 329937"/>
                  <a:gd name="connsiteX8" fmla="*/ 108707 w 265034"/>
                  <a:gd name="connsiteY8" fmla="*/ 44133 h 329937"/>
                  <a:gd name="connsiteX9" fmla="*/ 109585 w 265034"/>
                  <a:gd name="connsiteY9" fmla="*/ 44133 h 329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5034" h="329937">
                    <a:moveTo>
                      <a:pt x="108707" y="44133"/>
                    </a:moveTo>
                    <a:cubicBezTo>
                      <a:pt x="108707" y="44133"/>
                      <a:pt x="103437" y="117989"/>
                      <a:pt x="55134" y="160192"/>
                    </a:cubicBezTo>
                    <a:cubicBezTo>
                      <a:pt x="55134" y="160192"/>
                      <a:pt x="5074" y="192723"/>
                      <a:pt x="1561" y="241081"/>
                    </a:cubicBezTo>
                    <a:cubicBezTo>
                      <a:pt x="-1952" y="283284"/>
                      <a:pt x="1561" y="317574"/>
                      <a:pt x="1561" y="317574"/>
                    </a:cubicBezTo>
                    <a:cubicBezTo>
                      <a:pt x="1561" y="317574"/>
                      <a:pt x="200922" y="357140"/>
                      <a:pt x="245713" y="294714"/>
                    </a:cubicBezTo>
                    <a:cubicBezTo>
                      <a:pt x="245713" y="294714"/>
                      <a:pt x="268547" y="204154"/>
                      <a:pt x="263278" y="154037"/>
                    </a:cubicBezTo>
                    <a:cubicBezTo>
                      <a:pt x="258008" y="103921"/>
                      <a:pt x="265034" y="10723"/>
                      <a:pt x="265034" y="10723"/>
                    </a:cubicBezTo>
                    <a:cubicBezTo>
                      <a:pt x="265034" y="10723"/>
                      <a:pt x="133298" y="-1586"/>
                      <a:pt x="125393" y="172"/>
                    </a:cubicBezTo>
                    <a:cubicBezTo>
                      <a:pt x="118368" y="1930"/>
                      <a:pt x="108707" y="44133"/>
                      <a:pt x="108707" y="44133"/>
                    </a:cubicBezTo>
                    <a:lnTo>
                      <a:pt x="109585" y="44133"/>
                    </a:ln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307ED452-A366-C214-D2BB-444760E4E00F}"/>
                  </a:ext>
                </a:extLst>
              </p:cNvPr>
              <p:cNvSpPr/>
              <p:nvPr/>
            </p:nvSpPr>
            <p:spPr>
              <a:xfrm>
                <a:off x="-12144260" y="2715053"/>
                <a:ext cx="329838" cy="862525"/>
              </a:xfrm>
              <a:custGeom>
                <a:avLst/>
                <a:gdLst>
                  <a:gd name="connsiteX0" fmla="*/ 103633 w 329838"/>
                  <a:gd name="connsiteY0" fmla="*/ 31652 h 862525"/>
                  <a:gd name="connsiteX1" fmla="*/ 189700 w 329838"/>
                  <a:gd name="connsiteY1" fmla="*/ 0 h 862525"/>
                  <a:gd name="connsiteX2" fmla="*/ 305628 w 329838"/>
                  <a:gd name="connsiteY2" fmla="*/ 504678 h 862525"/>
                  <a:gd name="connsiteX3" fmla="*/ 0 w 329838"/>
                  <a:gd name="connsiteY3" fmla="*/ 862525 h 862525"/>
                  <a:gd name="connsiteX4" fmla="*/ 103633 w 329838"/>
                  <a:gd name="connsiteY4" fmla="*/ 31652 h 86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838" h="862525">
                    <a:moveTo>
                      <a:pt x="103633" y="31652"/>
                    </a:moveTo>
                    <a:lnTo>
                      <a:pt x="189700" y="0"/>
                    </a:lnTo>
                    <a:cubicBezTo>
                      <a:pt x="189700" y="0"/>
                      <a:pt x="399600" y="269924"/>
                      <a:pt x="305628" y="504678"/>
                    </a:cubicBezTo>
                    <a:cubicBezTo>
                      <a:pt x="211656" y="740312"/>
                      <a:pt x="0" y="862525"/>
                      <a:pt x="0" y="862525"/>
                    </a:cubicBezTo>
                    <a:cubicBezTo>
                      <a:pt x="0" y="862525"/>
                      <a:pt x="454051" y="622495"/>
                      <a:pt x="103633" y="316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29947BE-6071-499B-ED54-7F015B437BEC}"/>
                  </a:ext>
                </a:extLst>
              </p:cNvPr>
              <p:cNvSpPr/>
              <p:nvPr/>
            </p:nvSpPr>
            <p:spPr>
              <a:xfrm>
                <a:off x="-12175876" y="2827120"/>
                <a:ext cx="360797" cy="516625"/>
              </a:xfrm>
              <a:custGeom>
                <a:avLst/>
                <a:gdLst>
                  <a:gd name="connsiteX0" fmla="*/ 302994 w 360797"/>
                  <a:gd name="connsiteY0" fmla="*/ 35643 h 516625"/>
                  <a:gd name="connsiteX1" fmla="*/ 319680 w 360797"/>
                  <a:gd name="connsiteY1" fmla="*/ 8387 h 516625"/>
                  <a:gd name="connsiteX2" fmla="*/ 288942 w 360797"/>
                  <a:gd name="connsiteY2" fmla="*/ 3991 h 516625"/>
                  <a:gd name="connsiteX3" fmla="*/ 214291 w 360797"/>
                  <a:gd name="connsiteY3" fmla="*/ 47073 h 516625"/>
                  <a:gd name="connsiteX4" fmla="*/ 189700 w 360797"/>
                  <a:gd name="connsiteY4" fmla="*/ 149064 h 516625"/>
                  <a:gd name="connsiteX5" fmla="*/ 194970 w 360797"/>
                  <a:gd name="connsiteY5" fmla="*/ 210610 h 516625"/>
                  <a:gd name="connsiteX6" fmla="*/ 0 w 360797"/>
                  <a:gd name="connsiteY6" fmla="*/ 415471 h 516625"/>
                  <a:gd name="connsiteX7" fmla="*/ 132615 w 360797"/>
                  <a:gd name="connsiteY7" fmla="*/ 514824 h 516625"/>
                  <a:gd name="connsiteX8" fmla="*/ 262594 w 360797"/>
                  <a:gd name="connsiteY8" fmla="*/ 328427 h 516625"/>
                  <a:gd name="connsiteX9" fmla="*/ 286307 w 360797"/>
                  <a:gd name="connsiteY9" fmla="*/ 224678 h 516625"/>
                  <a:gd name="connsiteX10" fmla="*/ 309141 w 360797"/>
                  <a:gd name="connsiteY10" fmla="*/ 186871 h 516625"/>
                  <a:gd name="connsiteX11" fmla="*/ 355688 w 360797"/>
                  <a:gd name="connsiteY11" fmla="*/ 127083 h 516625"/>
                  <a:gd name="connsiteX12" fmla="*/ 339880 w 360797"/>
                  <a:gd name="connsiteY12" fmla="*/ 98069 h 516625"/>
                  <a:gd name="connsiteX13" fmla="*/ 279281 w 360797"/>
                  <a:gd name="connsiteY13" fmla="*/ 153460 h 516625"/>
                  <a:gd name="connsiteX14" fmla="*/ 346028 w 360797"/>
                  <a:gd name="connsiteY14" fmla="*/ 91914 h 516625"/>
                  <a:gd name="connsiteX15" fmla="*/ 335489 w 360797"/>
                  <a:gd name="connsiteY15" fmla="*/ 61141 h 516625"/>
                  <a:gd name="connsiteX16" fmla="*/ 262594 w 360797"/>
                  <a:gd name="connsiteY16" fmla="*/ 113016 h 516625"/>
                  <a:gd name="connsiteX17" fmla="*/ 329341 w 360797"/>
                  <a:gd name="connsiteY17" fmla="*/ 56745 h 516625"/>
                  <a:gd name="connsiteX18" fmla="*/ 302115 w 360797"/>
                  <a:gd name="connsiteY18" fmla="*/ 35643 h 516625"/>
                  <a:gd name="connsiteX19" fmla="*/ 247664 w 360797"/>
                  <a:gd name="connsiteY19" fmla="*/ 73450 h 516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60797" h="516625">
                    <a:moveTo>
                      <a:pt x="302994" y="35643"/>
                    </a:moveTo>
                    <a:cubicBezTo>
                      <a:pt x="302994" y="35643"/>
                      <a:pt x="328463" y="24213"/>
                      <a:pt x="319680" y="8387"/>
                    </a:cubicBezTo>
                    <a:cubicBezTo>
                      <a:pt x="311776" y="-7439"/>
                      <a:pt x="288942" y="3991"/>
                      <a:pt x="288942" y="3991"/>
                    </a:cubicBezTo>
                    <a:cubicBezTo>
                      <a:pt x="288942" y="3991"/>
                      <a:pt x="230978" y="35643"/>
                      <a:pt x="214291" y="47073"/>
                    </a:cubicBezTo>
                    <a:cubicBezTo>
                      <a:pt x="197605" y="58503"/>
                      <a:pt x="180918" y="84880"/>
                      <a:pt x="189700" y="149064"/>
                    </a:cubicBezTo>
                    <a:cubicBezTo>
                      <a:pt x="191457" y="180716"/>
                      <a:pt x="194970" y="210610"/>
                      <a:pt x="194970" y="210610"/>
                    </a:cubicBezTo>
                    <a:cubicBezTo>
                      <a:pt x="194970" y="232591"/>
                      <a:pt x="0" y="415471"/>
                      <a:pt x="0" y="415471"/>
                    </a:cubicBezTo>
                    <a:cubicBezTo>
                      <a:pt x="0" y="415471"/>
                      <a:pt x="26347" y="532409"/>
                      <a:pt x="132615" y="514824"/>
                    </a:cubicBezTo>
                    <a:lnTo>
                      <a:pt x="262594" y="328427"/>
                    </a:lnTo>
                    <a:cubicBezTo>
                      <a:pt x="283672" y="294137"/>
                      <a:pt x="285429" y="263364"/>
                      <a:pt x="286307" y="224678"/>
                    </a:cubicBezTo>
                    <a:cubicBezTo>
                      <a:pt x="290698" y="207973"/>
                      <a:pt x="304750" y="193026"/>
                      <a:pt x="309141" y="186871"/>
                    </a:cubicBezTo>
                    <a:cubicBezTo>
                      <a:pt x="309141" y="186871"/>
                      <a:pt x="344271" y="140272"/>
                      <a:pt x="355688" y="127083"/>
                    </a:cubicBezTo>
                    <a:cubicBezTo>
                      <a:pt x="367105" y="113895"/>
                      <a:pt x="358323" y="89276"/>
                      <a:pt x="339880" y="98069"/>
                    </a:cubicBezTo>
                    <a:cubicBezTo>
                      <a:pt x="329341" y="103344"/>
                      <a:pt x="279281" y="153460"/>
                      <a:pt x="279281" y="153460"/>
                    </a:cubicBezTo>
                    <a:lnTo>
                      <a:pt x="346028" y="91914"/>
                    </a:lnTo>
                    <a:cubicBezTo>
                      <a:pt x="353053" y="85759"/>
                      <a:pt x="352175" y="55866"/>
                      <a:pt x="335489" y="61141"/>
                    </a:cubicBezTo>
                    <a:cubicBezTo>
                      <a:pt x="324071" y="64658"/>
                      <a:pt x="262594" y="113016"/>
                      <a:pt x="262594" y="113016"/>
                    </a:cubicBezTo>
                    <a:lnTo>
                      <a:pt x="329341" y="56745"/>
                    </a:lnTo>
                    <a:cubicBezTo>
                      <a:pt x="339880" y="45315"/>
                      <a:pt x="329341" y="18059"/>
                      <a:pt x="302115" y="35643"/>
                    </a:cubicBezTo>
                    <a:cubicBezTo>
                      <a:pt x="274890" y="53228"/>
                      <a:pt x="272255" y="53228"/>
                      <a:pt x="247664" y="73450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1677C6ED-74ED-B71C-DD88-E31E60837823}"/>
                  </a:ext>
                </a:extLst>
              </p:cNvPr>
              <p:cNvSpPr/>
              <p:nvPr/>
            </p:nvSpPr>
            <p:spPr>
              <a:xfrm>
                <a:off x="-11478552" y="3895859"/>
                <a:ext cx="167744" cy="84406"/>
              </a:xfrm>
              <a:custGeom>
                <a:avLst/>
                <a:gdLst>
                  <a:gd name="connsiteX0" fmla="*/ 123832 w 167744"/>
                  <a:gd name="connsiteY0" fmla="*/ 84406 h 84406"/>
                  <a:gd name="connsiteX1" fmla="*/ 167744 w 167744"/>
                  <a:gd name="connsiteY1" fmla="*/ 21981 h 84406"/>
                  <a:gd name="connsiteX2" fmla="*/ 62355 w 167744"/>
                  <a:gd name="connsiteY2" fmla="*/ 0 h 84406"/>
                  <a:gd name="connsiteX3" fmla="*/ 0 w 167744"/>
                  <a:gd name="connsiteY3" fmla="*/ 2638 h 84406"/>
                  <a:gd name="connsiteX4" fmla="*/ 123832 w 167744"/>
                  <a:gd name="connsiteY4" fmla="*/ 83527 h 84406"/>
                  <a:gd name="connsiteX5" fmla="*/ 123832 w 167744"/>
                  <a:gd name="connsiteY5" fmla="*/ 83527 h 8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744" h="84406">
                    <a:moveTo>
                      <a:pt x="123832" y="84406"/>
                    </a:moveTo>
                    <a:lnTo>
                      <a:pt x="167744" y="21981"/>
                    </a:lnTo>
                    <a:lnTo>
                      <a:pt x="62355" y="0"/>
                    </a:lnTo>
                    <a:cubicBezTo>
                      <a:pt x="62355" y="0"/>
                      <a:pt x="26347" y="2638"/>
                      <a:pt x="0" y="2638"/>
                    </a:cubicBezTo>
                    <a:cubicBezTo>
                      <a:pt x="50938" y="60667"/>
                      <a:pt x="123832" y="83527"/>
                      <a:pt x="123832" y="83527"/>
                    </a:cubicBezTo>
                    <a:lnTo>
                      <a:pt x="123832" y="8352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5399889D-4ABE-A104-9C74-6C76977C2058}"/>
                </a:ext>
              </a:extLst>
            </p:cNvPr>
            <p:cNvSpPr/>
            <p:nvPr/>
          </p:nvSpPr>
          <p:spPr>
            <a:xfrm>
              <a:off x="-11431157" y="3442176"/>
              <a:ext cx="73802" cy="454562"/>
            </a:xfrm>
            <a:custGeom>
              <a:avLst/>
              <a:gdLst>
                <a:gd name="connsiteX0" fmla="*/ 14960 w 73802"/>
                <a:gd name="connsiteY0" fmla="*/ 454562 h 454562"/>
                <a:gd name="connsiteX1" fmla="*/ 30 w 73802"/>
                <a:gd name="connsiteY1" fmla="*/ 398291 h 454562"/>
                <a:gd name="connsiteX2" fmla="*/ 73802 w 73802"/>
                <a:gd name="connsiteY2" fmla="*/ 0 h 45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802" h="454562">
                  <a:moveTo>
                    <a:pt x="14960" y="454562"/>
                  </a:moveTo>
                  <a:cubicBezTo>
                    <a:pt x="30" y="437857"/>
                    <a:pt x="30" y="430823"/>
                    <a:pt x="30" y="398291"/>
                  </a:cubicBezTo>
                  <a:cubicBezTo>
                    <a:pt x="-1726" y="251460"/>
                    <a:pt x="73802" y="134522"/>
                    <a:pt x="73802" y="0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8A87C95-C1B8-F74B-A894-7052D4E0E3C5}"/>
                </a:ext>
              </a:extLst>
            </p:cNvPr>
            <p:cNvSpPr/>
            <p:nvPr/>
          </p:nvSpPr>
          <p:spPr>
            <a:xfrm>
              <a:off x="-12279509" y="3211427"/>
              <a:ext cx="132614" cy="54023"/>
            </a:xfrm>
            <a:custGeom>
              <a:avLst/>
              <a:gdLst>
                <a:gd name="connsiteX0" fmla="*/ 132615 w 132614"/>
                <a:gd name="connsiteY0" fmla="*/ 3908 h 54023"/>
                <a:gd name="connsiteX1" fmla="*/ 92215 w 132614"/>
                <a:gd name="connsiteY1" fmla="*/ 3908 h 54023"/>
                <a:gd name="connsiteX2" fmla="*/ 0 w 132614"/>
                <a:gd name="connsiteY2" fmla="*/ 54024 h 54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2614" h="54023">
                  <a:moveTo>
                    <a:pt x="132615" y="3908"/>
                  </a:moveTo>
                  <a:cubicBezTo>
                    <a:pt x="132615" y="3908"/>
                    <a:pt x="118563" y="-4885"/>
                    <a:pt x="92215" y="3908"/>
                  </a:cubicBezTo>
                  <a:cubicBezTo>
                    <a:pt x="74651" y="9183"/>
                    <a:pt x="0" y="54024"/>
                    <a:pt x="0" y="54024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5604761-EAD5-20C4-9BF0-3CB5FFF3C7D1}"/>
                </a:ext>
              </a:extLst>
            </p:cNvPr>
            <p:cNvSpPr/>
            <p:nvPr/>
          </p:nvSpPr>
          <p:spPr>
            <a:xfrm>
              <a:off x="-12031845" y="3319084"/>
              <a:ext cx="21923" cy="111662"/>
            </a:xfrm>
            <a:custGeom>
              <a:avLst/>
              <a:gdLst>
                <a:gd name="connsiteX0" fmla="*/ 5270 w 21923"/>
                <a:gd name="connsiteY0" fmla="*/ 0 h 111662"/>
                <a:gd name="connsiteX1" fmla="*/ 21078 w 21923"/>
                <a:gd name="connsiteY1" fmla="*/ 50116 h 111662"/>
                <a:gd name="connsiteX2" fmla="*/ 0 w 21923"/>
                <a:gd name="connsiteY2" fmla="*/ 111662 h 11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23" h="111662">
                  <a:moveTo>
                    <a:pt x="5270" y="0"/>
                  </a:moveTo>
                  <a:cubicBezTo>
                    <a:pt x="5270" y="0"/>
                    <a:pt x="26347" y="28135"/>
                    <a:pt x="21078" y="50116"/>
                  </a:cubicBezTo>
                  <a:cubicBezTo>
                    <a:pt x="15808" y="72976"/>
                    <a:pt x="0" y="111662"/>
                    <a:pt x="0" y="11166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aphic 6">
            <a:extLst>
              <a:ext uri="{FF2B5EF4-FFF2-40B4-BE49-F238E27FC236}">
                <a16:creationId xmlns:a16="http://schemas.microsoft.com/office/drawing/2014/main" id="{3CA7EC87-FF3E-BEC8-FC77-3F3ABB62EE10}"/>
              </a:ext>
            </a:extLst>
          </p:cNvPr>
          <p:cNvGrpSpPr/>
          <p:nvPr/>
        </p:nvGrpSpPr>
        <p:grpSpPr>
          <a:xfrm>
            <a:off x="-13480067" y="1704817"/>
            <a:ext cx="6848491" cy="4096335"/>
            <a:chOff x="-13480067" y="1704817"/>
            <a:chExt cx="6848491" cy="4096335"/>
          </a:xfrm>
        </p:grpSpPr>
        <p:grpSp>
          <p:nvGrpSpPr>
            <p:cNvPr id="28" name="Graphic 6">
              <a:extLst>
                <a:ext uri="{FF2B5EF4-FFF2-40B4-BE49-F238E27FC236}">
                  <a16:creationId xmlns:a16="http://schemas.microsoft.com/office/drawing/2014/main" id="{87C8F1F2-22A1-EFB7-8759-C80042903FF1}"/>
                </a:ext>
              </a:extLst>
            </p:cNvPr>
            <p:cNvGrpSpPr/>
            <p:nvPr/>
          </p:nvGrpSpPr>
          <p:grpSpPr>
            <a:xfrm>
              <a:off x="-11320983" y="2416072"/>
              <a:ext cx="2648676" cy="3385079"/>
              <a:chOff x="-11320983" y="2416072"/>
              <a:chExt cx="2648676" cy="3385079"/>
            </a:xfrm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2192FDD5-8B07-E830-CF59-290113EA5574}"/>
                  </a:ext>
                </a:extLst>
              </p:cNvPr>
              <p:cNvSpPr/>
              <p:nvPr/>
            </p:nvSpPr>
            <p:spPr>
              <a:xfrm>
                <a:off x="-11054367" y="2416072"/>
                <a:ext cx="548029" cy="562749"/>
              </a:xfrm>
              <a:custGeom>
                <a:avLst/>
                <a:gdLst>
                  <a:gd name="connsiteX0" fmla="*/ 498848 w 548029"/>
                  <a:gd name="connsiteY0" fmla="*/ 203144 h 562749"/>
                  <a:gd name="connsiteX1" fmla="*/ 468109 w 548029"/>
                  <a:gd name="connsiteY1" fmla="*/ 58950 h 562749"/>
                  <a:gd name="connsiteX2" fmla="*/ 364477 w 548029"/>
                  <a:gd name="connsiteY2" fmla="*/ 7075 h 562749"/>
                  <a:gd name="connsiteX3" fmla="*/ 335495 w 548029"/>
                  <a:gd name="connsiteY3" fmla="*/ 1800 h 562749"/>
                  <a:gd name="connsiteX4" fmla="*/ 277531 w 548029"/>
                  <a:gd name="connsiteY4" fmla="*/ 3559 h 562749"/>
                  <a:gd name="connsiteX5" fmla="*/ 164237 w 548029"/>
                  <a:gd name="connsiteY5" fmla="*/ 77414 h 562749"/>
                  <a:gd name="connsiteX6" fmla="*/ 6 w 548029"/>
                  <a:gd name="connsiteY6" fmla="*/ 562749 h 562749"/>
                  <a:gd name="connsiteX7" fmla="*/ 289826 w 548029"/>
                  <a:gd name="connsiteY7" fmla="*/ 562749 h 562749"/>
                  <a:gd name="connsiteX8" fmla="*/ 272261 w 548029"/>
                  <a:gd name="connsiteY8" fmla="*/ 490652 h 562749"/>
                  <a:gd name="connsiteX9" fmla="*/ 403120 w 548029"/>
                  <a:gd name="connsiteY9" fmla="*/ 492411 h 562749"/>
                  <a:gd name="connsiteX10" fmla="*/ 548030 w 548029"/>
                  <a:gd name="connsiteY10" fmla="*/ 524063 h 562749"/>
                  <a:gd name="connsiteX11" fmla="*/ 498848 w 548029"/>
                  <a:gd name="connsiteY11" fmla="*/ 203144 h 562749"/>
                  <a:gd name="connsiteX12" fmla="*/ 498848 w 548029"/>
                  <a:gd name="connsiteY12" fmla="*/ 203144 h 56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8029" h="562749">
                    <a:moveTo>
                      <a:pt x="498848" y="203144"/>
                    </a:moveTo>
                    <a:cubicBezTo>
                      <a:pt x="504996" y="163579"/>
                      <a:pt x="507630" y="93240"/>
                      <a:pt x="468109" y="58950"/>
                    </a:cubicBezTo>
                    <a:cubicBezTo>
                      <a:pt x="426832" y="22902"/>
                      <a:pt x="384676" y="10592"/>
                      <a:pt x="364477" y="7075"/>
                    </a:cubicBezTo>
                    <a:cubicBezTo>
                      <a:pt x="354816" y="4438"/>
                      <a:pt x="345155" y="2679"/>
                      <a:pt x="335495" y="1800"/>
                    </a:cubicBezTo>
                    <a:cubicBezTo>
                      <a:pt x="317052" y="-838"/>
                      <a:pt x="296852" y="-838"/>
                      <a:pt x="277531" y="3559"/>
                    </a:cubicBezTo>
                    <a:cubicBezTo>
                      <a:pt x="231862" y="11472"/>
                      <a:pt x="190585" y="36090"/>
                      <a:pt x="164237" y="77414"/>
                    </a:cubicBezTo>
                    <a:cubicBezTo>
                      <a:pt x="91343" y="189955"/>
                      <a:pt x="-872" y="451087"/>
                      <a:pt x="6" y="562749"/>
                    </a:cubicBezTo>
                    <a:lnTo>
                      <a:pt x="289826" y="562749"/>
                    </a:lnTo>
                    <a:cubicBezTo>
                      <a:pt x="278409" y="546923"/>
                      <a:pt x="274018" y="521425"/>
                      <a:pt x="272261" y="490652"/>
                    </a:cubicBezTo>
                    <a:cubicBezTo>
                      <a:pt x="337251" y="494169"/>
                      <a:pt x="397850" y="490652"/>
                      <a:pt x="403120" y="492411"/>
                    </a:cubicBezTo>
                    <a:cubicBezTo>
                      <a:pt x="456692" y="501203"/>
                      <a:pt x="544517" y="537252"/>
                      <a:pt x="548030" y="524063"/>
                    </a:cubicBezTo>
                    <a:cubicBezTo>
                      <a:pt x="505874" y="412401"/>
                      <a:pt x="512900" y="300739"/>
                      <a:pt x="498848" y="203144"/>
                    </a:cubicBezTo>
                    <a:lnTo>
                      <a:pt x="498848" y="203144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69D8ACA1-1DC9-3C2A-FBB5-068882EB8000}"/>
                  </a:ext>
                </a:extLst>
              </p:cNvPr>
              <p:cNvSpPr/>
              <p:nvPr/>
            </p:nvSpPr>
            <p:spPr>
              <a:xfrm>
                <a:off x="-10853243" y="2453042"/>
                <a:ext cx="330414" cy="535451"/>
              </a:xfrm>
              <a:custGeom>
                <a:avLst/>
                <a:gdLst>
                  <a:gd name="connsiteX0" fmla="*/ 328463 w 330414"/>
                  <a:gd name="connsiteY0" fmla="*/ 203982 h 535451"/>
                  <a:gd name="connsiteX1" fmla="*/ 328463 w 330414"/>
                  <a:gd name="connsiteY1" fmla="*/ 189035 h 535451"/>
                  <a:gd name="connsiteX2" fmla="*/ 288942 w 330414"/>
                  <a:gd name="connsiteY2" fmla="*/ 144194 h 535451"/>
                  <a:gd name="connsiteX3" fmla="*/ 287185 w 330414"/>
                  <a:gd name="connsiteY3" fmla="*/ 138918 h 535451"/>
                  <a:gd name="connsiteX4" fmla="*/ 229221 w 330414"/>
                  <a:gd name="connsiteY4" fmla="*/ 22860 h 535451"/>
                  <a:gd name="connsiteX5" fmla="*/ 193213 w 330414"/>
                  <a:gd name="connsiteY5" fmla="*/ 0 h 535451"/>
                  <a:gd name="connsiteX6" fmla="*/ 188822 w 330414"/>
                  <a:gd name="connsiteY6" fmla="*/ 1759 h 535451"/>
                  <a:gd name="connsiteX7" fmla="*/ 143153 w 330414"/>
                  <a:gd name="connsiteY7" fmla="*/ 187276 h 535451"/>
                  <a:gd name="connsiteX8" fmla="*/ 90459 w 330414"/>
                  <a:gd name="connsiteY8" fmla="*/ 154745 h 535451"/>
                  <a:gd name="connsiteX9" fmla="*/ 87824 w 330414"/>
                  <a:gd name="connsiteY9" fmla="*/ 243547 h 535451"/>
                  <a:gd name="connsiteX10" fmla="*/ 92215 w 330414"/>
                  <a:gd name="connsiteY10" fmla="*/ 248822 h 535451"/>
                  <a:gd name="connsiteX11" fmla="*/ 0 w 330414"/>
                  <a:gd name="connsiteY11" fmla="*/ 451925 h 535451"/>
                  <a:gd name="connsiteX12" fmla="*/ 191457 w 330414"/>
                  <a:gd name="connsiteY12" fmla="*/ 535452 h 535451"/>
                  <a:gd name="connsiteX13" fmla="*/ 223074 w 330414"/>
                  <a:gd name="connsiteY13" fmla="*/ 326195 h 535451"/>
                  <a:gd name="connsiteX14" fmla="*/ 234491 w 330414"/>
                  <a:gd name="connsiteY14" fmla="*/ 327074 h 535451"/>
                  <a:gd name="connsiteX15" fmla="*/ 295090 w 330414"/>
                  <a:gd name="connsiteY15" fmla="*/ 330591 h 535451"/>
                  <a:gd name="connsiteX16" fmla="*/ 316167 w 330414"/>
                  <a:gd name="connsiteY16" fmla="*/ 283112 h 535451"/>
                  <a:gd name="connsiteX17" fmla="*/ 327584 w 330414"/>
                  <a:gd name="connsiteY17" fmla="*/ 272562 h 535451"/>
                  <a:gd name="connsiteX18" fmla="*/ 307385 w 330414"/>
                  <a:gd name="connsiteY18" fmla="*/ 255856 h 535451"/>
                  <a:gd name="connsiteX19" fmla="*/ 326706 w 330414"/>
                  <a:gd name="connsiteY19" fmla="*/ 233875 h 535451"/>
                  <a:gd name="connsiteX20" fmla="*/ 317046 w 330414"/>
                  <a:gd name="connsiteY20" fmla="*/ 220687 h 535451"/>
                  <a:gd name="connsiteX21" fmla="*/ 317924 w 330414"/>
                  <a:gd name="connsiteY21" fmla="*/ 211015 h 535451"/>
                  <a:gd name="connsiteX22" fmla="*/ 328463 w 330414"/>
                  <a:gd name="connsiteY22" fmla="*/ 202223 h 535451"/>
                  <a:gd name="connsiteX23" fmla="*/ 328463 w 330414"/>
                  <a:gd name="connsiteY23" fmla="*/ 202223 h 535451"/>
                  <a:gd name="connsiteX24" fmla="*/ 328463 w 330414"/>
                  <a:gd name="connsiteY24" fmla="*/ 203982 h 535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0414" h="535451">
                    <a:moveTo>
                      <a:pt x="328463" y="203982"/>
                    </a:moveTo>
                    <a:cubicBezTo>
                      <a:pt x="328463" y="203982"/>
                      <a:pt x="332854" y="196068"/>
                      <a:pt x="328463" y="189035"/>
                    </a:cubicBezTo>
                    <a:lnTo>
                      <a:pt x="288942" y="144194"/>
                    </a:lnTo>
                    <a:cubicBezTo>
                      <a:pt x="288063" y="142435"/>
                      <a:pt x="287185" y="140677"/>
                      <a:pt x="287185" y="138918"/>
                    </a:cubicBezTo>
                    <a:cubicBezTo>
                      <a:pt x="281916" y="63305"/>
                      <a:pt x="229221" y="22860"/>
                      <a:pt x="229221" y="22860"/>
                    </a:cubicBezTo>
                    <a:cubicBezTo>
                      <a:pt x="214291" y="11430"/>
                      <a:pt x="200239" y="3517"/>
                      <a:pt x="193213" y="0"/>
                    </a:cubicBezTo>
                    <a:cubicBezTo>
                      <a:pt x="191457" y="0"/>
                      <a:pt x="190578" y="0"/>
                      <a:pt x="188822" y="1759"/>
                    </a:cubicBezTo>
                    <a:cubicBezTo>
                      <a:pt x="156327" y="80889"/>
                      <a:pt x="143153" y="187276"/>
                      <a:pt x="143153" y="187276"/>
                    </a:cubicBezTo>
                    <a:cubicBezTo>
                      <a:pt x="143153" y="187276"/>
                      <a:pt x="123832" y="136281"/>
                      <a:pt x="90459" y="154745"/>
                    </a:cubicBezTo>
                    <a:cubicBezTo>
                      <a:pt x="65868" y="167933"/>
                      <a:pt x="62355" y="210136"/>
                      <a:pt x="87824" y="243547"/>
                    </a:cubicBezTo>
                    <a:cubicBezTo>
                      <a:pt x="89581" y="245305"/>
                      <a:pt x="91337" y="247064"/>
                      <a:pt x="92215" y="248822"/>
                    </a:cubicBezTo>
                    <a:cubicBezTo>
                      <a:pt x="86068" y="286629"/>
                      <a:pt x="64112" y="383345"/>
                      <a:pt x="0" y="451925"/>
                    </a:cubicBezTo>
                    <a:cubicBezTo>
                      <a:pt x="23712" y="506437"/>
                      <a:pt x="104511" y="523142"/>
                      <a:pt x="191457" y="535452"/>
                    </a:cubicBezTo>
                    <a:cubicBezTo>
                      <a:pt x="191457" y="535452"/>
                      <a:pt x="214291" y="389499"/>
                      <a:pt x="223074" y="326195"/>
                    </a:cubicBezTo>
                    <a:cubicBezTo>
                      <a:pt x="230099" y="326195"/>
                      <a:pt x="234491" y="327074"/>
                      <a:pt x="234491" y="327074"/>
                    </a:cubicBezTo>
                    <a:cubicBezTo>
                      <a:pt x="254690" y="329712"/>
                      <a:pt x="275768" y="331470"/>
                      <a:pt x="295090" y="330591"/>
                    </a:cubicBezTo>
                    <a:cubicBezTo>
                      <a:pt x="295090" y="330591"/>
                      <a:pt x="338123" y="328832"/>
                      <a:pt x="316167" y="283112"/>
                    </a:cubicBezTo>
                    <a:lnTo>
                      <a:pt x="327584" y="272562"/>
                    </a:lnTo>
                    <a:cubicBezTo>
                      <a:pt x="327584" y="272562"/>
                      <a:pt x="331097" y="262011"/>
                      <a:pt x="307385" y="255856"/>
                    </a:cubicBezTo>
                    <a:cubicBezTo>
                      <a:pt x="307385" y="255856"/>
                      <a:pt x="332854" y="246185"/>
                      <a:pt x="326706" y="233875"/>
                    </a:cubicBezTo>
                    <a:lnTo>
                      <a:pt x="317046" y="220687"/>
                    </a:lnTo>
                    <a:cubicBezTo>
                      <a:pt x="315289" y="218049"/>
                      <a:pt x="315289" y="213653"/>
                      <a:pt x="317924" y="211015"/>
                    </a:cubicBezTo>
                    <a:lnTo>
                      <a:pt x="328463" y="202223"/>
                    </a:lnTo>
                    <a:lnTo>
                      <a:pt x="328463" y="202223"/>
                    </a:lnTo>
                    <a:lnTo>
                      <a:pt x="328463" y="203982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887A6B2D-C598-9536-9D00-842D84FBE488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8D0F6A89-6E26-F3DA-2D28-0F9EEEC5DB6D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91DE33A6-7F2F-DF78-97BA-F261BAD873CD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0F398EA-F39C-EE9E-EDBF-7458FF834A92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FC4E7B99-CD43-1A77-2B44-4625FAFB45CE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65EAF2A-672B-DFCE-545B-B6CE8F1EDB30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26AAEF3C-384C-5273-AAA1-3103843B0768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B8BC15A9-B73A-1686-4932-A9D4B988B16B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90B6BF9D-A681-ED35-AF14-69CFE8252E6D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7D122BE3-6673-D331-6E8E-FB01334F1D4A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D06E2B6F-6409-434F-49D1-A09FDB2D6C45}"/>
                  </a:ext>
                </a:extLst>
              </p:cNvPr>
              <p:cNvSpPr/>
              <p:nvPr/>
            </p:nvSpPr>
            <p:spPr>
              <a:xfrm>
                <a:off x="-10164051" y="2785601"/>
                <a:ext cx="173697" cy="310719"/>
              </a:xfrm>
              <a:custGeom>
                <a:avLst/>
                <a:gdLst>
                  <a:gd name="connsiteX0" fmla="*/ 170607 w 173697"/>
                  <a:gd name="connsiteY0" fmla="*/ 68370 h 310719"/>
                  <a:gd name="connsiteX1" fmla="*/ 155677 w 173697"/>
                  <a:gd name="connsiteY1" fmla="*/ 77162 h 310719"/>
                  <a:gd name="connsiteX2" fmla="*/ 137234 w 173697"/>
                  <a:gd name="connsiteY2" fmla="*/ 135192 h 310719"/>
                  <a:gd name="connsiteX3" fmla="*/ 139869 w 173697"/>
                  <a:gd name="connsiteY3" fmla="*/ 28805 h 310719"/>
                  <a:gd name="connsiteX4" fmla="*/ 124061 w 173697"/>
                  <a:gd name="connsiteY4" fmla="*/ 42873 h 310719"/>
                  <a:gd name="connsiteX5" fmla="*/ 115278 w 173697"/>
                  <a:gd name="connsiteY5" fmla="*/ 100902 h 310719"/>
                  <a:gd name="connsiteX6" fmla="*/ 110887 w 173697"/>
                  <a:gd name="connsiteY6" fmla="*/ 119366 h 310719"/>
                  <a:gd name="connsiteX7" fmla="*/ 101226 w 173697"/>
                  <a:gd name="connsiteY7" fmla="*/ 2428 h 310719"/>
                  <a:gd name="connsiteX8" fmla="*/ 84540 w 173697"/>
                  <a:gd name="connsiteY8" fmla="*/ 34080 h 310719"/>
                  <a:gd name="connsiteX9" fmla="*/ 84540 w 173697"/>
                  <a:gd name="connsiteY9" fmla="*/ 100902 h 310719"/>
                  <a:gd name="connsiteX10" fmla="*/ 81905 w 173697"/>
                  <a:gd name="connsiteY10" fmla="*/ 105298 h 310719"/>
                  <a:gd name="connsiteX11" fmla="*/ 65218 w 173697"/>
                  <a:gd name="connsiteY11" fmla="*/ 25288 h 310719"/>
                  <a:gd name="connsiteX12" fmla="*/ 49410 w 173697"/>
                  <a:gd name="connsiteY12" fmla="*/ 25288 h 310719"/>
                  <a:gd name="connsiteX13" fmla="*/ 47654 w 173697"/>
                  <a:gd name="connsiteY13" fmla="*/ 133433 h 310719"/>
                  <a:gd name="connsiteX14" fmla="*/ 37993 w 173697"/>
                  <a:gd name="connsiteY14" fmla="*/ 156293 h 310719"/>
                  <a:gd name="connsiteX15" fmla="*/ 29210 w 173697"/>
                  <a:gd name="connsiteY15" fmla="*/ 119366 h 310719"/>
                  <a:gd name="connsiteX16" fmla="*/ 3741 w 173697"/>
                  <a:gd name="connsiteY16" fmla="*/ 84196 h 310719"/>
                  <a:gd name="connsiteX17" fmla="*/ 228 w 173697"/>
                  <a:gd name="connsiteY17" fmla="*/ 88592 h 310719"/>
                  <a:gd name="connsiteX18" fmla="*/ 1985 w 173697"/>
                  <a:gd name="connsiteY18" fmla="*/ 151897 h 310719"/>
                  <a:gd name="connsiteX19" fmla="*/ 1985 w 173697"/>
                  <a:gd name="connsiteY19" fmla="*/ 151897 h 310719"/>
                  <a:gd name="connsiteX20" fmla="*/ 7254 w 173697"/>
                  <a:gd name="connsiteY20" fmla="*/ 185308 h 310719"/>
                  <a:gd name="connsiteX21" fmla="*/ 35358 w 173697"/>
                  <a:gd name="connsiteY21" fmla="*/ 294332 h 310719"/>
                  <a:gd name="connsiteX22" fmla="*/ 37993 w 173697"/>
                  <a:gd name="connsiteY22" fmla="*/ 296970 h 310719"/>
                  <a:gd name="connsiteX23" fmla="*/ 108252 w 173697"/>
                  <a:gd name="connsiteY23" fmla="*/ 310159 h 310719"/>
                  <a:gd name="connsiteX24" fmla="*/ 132843 w 173697"/>
                  <a:gd name="connsiteY24" fmla="*/ 251250 h 310719"/>
                  <a:gd name="connsiteX25" fmla="*/ 155677 w 173697"/>
                  <a:gd name="connsiteY25" fmla="*/ 182670 h 310719"/>
                  <a:gd name="connsiteX26" fmla="*/ 161825 w 173697"/>
                  <a:gd name="connsiteY26" fmla="*/ 159810 h 310719"/>
                  <a:gd name="connsiteX27" fmla="*/ 169729 w 173697"/>
                  <a:gd name="connsiteY27" fmla="*/ 70129 h 310719"/>
                  <a:gd name="connsiteX28" fmla="*/ 169729 w 173697"/>
                  <a:gd name="connsiteY28" fmla="*/ 70129 h 310719"/>
                  <a:gd name="connsiteX29" fmla="*/ 169729 w 173697"/>
                  <a:gd name="connsiteY29" fmla="*/ 68370 h 310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73697" h="310719">
                    <a:moveTo>
                      <a:pt x="170607" y="68370"/>
                    </a:moveTo>
                    <a:cubicBezTo>
                      <a:pt x="158312" y="56940"/>
                      <a:pt x="155677" y="77162"/>
                      <a:pt x="155677" y="77162"/>
                    </a:cubicBezTo>
                    <a:cubicBezTo>
                      <a:pt x="155677" y="77162"/>
                      <a:pt x="145138" y="125520"/>
                      <a:pt x="137234" y="135192"/>
                    </a:cubicBezTo>
                    <a:cubicBezTo>
                      <a:pt x="138112" y="129037"/>
                      <a:pt x="155677" y="56061"/>
                      <a:pt x="139869" y="28805"/>
                    </a:cubicBezTo>
                    <a:cubicBezTo>
                      <a:pt x="139869" y="28805"/>
                      <a:pt x="124061" y="13858"/>
                      <a:pt x="124061" y="42873"/>
                    </a:cubicBezTo>
                    <a:cubicBezTo>
                      <a:pt x="124061" y="71887"/>
                      <a:pt x="115278" y="100902"/>
                      <a:pt x="115278" y="100902"/>
                    </a:cubicBezTo>
                    <a:lnTo>
                      <a:pt x="110887" y="119366"/>
                    </a:lnTo>
                    <a:cubicBezTo>
                      <a:pt x="110887" y="119366"/>
                      <a:pt x="118791" y="15616"/>
                      <a:pt x="101226" y="2428"/>
                    </a:cubicBezTo>
                    <a:cubicBezTo>
                      <a:pt x="83662" y="-10761"/>
                      <a:pt x="84540" y="34080"/>
                      <a:pt x="84540" y="34080"/>
                    </a:cubicBezTo>
                    <a:cubicBezTo>
                      <a:pt x="84540" y="34080"/>
                      <a:pt x="87174" y="86834"/>
                      <a:pt x="84540" y="100902"/>
                    </a:cubicBezTo>
                    <a:lnTo>
                      <a:pt x="81905" y="105298"/>
                    </a:lnTo>
                    <a:cubicBezTo>
                      <a:pt x="81905" y="105298"/>
                      <a:pt x="76635" y="40235"/>
                      <a:pt x="65218" y="25288"/>
                    </a:cubicBezTo>
                    <a:cubicBezTo>
                      <a:pt x="54679" y="10341"/>
                      <a:pt x="49410" y="13858"/>
                      <a:pt x="49410" y="25288"/>
                    </a:cubicBezTo>
                    <a:cubicBezTo>
                      <a:pt x="49410" y="36718"/>
                      <a:pt x="52923" y="120245"/>
                      <a:pt x="47654" y="133433"/>
                    </a:cubicBezTo>
                    <a:cubicBezTo>
                      <a:pt x="46775" y="136071"/>
                      <a:pt x="42384" y="148380"/>
                      <a:pt x="37993" y="156293"/>
                    </a:cubicBezTo>
                    <a:cubicBezTo>
                      <a:pt x="33602" y="144863"/>
                      <a:pt x="30089" y="128158"/>
                      <a:pt x="29210" y="119366"/>
                    </a:cubicBezTo>
                    <a:cubicBezTo>
                      <a:pt x="29210" y="92109"/>
                      <a:pt x="12524" y="85955"/>
                      <a:pt x="3741" y="84196"/>
                    </a:cubicBezTo>
                    <a:cubicBezTo>
                      <a:pt x="1107" y="84196"/>
                      <a:pt x="-650" y="85955"/>
                      <a:pt x="228" y="88592"/>
                    </a:cubicBezTo>
                    <a:cubicBezTo>
                      <a:pt x="6376" y="107056"/>
                      <a:pt x="3741" y="129916"/>
                      <a:pt x="1985" y="151897"/>
                    </a:cubicBezTo>
                    <a:lnTo>
                      <a:pt x="1985" y="151897"/>
                    </a:lnTo>
                    <a:cubicBezTo>
                      <a:pt x="1985" y="153656"/>
                      <a:pt x="1985" y="171240"/>
                      <a:pt x="7254" y="185308"/>
                    </a:cubicBezTo>
                    <a:cubicBezTo>
                      <a:pt x="11646" y="198496"/>
                      <a:pt x="32723" y="281144"/>
                      <a:pt x="35358" y="294332"/>
                    </a:cubicBezTo>
                    <a:cubicBezTo>
                      <a:pt x="35358" y="295212"/>
                      <a:pt x="36236" y="296091"/>
                      <a:pt x="37993" y="296970"/>
                    </a:cubicBezTo>
                    <a:cubicBezTo>
                      <a:pt x="48532" y="299608"/>
                      <a:pt x="102983" y="313676"/>
                      <a:pt x="108252" y="310159"/>
                    </a:cubicBezTo>
                    <a:cubicBezTo>
                      <a:pt x="117913" y="304004"/>
                      <a:pt x="122304" y="275869"/>
                      <a:pt x="132843" y="251250"/>
                    </a:cubicBezTo>
                    <a:cubicBezTo>
                      <a:pt x="150408" y="205530"/>
                      <a:pt x="154799" y="183549"/>
                      <a:pt x="155677" y="182670"/>
                    </a:cubicBezTo>
                    <a:lnTo>
                      <a:pt x="161825" y="159810"/>
                    </a:lnTo>
                    <a:cubicBezTo>
                      <a:pt x="161825" y="157173"/>
                      <a:pt x="182025" y="81559"/>
                      <a:pt x="169729" y="70129"/>
                    </a:cubicBezTo>
                    <a:lnTo>
                      <a:pt x="169729" y="70129"/>
                    </a:lnTo>
                    <a:lnTo>
                      <a:pt x="169729" y="68370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5C4547AB-6221-640A-3047-B5BABA5750BB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solidFill>
                <a:srgbClr val="F9C1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6CFBE817-DBDE-5CB8-8B52-5BAAC746E0E4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15A5FB3B-20D5-A55E-357E-7D4D886EADA3}"/>
                  </a:ext>
                </a:extLst>
              </p:cNvPr>
              <p:cNvSpPr/>
              <p:nvPr/>
            </p:nvSpPr>
            <p:spPr>
              <a:xfrm>
                <a:off x="-11320983" y="2913759"/>
                <a:ext cx="1280114" cy="783067"/>
              </a:xfrm>
              <a:custGeom>
                <a:avLst/>
                <a:gdLst>
                  <a:gd name="connsiteX0" fmla="*/ 376403 w 1280114"/>
                  <a:gd name="connsiteY0" fmla="*/ 725365 h 783067"/>
                  <a:gd name="connsiteX1" fmla="*/ 861193 w 1280114"/>
                  <a:gd name="connsiteY1" fmla="*/ 701626 h 783067"/>
                  <a:gd name="connsiteX2" fmla="*/ 848897 w 1280114"/>
                  <a:gd name="connsiteY2" fmla="*/ 524022 h 783067"/>
                  <a:gd name="connsiteX3" fmla="*/ 956921 w 1280114"/>
                  <a:gd name="connsiteY3" fmla="*/ 707781 h 783067"/>
                  <a:gd name="connsiteX4" fmla="*/ 1126422 w 1280114"/>
                  <a:gd name="connsiteY4" fmla="*/ 610186 h 783067"/>
                  <a:gd name="connsiteX5" fmla="*/ 1280115 w 1280114"/>
                  <a:gd name="connsiteY5" fmla="*/ 168812 h 783067"/>
                  <a:gd name="connsiteX6" fmla="*/ 1184386 w 1280114"/>
                  <a:gd name="connsiteY6" fmla="*/ 145952 h 783067"/>
                  <a:gd name="connsiteX7" fmla="*/ 1184386 w 1280114"/>
                  <a:gd name="connsiteY7" fmla="*/ 145952 h 783067"/>
                  <a:gd name="connsiteX8" fmla="*/ 1021033 w 1280114"/>
                  <a:gd name="connsiteY8" fmla="*/ 406205 h 783067"/>
                  <a:gd name="connsiteX9" fmla="*/ 989416 w 1280114"/>
                  <a:gd name="connsiteY9" fmla="*/ 291905 h 783067"/>
                  <a:gd name="connsiteX10" fmla="*/ 933209 w 1280114"/>
                  <a:gd name="connsiteY10" fmla="*/ 124851 h 783067"/>
                  <a:gd name="connsiteX11" fmla="*/ 858558 w 1280114"/>
                  <a:gd name="connsiteY11" fmla="*/ 50995 h 783067"/>
                  <a:gd name="connsiteX12" fmla="*/ 807620 w 1280114"/>
                  <a:gd name="connsiteY12" fmla="*/ 30773 h 783067"/>
                  <a:gd name="connsiteX13" fmla="*/ 670614 w 1280114"/>
                  <a:gd name="connsiteY13" fmla="*/ 0 h 783067"/>
                  <a:gd name="connsiteX14" fmla="*/ 457201 w 1280114"/>
                  <a:gd name="connsiteY14" fmla="*/ 0 h 783067"/>
                  <a:gd name="connsiteX15" fmla="*/ 307900 w 1280114"/>
                  <a:gd name="connsiteY15" fmla="*/ 54512 h 783067"/>
                  <a:gd name="connsiteX16" fmla="*/ 204267 w 1280114"/>
                  <a:gd name="connsiteY16" fmla="*/ 139798 h 783067"/>
                  <a:gd name="connsiteX17" fmla="*/ 1393 w 1280114"/>
                  <a:gd name="connsiteY17" fmla="*/ 654148 h 783067"/>
                  <a:gd name="connsiteX18" fmla="*/ 572251 w 1280114"/>
                  <a:gd name="connsiteY18" fmla="*/ 640080 h 783067"/>
                  <a:gd name="connsiteX19" fmla="*/ 536243 w 1280114"/>
                  <a:gd name="connsiteY19" fmla="*/ 545123 h 783067"/>
                  <a:gd name="connsiteX20" fmla="*/ 244667 w 1280114"/>
                  <a:gd name="connsiteY20" fmla="*/ 589964 h 783067"/>
                  <a:gd name="connsiteX21" fmla="*/ 328978 w 1280114"/>
                  <a:gd name="connsiteY21" fmla="*/ 436098 h 783067"/>
                  <a:gd name="connsiteX22" fmla="*/ 339517 w 1280114"/>
                  <a:gd name="connsiteY22" fmla="*/ 552157 h 783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80114" h="783067">
                    <a:moveTo>
                      <a:pt x="376403" y="725365"/>
                    </a:moveTo>
                    <a:lnTo>
                      <a:pt x="861193" y="701626"/>
                    </a:lnTo>
                    <a:lnTo>
                      <a:pt x="848897" y="524022"/>
                    </a:lnTo>
                    <a:cubicBezTo>
                      <a:pt x="867341" y="559191"/>
                      <a:pt x="905105" y="648872"/>
                      <a:pt x="956921" y="707781"/>
                    </a:cubicBezTo>
                    <a:cubicBezTo>
                      <a:pt x="1024546" y="785153"/>
                      <a:pt x="1107101" y="643597"/>
                      <a:pt x="1126422" y="610186"/>
                    </a:cubicBezTo>
                    <a:cubicBezTo>
                      <a:pt x="1209855" y="465113"/>
                      <a:pt x="1280115" y="168812"/>
                      <a:pt x="1280115" y="168812"/>
                    </a:cubicBezTo>
                    <a:lnTo>
                      <a:pt x="1184386" y="145952"/>
                    </a:lnTo>
                    <a:lnTo>
                      <a:pt x="1184386" y="145952"/>
                    </a:lnTo>
                    <a:lnTo>
                      <a:pt x="1021033" y="406205"/>
                    </a:lnTo>
                    <a:cubicBezTo>
                      <a:pt x="1011372" y="368398"/>
                      <a:pt x="1000833" y="329712"/>
                      <a:pt x="989416" y="291905"/>
                    </a:cubicBezTo>
                    <a:cubicBezTo>
                      <a:pt x="972730" y="226842"/>
                      <a:pt x="953408" y="166175"/>
                      <a:pt x="933209" y="124851"/>
                    </a:cubicBezTo>
                    <a:cubicBezTo>
                      <a:pt x="913887" y="85285"/>
                      <a:pt x="885784" y="65063"/>
                      <a:pt x="858558" y="50995"/>
                    </a:cubicBezTo>
                    <a:cubicBezTo>
                      <a:pt x="831333" y="36928"/>
                      <a:pt x="824307" y="35169"/>
                      <a:pt x="807620" y="30773"/>
                    </a:cubicBezTo>
                    <a:lnTo>
                      <a:pt x="670614" y="0"/>
                    </a:lnTo>
                    <a:cubicBezTo>
                      <a:pt x="657441" y="70338"/>
                      <a:pt x="516922" y="53633"/>
                      <a:pt x="457201" y="0"/>
                    </a:cubicBezTo>
                    <a:lnTo>
                      <a:pt x="307900" y="54512"/>
                    </a:lnTo>
                    <a:cubicBezTo>
                      <a:pt x="275405" y="58908"/>
                      <a:pt x="237641" y="79131"/>
                      <a:pt x="204267" y="139798"/>
                    </a:cubicBezTo>
                    <a:cubicBezTo>
                      <a:pt x="47940" y="427306"/>
                      <a:pt x="-10024" y="596118"/>
                      <a:pt x="1393" y="654148"/>
                    </a:cubicBezTo>
                    <a:cubicBezTo>
                      <a:pt x="57601" y="952207"/>
                      <a:pt x="572251" y="640080"/>
                      <a:pt x="572251" y="640080"/>
                    </a:cubicBezTo>
                    <a:lnTo>
                      <a:pt x="536243" y="545123"/>
                    </a:lnTo>
                    <a:cubicBezTo>
                      <a:pt x="536243" y="545123"/>
                      <a:pt x="250814" y="601394"/>
                      <a:pt x="244667" y="589964"/>
                    </a:cubicBezTo>
                    <a:lnTo>
                      <a:pt x="328978" y="436098"/>
                    </a:lnTo>
                    <a:cubicBezTo>
                      <a:pt x="328978" y="441374"/>
                      <a:pt x="333369" y="493248"/>
                      <a:pt x="339517" y="55215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7E7F8DF6-C0BC-EC07-AB31-5FE46125B11A}"/>
                  </a:ext>
                </a:extLst>
              </p:cNvPr>
              <p:cNvSpPr/>
              <p:nvPr/>
            </p:nvSpPr>
            <p:spPr>
              <a:xfrm>
                <a:off x="-10720884" y="2450565"/>
                <a:ext cx="89252" cy="179202"/>
              </a:xfrm>
              <a:custGeom>
                <a:avLst/>
                <a:gdLst>
                  <a:gd name="connsiteX0" fmla="*/ 18698 w 89252"/>
                  <a:gd name="connsiteY0" fmla="*/ 178323 h 179202"/>
                  <a:gd name="connsiteX1" fmla="*/ 88080 w 89252"/>
                  <a:gd name="connsiteY1" fmla="*/ 20941 h 179202"/>
                  <a:gd name="connsiteX2" fmla="*/ 27481 w 89252"/>
                  <a:gd name="connsiteY2" fmla="*/ 719 h 179202"/>
                  <a:gd name="connsiteX3" fmla="*/ 18698 w 89252"/>
                  <a:gd name="connsiteY3" fmla="*/ 179202 h 179202"/>
                  <a:gd name="connsiteX4" fmla="*/ 18698 w 89252"/>
                  <a:gd name="connsiteY4" fmla="*/ 179202 h 179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252" h="179202">
                    <a:moveTo>
                      <a:pt x="18698" y="178323"/>
                    </a:moveTo>
                    <a:cubicBezTo>
                      <a:pt x="23968" y="120294"/>
                      <a:pt x="99497" y="83366"/>
                      <a:pt x="88080" y="20941"/>
                    </a:cubicBezTo>
                    <a:cubicBezTo>
                      <a:pt x="88080" y="20941"/>
                      <a:pt x="83688" y="-4557"/>
                      <a:pt x="27481" y="719"/>
                    </a:cubicBezTo>
                    <a:cubicBezTo>
                      <a:pt x="-28727" y="5994"/>
                      <a:pt x="18698" y="179202"/>
                      <a:pt x="18698" y="179202"/>
                    </a:cubicBezTo>
                    <a:lnTo>
                      <a:pt x="18698" y="179202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F43FEA91-0B76-F2A5-195C-072EA2637CBA}"/>
                  </a:ext>
                </a:extLst>
              </p:cNvPr>
              <p:cNvSpPr/>
              <p:nvPr/>
            </p:nvSpPr>
            <p:spPr>
              <a:xfrm>
                <a:off x="-11045578" y="2762531"/>
                <a:ext cx="272255" cy="216290"/>
              </a:xfrm>
              <a:custGeom>
                <a:avLst/>
                <a:gdLst>
                  <a:gd name="connsiteX0" fmla="*/ 272255 w 272255"/>
                  <a:gd name="connsiteY0" fmla="*/ 879 h 216290"/>
                  <a:gd name="connsiteX1" fmla="*/ 259960 w 272255"/>
                  <a:gd name="connsiteY1" fmla="*/ 216291 h 216290"/>
                  <a:gd name="connsiteX2" fmla="*/ 0 w 272255"/>
                  <a:gd name="connsiteY2" fmla="*/ 216291 h 216290"/>
                  <a:gd name="connsiteX3" fmla="*/ 62355 w 272255"/>
                  <a:gd name="connsiteY3" fmla="*/ 0 h 216290"/>
                  <a:gd name="connsiteX4" fmla="*/ 272255 w 272255"/>
                  <a:gd name="connsiteY4" fmla="*/ 0 h 21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255" h="216290">
                    <a:moveTo>
                      <a:pt x="272255" y="879"/>
                    </a:moveTo>
                    <a:cubicBezTo>
                      <a:pt x="272255" y="879"/>
                      <a:pt x="221317" y="162658"/>
                      <a:pt x="259960" y="216291"/>
                    </a:cubicBezTo>
                    <a:lnTo>
                      <a:pt x="0" y="216291"/>
                    </a:lnTo>
                    <a:lnTo>
                      <a:pt x="62355" y="0"/>
                    </a:lnTo>
                    <a:lnTo>
                      <a:pt x="272255" y="0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C8CF460-28D0-4733-E83F-525C7A4B613B}"/>
                </a:ext>
              </a:extLst>
            </p:cNvPr>
            <p:cNvSpPr/>
            <p:nvPr/>
          </p:nvSpPr>
          <p:spPr>
            <a:xfrm>
              <a:off x="-10873775" y="3549442"/>
              <a:ext cx="180674" cy="261131"/>
            </a:xfrm>
            <a:custGeom>
              <a:avLst/>
              <a:gdLst>
                <a:gd name="connsiteX0" fmla="*/ 180372 w 180674"/>
                <a:gd name="connsiteY0" fmla="*/ 220687 h 261131"/>
                <a:gd name="connsiteX1" fmla="*/ 149633 w 180674"/>
                <a:gd name="connsiteY1" fmla="*/ 182001 h 261131"/>
                <a:gd name="connsiteX2" fmla="*/ 93426 w 180674"/>
                <a:gd name="connsiteY2" fmla="*/ 149469 h 261131"/>
                <a:gd name="connsiteX3" fmla="*/ 122408 w 180674"/>
                <a:gd name="connsiteY3" fmla="*/ 0 h 261131"/>
                <a:gd name="connsiteX4" fmla="*/ 37218 w 180674"/>
                <a:gd name="connsiteY4" fmla="*/ 0 h 261131"/>
                <a:gd name="connsiteX5" fmla="*/ 18775 w 180674"/>
                <a:gd name="connsiteY5" fmla="*/ 135401 h 261131"/>
                <a:gd name="connsiteX6" fmla="*/ 3845 w 180674"/>
                <a:gd name="connsiteY6" fmla="*/ 186397 h 261131"/>
                <a:gd name="connsiteX7" fmla="*/ 86400 w 180674"/>
                <a:gd name="connsiteY7" fmla="*/ 232117 h 261131"/>
                <a:gd name="connsiteX8" fmla="*/ 136460 w 180674"/>
                <a:gd name="connsiteY8" fmla="*/ 249701 h 261131"/>
                <a:gd name="connsiteX9" fmla="*/ 166320 w 180674"/>
                <a:gd name="connsiteY9" fmla="*/ 261131 h 261131"/>
                <a:gd name="connsiteX10" fmla="*/ 179494 w 180674"/>
                <a:gd name="connsiteY10" fmla="*/ 220687 h 261131"/>
                <a:gd name="connsiteX11" fmla="*/ 180372 w 180674"/>
                <a:gd name="connsiteY11" fmla="*/ 220687 h 261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674" h="261131">
                  <a:moveTo>
                    <a:pt x="180372" y="220687"/>
                  </a:moveTo>
                  <a:cubicBezTo>
                    <a:pt x="183007" y="188155"/>
                    <a:pt x="168076" y="188155"/>
                    <a:pt x="149633" y="182001"/>
                  </a:cubicBezTo>
                  <a:cubicBezTo>
                    <a:pt x="123286" y="172329"/>
                    <a:pt x="93426" y="149469"/>
                    <a:pt x="93426" y="149469"/>
                  </a:cubicBezTo>
                  <a:lnTo>
                    <a:pt x="122408" y="0"/>
                  </a:lnTo>
                  <a:lnTo>
                    <a:pt x="37218" y="0"/>
                  </a:lnTo>
                  <a:lnTo>
                    <a:pt x="18775" y="135401"/>
                  </a:lnTo>
                  <a:cubicBezTo>
                    <a:pt x="18775" y="135401"/>
                    <a:pt x="-10207" y="163537"/>
                    <a:pt x="3845" y="186397"/>
                  </a:cubicBezTo>
                  <a:cubicBezTo>
                    <a:pt x="17019" y="209257"/>
                    <a:pt x="53905" y="201344"/>
                    <a:pt x="86400" y="232117"/>
                  </a:cubicBezTo>
                  <a:cubicBezTo>
                    <a:pt x="103087" y="247943"/>
                    <a:pt x="112747" y="246185"/>
                    <a:pt x="136460" y="249701"/>
                  </a:cubicBezTo>
                  <a:cubicBezTo>
                    <a:pt x="143486" y="250581"/>
                    <a:pt x="146999" y="261131"/>
                    <a:pt x="166320" y="261131"/>
                  </a:cubicBezTo>
                  <a:cubicBezTo>
                    <a:pt x="185641" y="261131"/>
                    <a:pt x="178616" y="235634"/>
                    <a:pt x="179494" y="220687"/>
                  </a:cubicBezTo>
                  <a:lnTo>
                    <a:pt x="180372" y="220687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C4E3D177-2EA3-41FF-5141-46BA1A813087}"/>
                </a:ext>
              </a:extLst>
            </p:cNvPr>
            <p:cNvSpPr/>
            <p:nvPr/>
          </p:nvSpPr>
          <p:spPr>
            <a:xfrm>
              <a:off x="-11018818" y="3375937"/>
              <a:ext cx="366021" cy="167529"/>
            </a:xfrm>
            <a:custGeom>
              <a:avLst/>
              <a:gdLst>
                <a:gd name="connsiteX0" fmla="*/ 3979 w 366021"/>
                <a:gd name="connsiteY0" fmla="*/ 97012 h 167529"/>
                <a:gd name="connsiteX1" fmla="*/ 206853 w 366021"/>
                <a:gd name="connsiteY1" fmla="*/ 125148 h 167529"/>
                <a:gd name="connsiteX2" fmla="*/ 364058 w 366021"/>
                <a:gd name="connsiteY2" fmla="*/ 154162 h 167529"/>
                <a:gd name="connsiteX3" fmla="*/ 311364 w 366021"/>
                <a:gd name="connsiteY3" fmla="*/ 52171 h 167529"/>
                <a:gd name="connsiteX4" fmla="*/ 154158 w 366021"/>
                <a:gd name="connsiteY4" fmla="*/ 297 h 167529"/>
                <a:gd name="connsiteX5" fmla="*/ 3101 w 366021"/>
                <a:gd name="connsiteY5" fmla="*/ 96133 h 167529"/>
                <a:gd name="connsiteX6" fmla="*/ 3101 w 366021"/>
                <a:gd name="connsiteY6" fmla="*/ 96133 h 1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6021" h="167529">
                  <a:moveTo>
                    <a:pt x="3979" y="97012"/>
                  </a:moveTo>
                  <a:cubicBezTo>
                    <a:pt x="21544" y="145370"/>
                    <a:pt x="206853" y="125148"/>
                    <a:pt x="206853" y="125148"/>
                  </a:cubicBezTo>
                  <a:cubicBezTo>
                    <a:pt x="206853" y="125148"/>
                    <a:pt x="357910" y="196365"/>
                    <a:pt x="364058" y="154162"/>
                  </a:cubicBezTo>
                  <a:cubicBezTo>
                    <a:pt x="371084" y="111959"/>
                    <a:pt x="360545" y="62722"/>
                    <a:pt x="311364" y="52171"/>
                  </a:cubicBezTo>
                  <a:cubicBezTo>
                    <a:pt x="262182" y="41621"/>
                    <a:pt x="211244" y="-4099"/>
                    <a:pt x="154158" y="297"/>
                  </a:cubicBezTo>
                  <a:cubicBezTo>
                    <a:pt x="43500" y="11727"/>
                    <a:pt x="-14464" y="47775"/>
                    <a:pt x="3101" y="96133"/>
                  </a:cubicBezTo>
                  <a:lnTo>
                    <a:pt x="3101" y="96133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3045FA59-B2E9-4820-9E18-749D4BB1F8F5}"/>
                </a:ext>
              </a:extLst>
            </p:cNvPr>
            <p:cNvSpPr/>
            <p:nvPr/>
          </p:nvSpPr>
          <p:spPr>
            <a:xfrm>
              <a:off x="-11008880" y="3582853"/>
              <a:ext cx="212722" cy="304647"/>
            </a:xfrm>
            <a:custGeom>
              <a:avLst/>
              <a:gdLst>
                <a:gd name="connsiteX0" fmla="*/ 147733 w 212722"/>
                <a:gd name="connsiteY0" fmla="*/ 229479 h 304647"/>
                <a:gd name="connsiteX1" fmla="*/ 105577 w 212722"/>
                <a:gd name="connsiteY1" fmla="*/ 181121 h 304647"/>
                <a:gd name="connsiteX2" fmla="*/ 212723 w 212722"/>
                <a:gd name="connsiteY2" fmla="*/ 0 h 304647"/>
                <a:gd name="connsiteX3" fmla="*/ 89769 w 212722"/>
                <a:gd name="connsiteY3" fmla="*/ 3517 h 304647"/>
                <a:gd name="connsiteX4" fmla="*/ 31805 w 212722"/>
                <a:gd name="connsiteY4" fmla="*/ 146831 h 304647"/>
                <a:gd name="connsiteX5" fmla="*/ 1066 w 212722"/>
                <a:gd name="connsiteY5" fmla="*/ 197827 h 304647"/>
                <a:gd name="connsiteX6" fmla="*/ 48491 w 212722"/>
                <a:gd name="connsiteY6" fmla="*/ 252339 h 304647"/>
                <a:gd name="connsiteX7" fmla="*/ 90647 w 212722"/>
                <a:gd name="connsiteY7" fmla="*/ 293663 h 304647"/>
                <a:gd name="connsiteX8" fmla="*/ 113481 w 212722"/>
                <a:gd name="connsiteY8" fmla="*/ 290146 h 304647"/>
                <a:gd name="connsiteX9" fmla="*/ 134559 w 212722"/>
                <a:gd name="connsiteY9" fmla="*/ 290146 h 304647"/>
                <a:gd name="connsiteX10" fmla="*/ 156515 w 212722"/>
                <a:gd name="connsiteY10" fmla="*/ 286629 h 304647"/>
                <a:gd name="connsiteX11" fmla="*/ 169689 w 212722"/>
                <a:gd name="connsiteY11" fmla="*/ 275199 h 304647"/>
                <a:gd name="connsiteX12" fmla="*/ 146854 w 212722"/>
                <a:gd name="connsiteY12" fmla="*/ 227721 h 304647"/>
                <a:gd name="connsiteX13" fmla="*/ 146854 w 212722"/>
                <a:gd name="connsiteY13" fmla="*/ 229479 h 30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722" h="304647">
                  <a:moveTo>
                    <a:pt x="147733" y="229479"/>
                  </a:moveTo>
                  <a:cubicBezTo>
                    <a:pt x="124898" y="213653"/>
                    <a:pt x="105577" y="181121"/>
                    <a:pt x="105577" y="181121"/>
                  </a:cubicBezTo>
                  <a:cubicBezTo>
                    <a:pt x="120507" y="123971"/>
                    <a:pt x="212723" y="0"/>
                    <a:pt x="212723" y="0"/>
                  </a:cubicBezTo>
                  <a:lnTo>
                    <a:pt x="89769" y="3517"/>
                  </a:lnTo>
                  <a:lnTo>
                    <a:pt x="31805" y="146831"/>
                  </a:lnTo>
                  <a:cubicBezTo>
                    <a:pt x="31805" y="146831"/>
                    <a:pt x="-6838" y="172329"/>
                    <a:pt x="1066" y="197827"/>
                  </a:cubicBezTo>
                  <a:cubicBezTo>
                    <a:pt x="8970" y="223325"/>
                    <a:pt x="22144" y="215412"/>
                    <a:pt x="48491" y="252339"/>
                  </a:cubicBezTo>
                  <a:cubicBezTo>
                    <a:pt x="62543" y="273441"/>
                    <a:pt x="67813" y="288388"/>
                    <a:pt x="90647" y="293663"/>
                  </a:cubicBezTo>
                  <a:cubicBezTo>
                    <a:pt x="100307" y="311248"/>
                    <a:pt x="117872" y="305972"/>
                    <a:pt x="113481" y="290146"/>
                  </a:cubicBezTo>
                  <a:cubicBezTo>
                    <a:pt x="116994" y="303335"/>
                    <a:pt x="139828" y="305972"/>
                    <a:pt x="134559" y="290146"/>
                  </a:cubicBezTo>
                  <a:cubicBezTo>
                    <a:pt x="138072" y="302455"/>
                    <a:pt x="158271" y="294542"/>
                    <a:pt x="156515" y="286629"/>
                  </a:cubicBezTo>
                  <a:cubicBezTo>
                    <a:pt x="161784" y="294542"/>
                    <a:pt x="181106" y="286629"/>
                    <a:pt x="169689" y="275199"/>
                  </a:cubicBezTo>
                  <a:cubicBezTo>
                    <a:pt x="197792" y="262011"/>
                    <a:pt x="179349" y="248822"/>
                    <a:pt x="146854" y="227721"/>
                  </a:cubicBezTo>
                  <a:lnTo>
                    <a:pt x="146854" y="22947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E237B0F7-1E89-DFB2-28FF-D8C6D2623D5F}"/>
                </a:ext>
              </a:extLst>
            </p:cNvPr>
            <p:cNvSpPr/>
            <p:nvPr/>
          </p:nvSpPr>
          <p:spPr>
            <a:xfrm>
              <a:off x="-10950752" y="2820159"/>
              <a:ext cx="273395" cy="309206"/>
            </a:xfrm>
            <a:custGeom>
              <a:avLst/>
              <a:gdLst>
                <a:gd name="connsiteX0" fmla="*/ 158986 w 273395"/>
                <a:gd name="connsiteY0" fmla="*/ 250103 h 309206"/>
                <a:gd name="connsiteX1" fmla="*/ 218707 w 273395"/>
                <a:gd name="connsiteY1" fmla="*/ 260653 h 309206"/>
                <a:gd name="connsiteX2" fmla="*/ 241541 w 273395"/>
                <a:gd name="connsiteY2" fmla="*/ 232518 h 309206"/>
                <a:gd name="connsiteX3" fmla="*/ 249445 w 273395"/>
                <a:gd name="connsiteY3" fmla="*/ 211417 h 309206"/>
                <a:gd name="connsiteX4" fmla="*/ 239784 w 273395"/>
                <a:gd name="connsiteY4" fmla="*/ 207900 h 309206"/>
                <a:gd name="connsiteX5" fmla="*/ 258228 w 273395"/>
                <a:gd name="connsiteY5" fmla="*/ 211417 h 309206"/>
                <a:gd name="connsiteX6" fmla="*/ 256471 w 273395"/>
                <a:gd name="connsiteY6" fmla="*/ 185919 h 309206"/>
                <a:gd name="connsiteX7" fmla="*/ 267888 w 273395"/>
                <a:gd name="connsiteY7" fmla="*/ 181523 h 309206"/>
                <a:gd name="connsiteX8" fmla="*/ 270523 w 273395"/>
                <a:gd name="connsiteY8" fmla="*/ 162180 h 309206"/>
                <a:gd name="connsiteX9" fmla="*/ 255593 w 273395"/>
                <a:gd name="connsiteY9" fmla="*/ 135803 h 309206"/>
                <a:gd name="connsiteX10" fmla="*/ 263497 w 273395"/>
                <a:gd name="connsiteY10" fmla="*/ 112064 h 309206"/>
                <a:gd name="connsiteX11" fmla="*/ 91361 w 273395"/>
                <a:gd name="connsiteY11" fmla="*/ 401 h 309206"/>
                <a:gd name="connsiteX12" fmla="*/ 24 w 273395"/>
                <a:gd name="connsiteY12" fmla="*/ 131407 h 309206"/>
                <a:gd name="connsiteX13" fmla="*/ 38667 w 273395"/>
                <a:gd name="connsiteY13" fmla="*/ 233397 h 309206"/>
                <a:gd name="connsiteX14" fmla="*/ 7928 w 273395"/>
                <a:gd name="connsiteY14" fmla="*/ 300219 h 309206"/>
                <a:gd name="connsiteX15" fmla="*/ 154595 w 273395"/>
                <a:gd name="connsiteY15" fmla="*/ 300219 h 309206"/>
                <a:gd name="connsiteX16" fmla="*/ 158108 w 273395"/>
                <a:gd name="connsiteY16" fmla="*/ 250982 h 30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3395" h="309206">
                  <a:moveTo>
                    <a:pt x="158986" y="250103"/>
                  </a:moveTo>
                  <a:cubicBezTo>
                    <a:pt x="195872" y="258895"/>
                    <a:pt x="205533" y="260653"/>
                    <a:pt x="218707" y="260653"/>
                  </a:cubicBezTo>
                  <a:cubicBezTo>
                    <a:pt x="231880" y="260653"/>
                    <a:pt x="236271" y="243948"/>
                    <a:pt x="241541" y="232518"/>
                  </a:cubicBezTo>
                  <a:cubicBezTo>
                    <a:pt x="254715" y="231639"/>
                    <a:pt x="258228" y="214934"/>
                    <a:pt x="249445" y="211417"/>
                  </a:cubicBezTo>
                  <a:cubicBezTo>
                    <a:pt x="240663" y="207900"/>
                    <a:pt x="244176" y="210537"/>
                    <a:pt x="239784" y="207900"/>
                  </a:cubicBezTo>
                  <a:cubicBezTo>
                    <a:pt x="248567" y="211417"/>
                    <a:pt x="252958" y="214054"/>
                    <a:pt x="258228" y="211417"/>
                  </a:cubicBezTo>
                  <a:cubicBezTo>
                    <a:pt x="263497" y="202624"/>
                    <a:pt x="256471" y="191194"/>
                    <a:pt x="256471" y="185919"/>
                  </a:cubicBezTo>
                  <a:cubicBezTo>
                    <a:pt x="256471" y="185919"/>
                    <a:pt x="260862" y="184160"/>
                    <a:pt x="267888" y="181523"/>
                  </a:cubicBezTo>
                  <a:cubicBezTo>
                    <a:pt x="273158" y="178885"/>
                    <a:pt x="275792" y="170093"/>
                    <a:pt x="270523" y="162180"/>
                  </a:cubicBezTo>
                  <a:cubicBezTo>
                    <a:pt x="265254" y="154267"/>
                    <a:pt x="258228" y="147233"/>
                    <a:pt x="255593" y="135803"/>
                  </a:cubicBezTo>
                  <a:cubicBezTo>
                    <a:pt x="259984" y="126131"/>
                    <a:pt x="263497" y="112064"/>
                    <a:pt x="263497" y="112064"/>
                  </a:cubicBezTo>
                  <a:cubicBezTo>
                    <a:pt x="292479" y="-12787"/>
                    <a:pt x="91361" y="401"/>
                    <a:pt x="91361" y="401"/>
                  </a:cubicBezTo>
                  <a:cubicBezTo>
                    <a:pt x="21980" y="10952"/>
                    <a:pt x="-854" y="80411"/>
                    <a:pt x="24" y="131407"/>
                  </a:cubicBezTo>
                  <a:cubicBezTo>
                    <a:pt x="903" y="182402"/>
                    <a:pt x="38667" y="233397"/>
                    <a:pt x="38667" y="233397"/>
                  </a:cubicBezTo>
                  <a:cubicBezTo>
                    <a:pt x="38667" y="233397"/>
                    <a:pt x="14954" y="279997"/>
                    <a:pt x="7928" y="300219"/>
                  </a:cubicBezTo>
                  <a:cubicBezTo>
                    <a:pt x="903" y="320441"/>
                    <a:pt x="154595" y="300219"/>
                    <a:pt x="154595" y="300219"/>
                  </a:cubicBezTo>
                  <a:lnTo>
                    <a:pt x="158108" y="250982"/>
                  </a:lnTo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04505CD3-05AC-4C0A-04F4-DE814F517A5C}"/>
                </a:ext>
              </a:extLst>
            </p:cNvPr>
            <p:cNvSpPr/>
            <p:nvPr/>
          </p:nvSpPr>
          <p:spPr>
            <a:xfrm>
              <a:off x="-10796157" y="3405134"/>
              <a:ext cx="209436" cy="177361"/>
            </a:xfrm>
            <a:custGeom>
              <a:avLst/>
              <a:gdLst>
                <a:gd name="connsiteX0" fmla="*/ 75529 w 209436"/>
                <a:gd name="connsiteY0" fmla="*/ 33525 h 177361"/>
                <a:gd name="connsiteX1" fmla="*/ 0 w 209436"/>
                <a:gd name="connsiteY1" fmla="*/ 107380 h 177361"/>
                <a:gd name="connsiteX2" fmla="*/ 11417 w 209436"/>
                <a:gd name="connsiteY2" fmla="*/ 168047 h 177361"/>
                <a:gd name="connsiteX3" fmla="*/ 155449 w 209436"/>
                <a:gd name="connsiteY3" fmla="*/ 172444 h 177361"/>
                <a:gd name="connsiteX4" fmla="*/ 196726 w 209436"/>
                <a:gd name="connsiteY4" fmla="*/ 152221 h 177361"/>
                <a:gd name="connsiteX5" fmla="*/ 196726 w 209436"/>
                <a:gd name="connsiteY5" fmla="*/ 124965 h 177361"/>
                <a:gd name="connsiteX6" fmla="*/ 167744 w 209436"/>
                <a:gd name="connsiteY6" fmla="*/ 138154 h 177361"/>
                <a:gd name="connsiteX7" fmla="*/ 196726 w 209436"/>
                <a:gd name="connsiteY7" fmla="*/ 124965 h 177361"/>
                <a:gd name="connsiteX8" fmla="*/ 202874 w 209436"/>
                <a:gd name="connsiteY8" fmla="*/ 91554 h 177361"/>
                <a:gd name="connsiteX9" fmla="*/ 165109 w 209436"/>
                <a:gd name="connsiteY9" fmla="*/ 110018 h 177361"/>
                <a:gd name="connsiteX10" fmla="*/ 202874 w 209436"/>
                <a:gd name="connsiteY10" fmla="*/ 90675 h 177361"/>
                <a:gd name="connsiteX11" fmla="*/ 194970 w 209436"/>
                <a:gd name="connsiteY11" fmla="*/ 51110 h 177361"/>
                <a:gd name="connsiteX12" fmla="*/ 160718 w 209436"/>
                <a:gd name="connsiteY12" fmla="*/ 81883 h 177361"/>
                <a:gd name="connsiteX13" fmla="*/ 187944 w 209436"/>
                <a:gd name="connsiteY13" fmla="*/ 68694 h 177361"/>
                <a:gd name="connsiteX14" fmla="*/ 185309 w 209436"/>
                <a:gd name="connsiteY14" fmla="*/ 30887 h 177361"/>
                <a:gd name="connsiteX15" fmla="*/ 136128 w 209436"/>
                <a:gd name="connsiteY15" fmla="*/ 30008 h 177361"/>
                <a:gd name="connsiteX16" fmla="*/ 159840 w 209436"/>
                <a:gd name="connsiteY16" fmla="*/ 48472 h 177361"/>
                <a:gd name="connsiteX17" fmla="*/ 140519 w 209436"/>
                <a:gd name="connsiteY17" fmla="*/ 55506 h 177361"/>
                <a:gd name="connsiteX18" fmla="*/ 108024 w 209436"/>
                <a:gd name="connsiteY18" fmla="*/ 56385 h 177361"/>
                <a:gd name="connsiteX19" fmla="*/ 144032 w 209436"/>
                <a:gd name="connsiteY19" fmla="*/ 4510 h 177361"/>
                <a:gd name="connsiteX20" fmla="*/ 75529 w 209436"/>
                <a:gd name="connsiteY20" fmla="*/ 33525 h 177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436" h="177361">
                  <a:moveTo>
                    <a:pt x="75529" y="33525"/>
                  </a:moveTo>
                  <a:cubicBezTo>
                    <a:pt x="64112" y="43197"/>
                    <a:pt x="0" y="107380"/>
                    <a:pt x="0" y="107380"/>
                  </a:cubicBezTo>
                  <a:cubicBezTo>
                    <a:pt x="0" y="107380"/>
                    <a:pt x="7904" y="151342"/>
                    <a:pt x="11417" y="168047"/>
                  </a:cubicBezTo>
                  <a:cubicBezTo>
                    <a:pt x="20199" y="174202"/>
                    <a:pt x="120319" y="182994"/>
                    <a:pt x="155449" y="172444"/>
                  </a:cubicBezTo>
                  <a:cubicBezTo>
                    <a:pt x="187066" y="162772"/>
                    <a:pt x="190578" y="159255"/>
                    <a:pt x="196726" y="152221"/>
                  </a:cubicBezTo>
                  <a:cubicBezTo>
                    <a:pt x="202874" y="145187"/>
                    <a:pt x="206387" y="118810"/>
                    <a:pt x="196726" y="124965"/>
                  </a:cubicBezTo>
                  <a:cubicBezTo>
                    <a:pt x="186187" y="136395"/>
                    <a:pt x="167744" y="138154"/>
                    <a:pt x="167744" y="138154"/>
                  </a:cubicBezTo>
                  <a:cubicBezTo>
                    <a:pt x="167744" y="138154"/>
                    <a:pt x="178283" y="138154"/>
                    <a:pt x="196726" y="124965"/>
                  </a:cubicBezTo>
                  <a:cubicBezTo>
                    <a:pt x="209900" y="114414"/>
                    <a:pt x="214291" y="98588"/>
                    <a:pt x="202874" y="91554"/>
                  </a:cubicBezTo>
                  <a:cubicBezTo>
                    <a:pt x="183553" y="110897"/>
                    <a:pt x="165109" y="110018"/>
                    <a:pt x="165109" y="110018"/>
                  </a:cubicBezTo>
                  <a:cubicBezTo>
                    <a:pt x="165109" y="110018"/>
                    <a:pt x="193213" y="104743"/>
                    <a:pt x="202874" y="90675"/>
                  </a:cubicBezTo>
                  <a:cubicBezTo>
                    <a:pt x="215169" y="73090"/>
                    <a:pt x="194970" y="44955"/>
                    <a:pt x="194970" y="51110"/>
                  </a:cubicBezTo>
                  <a:cubicBezTo>
                    <a:pt x="194970" y="65177"/>
                    <a:pt x="187066" y="72211"/>
                    <a:pt x="160718" y="81883"/>
                  </a:cubicBezTo>
                  <a:cubicBezTo>
                    <a:pt x="160718" y="81883"/>
                    <a:pt x="176527" y="81883"/>
                    <a:pt x="187944" y="68694"/>
                  </a:cubicBezTo>
                  <a:cubicBezTo>
                    <a:pt x="199361" y="55506"/>
                    <a:pt x="196726" y="40559"/>
                    <a:pt x="185309" y="30887"/>
                  </a:cubicBezTo>
                  <a:cubicBezTo>
                    <a:pt x="174770" y="21216"/>
                    <a:pt x="137884" y="23854"/>
                    <a:pt x="136128" y="30008"/>
                  </a:cubicBezTo>
                  <a:cubicBezTo>
                    <a:pt x="122076" y="69574"/>
                    <a:pt x="163353" y="45834"/>
                    <a:pt x="159840" y="48472"/>
                  </a:cubicBezTo>
                  <a:cubicBezTo>
                    <a:pt x="149301" y="54627"/>
                    <a:pt x="147545" y="53747"/>
                    <a:pt x="140519" y="55506"/>
                  </a:cubicBezTo>
                  <a:cubicBezTo>
                    <a:pt x="133493" y="57264"/>
                    <a:pt x="117684" y="57264"/>
                    <a:pt x="108024" y="56385"/>
                  </a:cubicBezTo>
                  <a:cubicBezTo>
                    <a:pt x="105389" y="53747"/>
                    <a:pt x="156327" y="22974"/>
                    <a:pt x="144032" y="4510"/>
                  </a:cubicBezTo>
                  <a:cubicBezTo>
                    <a:pt x="131736" y="-13953"/>
                    <a:pt x="79920" y="30008"/>
                    <a:pt x="75529" y="33525"/>
                  </a:cubicBezTo>
                  <a:close/>
                </a:path>
              </a:pathLst>
            </a:custGeom>
            <a:solidFill>
              <a:srgbClr val="F9C174"/>
            </a:solidFill>
            <a:ln w="6764" cap="flat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D2F57DF2-1238-DE25-40C7-B9C99B8F56DB}"/>
                </a:ext>
              </a:extLst>
            </p:cNvPr>
            <p:cNvSpPr/>
            <p:nvPr/>
          </p:nvSpPr>
          <p:spPr>
            <a:xfrm>
              <a:off x="-10852365" y="3844864"/>
              <a:ext cx="13173" cy="14947"/>
            </a:xfrm>
            <a:custGeom>
              <a:avLst/>
              <a:gdLst>
                <a:gd name="connsiteX0" fmla="*/ 0 w 13173"/>
                <a:gd name="connsiteY0" fmla="*/ 0 h 14947"/>
                <a:gd name="connsiteX1" fmla="*/ 13174 w 13173"/>
                <a:gd name="connsiteY1" fmla="*/ 14947 h 1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73" h="14947">
                  <a:moveTo>
                    <a:pt x="0" y="0"/>
                  </a:moveTo>
                  <a:cubicBezTo>
                    <a:pt x="0" y="0"/>
                    <a:pt x="9660" y="7034"/>
                    <a:pt x="13174" y="14947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08FC0FD-AF4E-65D5-6933-A86F98DC9295}"/>
                </a:ext>
              </a:extLst>
            </p:cNvPr>
            <p:cNvSpPr/>
            <p:nvPr/>
          </p:nvSpPr>
          <p:spPr>
            <a:xfrm>
              <a:off x="-10864660" y="3857173"/>
              <a:ext cx="12295" cy="13188"/>
            </a:xfrm>
            <a:custGeom>
              <a:avLst/>
              <a:gdLst>
                <a:gd name="connsiteX0" fmla="*/ 0 w 12295"/>
                <a:gd name="connsiteY0" fmla="*/ 0 h 13188"/>
                <a:gd name="connsiteX1" fmla="*/ 12296 w 12295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95" h="13188">
                  <a:moveTo>
                    <a:pt x="0" y="0"/>
                  </a:moveTo>
                  <a:cubicBezTo>
                    <a:pt x="0" y="0"/>
                    <a:pt x="7904" y="5275"/>
                    <a:pt x="12296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42975230-47B1-9522-3151-5D187BA99506}"/>
                </a:ext>
              </a:extLst>
            </p:cNvPr>
            <p:cNvSpPr/>
            <p:nvPr/>
          </p:nvSpPr>
          <p:spPr>
            <a:xfrm>
              <a:off x="-10881347" y="3861569"/>
              <a:ext cx="7904" cy="13188"/>
            </a:xfrm>
            <a:custGeom>
              <a:avLst/>
              <a:gdLst>
                <a:gd name="connsiteX0" fmla="*/ 0 w 7904"/>
                <a:gd name="connsiteY0" fmla="*/ 0 h 13188"/>
                <a:gd name="connsiteX1" fmla="*/ 7904 w 7904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4" h="13188">
                  <a:moveTo>
                    <a:pt x="0" y="0"/>
                  </a:moveTo>
                  <a:cubicBezTo>
                    <a:pt x="0" y="0"/>
                    <a:pt x="4391" y="3517"/>
                    <a:pt x="7904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D8AB5918-3176-DFAE-5B87-22467570F5AC}"/>
                </a:ext>
              </a:extLst>
            </p:cNvPr>
            <p:cNvSpPr/>
            <p:nvPr/>
          </p:nvSpPr>
          <p:spPr>
            <a:xfrm>
              <a:off x="-10903303" y="3862448"/>
              <a:ext cx="8782" cy="12309"/>
            </a:xfrm>
            <a:custGeom>
              <a:avLst/>
              <a:gdLst>
                <a:gd name="connsiteX0" fmla="*/ 0 w 8782"/>
                <a:gd name="connsiteY0" fmla="*/ 0 h 12309"/>
                <a:gd name="connsiteX1" fmla="*/ 8782 w 8782"/>
                <a:gd name="connsiteY1" fmla="*/ 12309 h 1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82" h="12309">
                  <a:moveTo>
                    <a:pt x="0" y="0"/>
                  </a:moveTo>
                  <a:cubicBezTo>
                    <a:pt x="0" y="0"/>
                    <a:pt x="5270" y="2638"/>
                    <a:pt x="8782" y="12309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241A03FC-35E7-AD26-59C7-29F2536F7ACD}"/>
                </a:ext>
              </a:extLst>
            </p:cNvPr>
            <p:cNvSpPr/>
            <p:nvPr/>
          </p:nvSpPr>
          <p:spPr>
            <a:xfrm>
              <a:off x="-10717115" y="3779801"/>
              <a:ext cx="25468" cy="20222"/>
            </a:xfrm>
            <a:custGeom>
              <a:avLst/>
              <a:gdLst>
                <a:gd name="connsiteX0" fmla="*/ 0 w 25468"/>
                <a:gd name="connsiteY0" fmla="*/ 0 h 20222"/>
                <a:gd name="connsiteX1" fmla="*/ 25469 w 25468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68" h="20222">
                  <a:moveTo>
                    <a:pt x="0" y="0"/>
                  </a:moveTo>
                  <a:cubicBezTo>
                    <a:pt x="0" y="0"/>
                    <a:pt x="25469" y="4396"/>
                    <a:pt x="25469" y="20222"/>
                  </a:cubicBezTo>
                </a:path>
              </a:pathLst>
            </a:custGeom>
            <a:solidFill>
              <a:srgbClr val="FA69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35F98ED6-0E1A-5E3E-D9BF-CEB488B77FC3}"/>
                </a:ext>
              </a:extLst>
            </p:cNvPr>
            <p:cNvSpPr/>
            <p:nvPr/>
          </p:nvSpPr>
          <p:spPr>
            <a:xfrm>
              <a:off x="-10712724" y="3765733"/>
              <a:ext cx="20199" cy="17584"/>
            </a:xfrm>
            <a:custGeom>
              <a:avLst/>
              <a:gdLst>
                <a:gd name="connsiteX0" fmla="*/ 0 w 20199"/>
                <a:gd name="connsiteY0" fmla="*/ 0 h 17584"/>
                <a:gd name="connsiteX1" fmla="*/ 20199 w 20199"/>
                <a:gd name="connsiteY1" fmla="*/ 17585 h 1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99" h="17584">
                  <a:moveTo>
                    <a:pt x="0" y="0"/>
                  </a:moveTo>
                  <a:cubicBezTo>
                    <a:pt x="0" y="0"/>
                    <a:pt x="19321" y="0"/>
                    <a:pt x="20199" y="17585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7385C70A-F1FC-140F-7EC7-1B496AFC8D66}"/>
                </a:ext>
              </a:extLst>
            </p:cNvPr>
            <p:cNvSpPr/>
            <p:nvPr/>
          </p:nvSpPr>
          <p:spPr>
            <a:xfrm>
              <a:off x="-10709211" y="3752545"/>
              <a:ext cx="18815" cy="20222"/>
            </a:xfrm>
            <a:custGeom>
              <a:avLst/>
              <a:gdLst>
                <a:gd name="connsiteX0" fmla="*/ 0 w 18815"/>
                <a:gd name="connsiteY0" fmla="*/ 0 h 20222"/>
                <a:gd name="connsiteX1" fmla="*/ 16687 w 18815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5" h="20222">
                  <a:moveTo>
                    <a:pt x="0" y="0"/>
                  </a:moveTo>
                  <a:cubicBezTo>
                    <a:pt x="0" y="0"/>
                    <a:pt x="26347" y="2638"/>
                    <a:pt x="16687" y="2022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9513285E-E53D-88DA-746F-FA14F28BC278}"/>
                </a:ext>
              </a:extLst>
            </p:cNvPr>
            <p:cNvSpPr/>
            <p:nvPr/>
          </p:nvSpPr>
          <p:spPr>
            <a:xfrm>
              <a:off x="-10873076" y="3190858"/>
              <a:ext cx="325400" cy="137155"/>
            </a:xfrm>
            <a:custGeom>
              <a:avLst/>
              <a:gdLst>
                <a:gd name="connsiteX0" fmla="*/ 23346 w 325400"/>
                <a:gd name="connsiteY0" fmla="*/ 55249 h 137155"/>
                <a:gd name="connsiteX1" fmla="*/ 10173 w 325400"/>
                <a:gd name="connsiteY1" fmla="*/ 137018 h 137155"/>
                <a:gd name="connsiteX2" fmla="*/ 184065 w 325400"/>
                <a:gd name="connsiteY2" fmla="*/ 103607 h 137155"/>
                <a:gd name="connsiteX3" fmla="*/ 262228 w 325400"/>
                <a:gd name="connsiteY3" fmla="*/ 107124 h 137155"/>
                <a:gd name="connsiteX4" fmla="*/ 306141 w 325400"/>
                <a:gd name="connsiteY4" fmla="*/ 90419 h 137155"/>
                <a:gd name="connsiteX5" fmla="*/ 306141 w 325400"/>
                <a:gd name="connsiteY5" fmla="*/ 70196 h 137155"/>
                <a:gd name="connsiteX6" fmla="*/ 275402 w 325400"/>
                <a:gd name="connsiteY6" fmla="*/ 85143 h 137155"/>
                <a:gd name="connsiteX7" fmla="*/ 312288 w 325400"/>
                <a:gd name="connsiteY7" fmla="*/ 65800 h 137155"/>
                <a:gd name="connsiteX8" fmla="*/ 306141 w 325400"/>
                <a:gd name="connsiteY8" fmla="*/ 47336 h 137155"/>
                <a:gd name="connsiteX9" fmla="*/ 271011 w 325400"/>
                <a:gd name="connsiteY9" fmla="*/ 64921 h 137155"/>
                <a:gd name="connsiteX10" fmla="*/ 313166 w 325400"/>
                <a:gd name="connsiteY10" fmla="*/ 41182 h 137155"/>
                <a:gd name="connsiteX11" fmla="*/ 306141 w 325400"/>
                <a:gd name="connsiteY11" fmla="*/ 23597 h 137155"/>
                <a:gd name="connsiteX12" fmla="*/ 269254 w 325400"/>
                <a:gd name="connsiteY12" fmla="*/ 46457 h 137155"/>
                <a:gd name="connsiteX13" fmla="*/ 295601 w 325400"/>
                <a:gd name="connsiteY13" fmla="*/ 31510 h 137155"/>
                <a:gd name="connsiteX14" fmla="*/ 293845 w 325400"/>
                <a:gd name="connsiteY14" fmla="*/ 10409 h 137155"/>
                <a:gd name="connsiteX15" fmla="*/ 265741 w 325400"/>
                <a:gd name="connsiteY15" fmla="*/ 29752 h 137155"/>
                <a:gd name="connsiteX16" fmla="*/ 243785 w 325400"/>
                <a:gd name="connsiteY16" fmla="*/ 35027 h 137155"/>
                <a:gd name="connsiteX17" fmla="*/ 260472 w 325400"/>
                <a:gd name="connsiteY17" fmla="*/ 2496 h 137155"/>
                <a:gd name="connsiteX18" fmla="*/ 219194 w 325400"/>
                <a:gd name="connsiteY18" fmla="*/ 30631 h 137155"/>
                <a:gd name="connsiteX19" fmla="*/ 180552 w 325400"/>
                <a:gd name="connsiteY19" fmla="*/ 60525 h 137155"/>
                <a:gd name="connsiteX20" fmla="*/ 22468 w 325400"/>
                <a:gd name="connsiteY20" fmla="*/ 57008 h 137155"/>
                <a:gd name="connsiteX21" fmla="*/ 22468 w 325400"/>
                <a:gd name="connsiteY21" fmla="*/ 55249 h 137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5400" h="137155">
                  <a:moveTo>
                    <a:pt x="23346" y="55249"/>
                  </a:moveTo>
                  <a:cubicBezTo>
                    <a:pt x="23346" y="59646"/>
                    <a:pt x="-18809" y="134380"/>
                    <a:pt x="10173" y="137018"/>
                  </a:cubicBezTo>
                  <a:cubicBezTo>
                    <a:pt x="39155" y="139656"/>
                    <a:pt x="184065" y="103607"/>
                    <a:pt x="184065" y="103607"/>
                  </a:cubicBezTo>
                  <a:cubicBezTo>
                    <a:pt x="188456" y="108003"/>
                    <a:pt x="235881" y="111520"/>
                    <a:pt x="262228" y="107124"/>
                  </a:cubicBezTo>
                  <a:cubicBezTo>
                    <a:pt x="288576" y="102728"/>
                    <a:pt x="294723" y="95694"/>
                    <a:pt x="306141" y="90419"/>
                  </a:cubicBezTo>
                  <a:cubicBezTo>
                    <a:pt x="323705" y="81626"/>
                    <a:pt x="317558" y="63162"/>
                    <a:pt x="306141" y="70196"/>
                  </a:cubicBezTo>
                  <a:cubicBezTo>
                    <a:pt x="294723" y="77230"/>
                    <a:pt x="275402" y="85143"/>
                    <a:pt x="275402" y="85143"/>
                  </a:cubicBezTo>
                  <a:cubicBezTo>
                    <a:pt x="275402" y="85143"/>
                    <a:pt x="302627" y="75472"/>
                    <a:pt x="312288" y="65800"/>
                  </a:cubicBezTo>
                  <a:cubicBezTo>
                    <a:pt x="326340" y="53491"/>
                    <a:pt x="324583" y="33269"/>
                    <a:pt x="306141" y="47336"/>
                  </a:cubicBezTo>
                  <a:cubicBezTo>
                    <a:pt x="289454" y="57887"/>
                    <a:pt x="271011" y="64921"/>
                    <a:pt x="271011" y="64921"/>
                  </a:cubicBezTo>
                  <a:cubicBezTo>
                    <a:pt x="271011" y="64921"/>
                    <a:pt x="299114" y="53491"/>
                    <a:pt x="313166" y="41182"/>
                  </a:cubicBezTo>
                  <a:cubicBezTo>
                    <a:pt x="339514" y="18322"/>
                    <a:pt x="316679" y="13046"/>
                    <a:pt x="306141" y="23597"/>
                  </a:cubicBezTo>
                  <a:cubicBezTo>
                    <a:pt x="295601" y="34148"/>
                    <a:pt x="283306" y="40303"/>
                    <a:pt x="269254" y="46457"/>
                  </a:cubicBezTo>
                  <a:cubicBezTo>
                    <a:pt x="269254" y="46457"/>
                    <a:pt x="282428" y="41182"/>
                    <a:pt x="295601" y="31510"/>
                  </a:cubicBezTo>
                  <a:cubicBezTo>
                    <a:pt x="308775" y="21839"/>
                    <a:pt x="303506" y="3375"/>
                    <a:pt x="293845" y="10409"/>
                  </a:cubicBezTo>
                  <a:cubicBezTo>
                    <a:pt x="284184" y="17443"/>
                    <a:pt x="273645" y="27114"/>
                    <a:pt x="265741" y="29752"/>
                  </a:cubicBezTo>
                  <a:cubicBezTo>
                    <a:pt x="257837" y="32389"/>
                    <a:pt x="249055" y="35906"/>
                    <a:pt x="243785" y="35027"/>
                  </a:cubicBezTo>
                  <a:cubicBezTo>
                    <a:pt x="242029" y="33269"/>
                    <a:pt x="268376" y="13046"/>
                    <a:pt x="260472" y="2496"/>
                  </a:cubicBezTo>
                  <a:cubicBezTo>
                    <a:pt x="252568" y="-8055"/>
                    <a:pt x="228855" y="17443"/>
                    <a:pt x="219194" y="30631"/>
                  </a:cubicBezTo>
                  <a:cubicBezTo>
                    <a:pt x="209534" y="43819"/>
                    <a:pt x="180552" y="60525"/>
                    <a:pt x="180552" y="60525"/>
                  </a:cubicBezTo>
                  <a:cubicBezTo>
                    <a:pt x="180552" y="60525"/>
                    <a:pt x="21590" y="53491"/>
                    <a:pt x="22468" y="57008"/>
                  </a:cubicBezTo>
                  <a:lnTo>
                    <a:pt x="22468" y="5524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AEB76F12-5B18-7EE5-6A8F-3158A425CC25}"/>
                </a:ext>
              </a:extLst>
            </p:cNvPr>
            <p:cNvSpPr/>
            <p:nvPr/>
          </p:nvSpPr>
          <p:spPr>
            <a:xfrm>
              <a:off x="-11123877" y="3076153"/>
              <a:ext cx="353347" cy="527140"/>
            </a:xfrm>
            <a:custGeom>
              <a:avLst/>
              <a:gdLst>
                <a:gd name="connsiteX0" fmla="*/ 347041 w 353347"/>
                <a:gd name="connsiteY0" fmla="*/ 59171 h 527140"/>
                <a:gd name="connsiteX1" fmla="*/ 124846 w 353347"/>
                <a:gd name="connsiteY1" fmla="*/ 41587 h 527140"/>
                <a:gd name="connsiteX2" fmla="*/ 1013 w 353347"/>
                <a:gd name="connsiteY2" fmla="*/ 360748 h 527140"/>
                <a:gd name="connsiteX3" fmla="*/ 195983 w 353347"/>
                <a:gd name="connsiteY3" fmla="*/ 474168 h 527140"/>
                <a:gd name="connsiteX4" fmla="*/ 318937 w 353347"/>
                <a:gd name="connsiteY4" fmla="*/ 518130 h 527140"/>
                <a:gd name="connsiteX5" fmla="*/ 306642 w 353347"/>
                <a:gd name="connsiteY5" fmla="*/ 409985 h 527140"/>
                <a:gd name="connsiteX6" fmla="*/ 243408 w 353347"/>
                <a:gd name="connsiteY6" fmla="*/ 346680 h 527140"/>
                <a:gd name="connsiteX7" fmla="*/ 346163 w 353347"/>
                <a:gd name="connsiteY7" fmla="*/ 59171 h 527140"/>
                <a:gd name="connsiteX8" fmla="*/ 347041 w 353347"/>
                <a:gd name="connsiteY8" fmla="*/ 59171 h 52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347" h="527140">
                  <a:moveTo>
                    <a:pt x="347041" y="59171"/>
                  </a:moveTo>
                  <a:cubicBezTo>
                    <a:pt x="306642" y="-15563"/>
                    <a:pt x="172271" y="-17322"/>
                    <a:pt x="124846" y="41587"/>
                  </a:cubicBezTo>
                  <a:cubicBezTo>
                    <a:pt x="77421" y="100495"/>
                    <a:pt x="-10404" y="242052"/>
                    <a:pt x="1013" y="360748"/>
                  </a:cubicBezTo>
                  <a:cubicBezTo>
                    <a:pt x="12431" y="479444"/>
                    <a:pt x="195983" y="474168"/>
                    <a:pt x="195983" y="474168"/>
                  </a:cubicBezTo>
                  <a:cubicBezTo>
                    <a:pt x="195983" y="474168"/>
                    <a:pt x="294346" y="553299"/>
                    <a:pt x="318937" y="518130"/>
                  </a:cubicBezTo>
                  <a:cubicBezTo>
                    <a:pt x="341772" y="486478"/>
                    <a:pt x="336502" y="450429"/>
                    <a:pt x="306642" y="409985"/>
                  </a:cubicBezTo>
                  <a:cubicBezTo>
                    <a:pt x="282929" y="377453"/>
                    <a:pt x="243408" y="346680"/>
                    <a:pt x="243408" y="346680"/>
                  </a:cubicBezTo>
                  <a:cubicBezTo>
                    <a:pt x="243408" y="346680"/>
                    <a:pt x="386562" y="133906"/>
                    <a:pt x="346163" y="59171"/>
                  </a:cubicBezTo>
                  <a:lnTo>
                    <a:pt x="347041" y="59171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BFACC9B8-4AEC-FE0D-7A65-C5EC106AA8C9}"/>
                </a:ext>
              </a:extLst>
            </p:cNvPr>
            <p:cNvSpPr/>
            <p:nvPr/>
          </p:nvSpPr>
          <p:spPr>
            <a:xfrm>
              <a:off x="-11149211" y="3460640"/>
              <a:ext cx="378522" cy="220686"/>
            </a:xfrm>
            <a:custGeom>
              <a:avLst/>
              <a:gdLst>
                <a:gd name="connsiteX0" fmla="*/ 0 w 378522"/>
                <a:gd name="connsiteY0" fmla="*/ 0 h 220686"/>
                <a:gd name="connsiteX1" fmla="*/ 361836 w 378522"/>
                <a:gd name="connsiteY1" fmla="*/ 34290 h 220686"/>
                <a:gd name="connsiteX2" fmla="*/ 378523 w 378522"/>
                <a:gd name="connsiteY2" fmla="*/ 119575 h 220686"/>
                <a:gd name="connsiteX3" fmla="*/ 82555 w 378522"/>
                <a:gd name="connsiteY3" fmla="*/ 220687 h 22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522" h="220686">
                  <a:moveTo>
                    <a:pt x="0" y="0"/>
                  </a:moveTo>
                  <a:lnTo>
                    <a:pt x="361836" y="34290"/>
                  </a:lnTo>
                  <a:lnTo>
                    <a:pt x="378523" y="119575"/>
                  </a:lnTo>
                  <a:cubicBezTo>
                    <a:pt x="378523" y="119575"/>
                    <a:pt x="201996" y="198706"/>
                    <a:pt x="82555" y="220687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133240B8-6998-955C-40C4-8E953C72EFA9}"/>
                </a:ext>
              </a:extLst>
            </p:cNvPr>
            <p:cNvSpPr/>
            <p:nvPr/>
          </p:nvSpPr>
          <p:spPr>
            <a:xfrm>
              <a:off x="-13480067" y="1704817"/>
              <a:ext cx="8782" cy="8792"/>
            </a:xfrm>
            <a:custGeom>
              <a:avLst/>
              <a:gdLst/>
              <a:ahLst/>
              <a:cxnLst/>
              <a:rect l="l" t="t" r="r" b="b"/>
              <a:pathLst>
                <a:path w="8782" h="8792"/>
              </a:pathLst>
            </a:custGeom>
            <a:solidFill>
              <a:srgbClr val="DD9C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B7472EB4-D3F6-58AD-C7BB-8933D5DCA74D}"/>
                </a:ext>
              </a:extLst>
            </p:cNvPr>
            <p:cNvSpPr/>
            <p:nvPr/>
          </p:nvSpPr>
          <p:spPr>
            <a:xfrm>
              <a:off x="-10950752" y="2817590"/>
              <a:ext cx="263053" cy="235087"/>
            </a:xfrm>
            <a:custGeom>
              <a:avLst/>
              <a:gdLst>
                <a:gd name="connsiteX0" fmla="*/ 39545 w 263053"/>
                <a:gd name="connsiteY0" fmla="*/ 235087 h 235087"/>
                <a:gd name="connsiteX1" fmla="*/ 24 w 263053"/>
                <a:gd name="connsiteY1" fmla="*/ 133096 h 235087"/>
                <a:gd name="connsiteX2" fmla="*/ 91361 w 263053"/>
                <a:gd name="connsiteY2" fmla="*/ 2091 h 235087"/>
                <a:gd name="connsiteX3" fmla="*/ 259984 w 263053"/>
                <a:gd name="connsiteY3" fmla="*/ 51328 h 235087"/>
                <a:gd name="connsiteX4" fmla="*/ 189725 w 263053"/>
                <a:gd name="connsiteY4" fmla="*/ 82980 h 235087"/>
                <a:gd name="connsiteX5" fmla="*/ 173916 w 263053"/>
                <a:gd name="connsiteY5" fmla="*/ 125183 h 235087"/>
                <a:gd name="connsiteX6" fmla="*/ 144056 w 263053"/>
                <a:gd name="connsiteY6" fmla="*/ 148043 h 235087"/>
                <a:gd name="connsiteX7" fmla="*/ 122978 w 263053"/>
                <a:gd name="connsiteY7" fmla="*/ 107599 h 235087"/>
                <a:gd name="connsiteX8" fmla="*/ 124735 w 263053"/>
                <a:gd name="connsiteY8" fmla="*/ 172662 h 235087"/>
                <a:gd name="connsiteX9" fmla="*/ 82579 w 263053"/>
                <a:gd name="connsiteY9" fmla="*/ 228053 h 235087"/>
                <a:gd name="connsiteX10" fmla="*/ 37789 w 263053"/>
                <a:gd name="connsiteY10" fmla="*/ 232449 h 235087"/>
                <a:gd name="connsiteX11" fmla="*/ 39545 w 263053"/>
                <a:gd name="connsiteY11" fmla="*/ 235087 h 23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3053" h="235087">
                  <a:moveTo>
                    <a:pt x="39545" y="235087"/>
                  </a:moveTo>
                  <a:cubicBezTo>
                    <a:pt x="39545" y="235087"/>
                    <a:pt x="1781" y="184092"/>
                    <a:pt x="24" y="133096"/>
                  </a:cubicBezTo>
                  <a:cubicBezTo>
                    <a:pt x="-854" y="82101"/>
                    <a:pt x="21980" y="13521"/>
                    <a:pt x="91361" y="2091"/>
                  </a:cubicBezTo>
                  <a:cubicBezTo>
                    <a:pt x="91361" y="2091"/>
                    <a:pt x="226611" y="-15494"/>
                    <a:pt x="259984" y="51328"/>
                  </a:cubicBezTo>
                  <a:cubicBezTo>
                    <a:pt x="276671" y="86497"/>
                    <a:pt x="221341" y="61879"/>
                    <a:pt x="189725" y="82980"/>
                  </a:cubicBezTo>
                  <a:cubicBezTo>
                    <a:pt x="172160" y="95289"/>
                    <a:pt x="173916" y="117270"/>
                    <a:pt x="173916" y="125183"/>
                  </a:cubicBezTo>
                  <a:cubicBezTo>
                    <a:pt x="173916" y="146285"/>
                    <a:pt x="158108" y="159473"/>
                    <a:pt x="144056" y="148043"/>
                  </a:cubicBezTo>
                  <a:cubicBezTo>
                    <a:pt x="137030" y="141889"/>
                    <a:pt x="155473" y="119908"/>
                    <a:pt x="122978" y="107599"/>
                  </a:cubicBezTo>
                  <a:cubicBezTo>
                    <a:pt x="81701" y="100565"/>
                    <a:pt x="90483" y="162990"/>
                    <a:pt x="124735" y="172662"/>
                  </a:cubicBezTo>
                  <a:cubicBezTo>
                    <a:pt x="104535" y="183212"/>
                    <a:pt x="105413" y="227174"/>
                    <a:pt x="82579" y="228053"/>
                  </a:cubicBezTo>
                  <a:lnTo>
                    <a:pt x="37789" y="232449"/>
                  </a:lnTo>
                  <a:lnTo>
                    <a:pt x="39545" y="235087"/>
                  </a:lnTo>
                  <a:close/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0F92708F-5FFB-47D0-D03A-458DE49B6A73}"/>
                </a:ext>
              </a:extLst>
            </p:cNvPr>
            <p:cNvSpPr/>
            <p:nvPr/>
          </p:nvSpPr>
          <p:spPr>
            <a:xfrm>
              <a:off x="-11051904" y="2954985"/>
              <a:ext cx="132793" cy="93781"/>
            </a:xfrm>
            <a:custGeom>
              <a:avLst/>
              <a:gdLst>
                <a:gd name="connsiteX0" fmla="*/ 122254 w 132793"/>
                <a:gd name="connsiteY0" fmla="*/ 10648 h 93781"/>
                <a:gd name="connsiteX1" fmla="*/ 39699 w 132793"/>
                <a:gd name="connsiteY1" fmla="*/ 22957 h 93781"/>
                <a:gd name="connsiteX2" fmla="*/ 13352 w 132793"/>
                <a:gd name="connsiteY2" fmla="*/ 73074 h 93781"/>
                <a:gd name="connsiteX3" fmla="*/ 44091 w 132793"/>
                <a:gd name="connsiteY3" fmla="*/ 91537 h 93781"/>
                <a:gd name="connsiteX4" fmla="*/ 132793 w 132793"/>
                <a:gd name="connsiteY4" fmla="*/ 37904 h 9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793" h="93781">
                  <a:moveTo>
                    <a:pt x="122254" y="10648"/>
                  </a:moveTo>
                  <a:cubicBezTo>
                    <a:pt x="122254" y="10648"/>
                    <a:pt x="49360" y="-20125"/>
                    <a:pt x="39699" y="22957"/>
                  </a:cubicBezTo>
                  <a:cubicBezTo>
                    <a:pt x="30039" y="66040"/>
                    <a:pt x="29160" y="65161"/>
                    <a:pt x="13352" y="73074"/>
                  </a:cubicBezTo>
                  <a:cubicBezTo>
                    <a:pt x="-2456" y="80987"/>
                    <a:pt x="-15630" y="100330"/>
                    <a:pt x="44091" y="91537"/>
                  </a:cubicBezTo>
                  <a:cubicBezTo>
                    <a:pt x="103811" y="82745"/>
                    <a:pt x="132793" y="37904"/>
                    <a:pt x="132793" y="37904"/>
                  </a:cubicBezTo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CC2B76CC-3E56-6617-02E7-61C95B427743}"/>
                </a:ext>
              </a:extLst>
            </p:cNvPr>
            <p:cNvSpPr/>
            <p:nvPr/>
          </p:nvSpPr>
          <p:spPr>
            <a:xfrm>
              <a:off x="-11003024" y="3268022"/>
              <a:ext cx="361090" cy="247097"/>
            </a:xfrm>
            <a:custGeom>
              <a:avLst/>
              <a:gdLst>
                <a:gd name="connsiteX0" fmla="*/ 256048 w 361090"/>
                <a:gd name="connsiteY0" fmla="*/ 231304 h 247097"/>
                <a:gd name="connsiteX1" fmla="*/ 296447 w 361090"/>
                <a:gd name="connsiteY1" fmla="*/ 246251 h 247097"/>
                <a:gd name="connsiteX2" fmla="*/ 321916 w 361090"/>
                <a:gd name="connsiteY2" fmla="*/ 230425 h 247097"/>
                <a:gd name="connsiteX3" fmla="*/ 287665 w 361090"/>
                <a:gd name="connsiteY3" fmla="*/ 224270 h 247097"/>
                <a:gd name="connsiteX4" fmla="*/ 312256 w 361090"/>
                <a:gd name="connsiteY4" fmla="*/ 231304 h 247097"/>
                <a:gd name="connsiteX5" fmla="*/ 335090 w 361090"/>
                <a:gd name="connsiteY5" fmla="*/ 208444 h 247097"/>
                <a:gd name="connsiteX6" fmla="*/ 295569 w 361090"/>
                <a:gd name="connsiteY6" fmla="*/ 205807 h 247097"/>
                <a:gd name="connsiteX7" fmla="*/ 343873 w 361090"/>
                <a:gd name="connsiteY7" fmla="*/ 205807 h 247097"/>
                <a:gd name="connsiteX8" fmla="*/ 346507 w 361090"/>
                <a:gd name="connsiteY8" fmla="*/ 188222 h 247097"/>
                <a:gd name="connsiteX9" fmla="*/ 309621 w 361090"/>
                <a:gd name="connsiteY9" fmla="*/ 188222 h 247097"/>
                <a:gd name="connsiteX10" fmla="*/ 337725 w 361090"/>
                <a:gd name="connsiteY10" fmla="*/ 190860 h 247097"/>
                <a:gd name="connsiteX11" fmla="*/ 357046 w 361090"/>
                <a:gd name="connsiteY11" fmla="*/ 169758 h 247097"/>
                <a:gd name="connsiteX12" fmla="*/ 314890 w 361090"/>
                <a:gd name="connsiteY12" fmla="*/ 166241 h 247097"/>
                <a:gd name="connsiteX13" fmla="*/ 298204 w 361090"/>
                <a:gd name="connsiteY13" fmla="*/ 154811 h 247097"/>
                <a:gd name="connsiteX14" fmla="*/ 335968 w 361090"/>
                <a:gd name="connsiteY14" fmla="*/ 130193 h 247097"/>
                <a:gd name="connsiteX15" fmla="*/ 290300 w 361090"/>
                <a:gd name="connsiteY15" fmla="*/ 132830 h 247097"/>
                <a:gd name="connsiteX16" fmla="*/ 221797 w 361090"/>
                <a:gd name="connsiteY16" fmla="*/ 143381 h 247097"/>
                <a:gd name="connsiteX17" fmla="*/ 117286 w 361090"/>
                <a:gd name="connsiteY17" fmla="*/ 52821 h 247097"/>
                <a:gd name="connsiteX18" fmla="*/ 1358 w 361090"/>
                <a:gd name="connsiteY18" fmla="*/ 1825 h 247097"/>
                <a:gd name="connsiteX19" fmla="*/ 31218 w 361090"/>
                <a:gd name="connsiteY19" fmla="*/ 117004 h 247097"/>
                <a:gd name="connsiteX20" fmla="*/ 205110 w 361090"/>
                <a:gd name="connsiteY20" fmla="*/ 197894 h 247097"/>
                <a:gd name="connsiteX21" fmla="*/ 257805 w 361090"/>
                <a:gd name="connsiteY21" fmla="*/ 233942 h 247097"/>
                <a:gd name="connsiteX22" fmla="*/ 256048 w 361090"/>
                <a:gd name="connsiteY22" fmla="*/ 231304 h 24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090" h="247097">
                  <a:moveTo>
                    <a:pt x="256048" y="231304"/>
                  </a:moveTo>
                  <a:cubicBezTo>
                    <a:pt x="277126" y="242734"/>
                    <a:pt x="288543" y="244493"/>
                    <a:pt x="296447" y="246251"/>
                  </a:cubicBezTo>
                  <a:cubicBezTo>
                    <a:pt x="314890" y="251527"/>
                    <a:pt x="323673" y="230425"/>
                    <a:pt x="321916" y="230425"/>
                  </a:cubicBezTo>
                  <a:cubicBezTo>
                    <a:pt x="302595" y="233063"/>
                    <a:pt x="287665" y="224270"/>
                    <a:pt x="287665" y="224270"/>
                  </a:cubicBezTo>
                  <a:cubicBezTo>
                    <a:pt x="287665" y="224270"/>
                    <a:pt x="296447" y="230425"/>
                    <a:pt x="312256" y="231304"/>
                  </a:cubicBezTo>
                  <a:cubicBezTo>
                    <a:pt x="331577" y="233942"/>
                    <a:pt x="350020" y="216357"/>
                    <a:pt x="335090" y="208444"/>
                  </a:cubicBezTo>
                  <a:cubicBezTo>
                    <a:pt x="315769" y="211082"/>
                    <a:pt x="295569" y="205807"/>
                    <a:pt x="295569" y="205807"/>
                  </a:cubicBezTo>
                  <a:cubicBezTo>
                    <a:pt x="295569" y="205807"/>
                    <a:pt x="330699" y="214599"/>
                    <a:pt x="343873" y="205807"/>
                  </a:cubicBezTo>
                  <a:cubicBezTo>
                    <a:pt x="356168" y="196135"/>
                    <a:pt x="350898" y="186464"/>
                    <a:pt x="346507" y="188222"/>
                  </a:cubicBezTo>
                  <a:cubicBezTo>
                    <a:pt x="342116" y="189980"/>
                    <a:pt x="327186" y="196135"/>
                    <a:pt x="309621" y="188222"/>
                  </a:cubicBezTo>
                  <a:cubicBezTo>
                    <a:pt x="309621" y="188222"/>
                    <a:pt x="324551" y="192618"/>
                    <a:pt x="337725" y="190860"/>
                  </a:cubicBezTo>
                  <a:cubicBezTo>
                    <a:pt x="350898" y="189101"/>
                    <a:pt x="369342" y="175913"/>
                    <a:pt x="357046" y="169758"/>
                  </a:cubicBezTo>
                  <a:cubicBezTo>
                    <a:pt x="344751" y="163603"/>
                    <a:pt x="327186" y="172396"/>
                    <a:pt x="314890" y="166241"/>
                  </a:cubicBezTo>
                  <a:cubicBezTo>
                    <a:pt x="313134" y="165362"/>
                    <a:pt x="302595" y="158328"/>
                    <a:pt x="298204" y="154811"/>
                  </a:cubicBezTo>
                  <a:cubicBezTo>
                    <a:pt x="298204" y="152174"/>
                    <a:pt x="333334" y="145140"/>
                    <a:pt x="335968" y="130193"/>
                  </a:cubicBezTo>
                  <a:cubicBezTo>
                    <a:pt x="338603" y="115246"/>
                    <a:pt x="294691" y="132830"/>
                    <a:pt x="290300" y="132830"/>
                  </a:cubicBezTo>
                  <a:cubicBezTo>
                    <a:pt x="279761" y="133710"/>
                    <a:pt x="221797" y="143381"/>
                    <a:pt x="221797" y="143381"/>
                  </a:cubicBezTo>
                  <a:cubicBezTo>
                    <a:pt x="221797" y="143381"/>
                    <a:pt x="121677" y="45787"/>
                    <a:pt x="117286" y="52821"/>
                  </a:cubicBezTo>
                  <a:cubicBezTo>
                    <a:pt x="112895" y="59854"/>
                    <a:pt x="-14451" y="-12243"/>
                    <a:pt x="1358" y="1825"/>
                  </a:cubicBezTo>
                  <a:cubicBezTo>
                    <a:pt x="17166" y="15893"/>
                    <a:pt x="-13572" y="94144"/>
                    <a:pt x="31218" y="117004"/>
                  </a:cubicBezTo>
                  <a:cubicBezTo>
                    <a:pt x="76009" y="139864"/>
                    <a:pt x="206867" y="195256"/>
                    <a:pt x="205110" y="197894"/>
                  </a:cubicBezTo>
                  <a:cubicBezTo>
                    <a:pt x="205110" y="197894"/>
                    <a:pt x="236727" y="222512"/>
                    <a:pt x="257805" y="233942"/>
                  </a:cubicBezTo>
                  <a:lnTo>
                    <a:pt x="256048" y="231304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EA7EDAA0-661F-D28F-F125-1EF20195A1F7}"/>
                </a:ext>
              </a:extLst>
            </p:cNvPr>
            <p:cNvSpPr/>
            <p:nvPr/>
          </p:nvSpPr>
          <p:spPr>
            <a:xfrm>
              <a:off x="-11006568" y="3174890"/>
              <a:ext cx="157715" cy="150238"/>
            </a:xfrm>
            <a:custGeom>
              <a:avLst/>
              <a:gdLst>
                <a:gd name="connsiteX0" fmla="*/ 157716 w 157715"/>
                <a:gd name="connsiteY0" fmla="*/ 29894 h 150238"/>
                <a:gd name="connsiteX1" fmla="*/ 134003 w 157715"/>
                <a:gd name="connsiteY1" fmla="*/ 126609 h 150238"/>
                <a:gd name="connsiteX2" fmla="*/ 1389 w 157715"/>
                <a:gd name="connsiteY2" fmla="*/ 123092 h 150238"/>
                <a:gd name="connsiteX3" fmla="*/ 35640 w 157715"/>
                <a:gd name="connsiteY3" fmla="*/ 0 h 15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715" h="150238">
                  <a:moveTo>
                    <a:pt x="157716" y="29894"/>
                  </a:moveTo>
                  <a:cubicBezTo>
                    <a:pt x="157716" y="29894"/>
                    <a:pt x="149812" y="96715"/>
                    <a:pt x="134003" y="126609"/>
                  </a:cubicBezTo>
                  <a:cubicBezTo>
                    <a:pt x="116438" y="167054"/>
                    <a:pt x="22467" y="148590"/>
                    <a:pt x="1389" y="123092"/>
                  </a:cubicBezTo>
                  <a:cubicBezTo>
                    <a:pt x="-8272" y="57150"/>
                    <a:pt x="35640" y="0"/>
                    <a:pt x="35640" y="0"/>
                  </a:cubicBezTo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5" name="Graphic 6">
            <a:extLst>
              <a:ext uri="{FF2B5EF4-FFF2-40B4-BE49-F238E27FC236}">
                <a16:creationId xmlns:a16="http://schemas.microsoft.com/office/drawing/2014/main" id="{C20F609D-EB3C-55D3-A12E-E07FE7417985}"/>
              </a:ext>
            </a:extLst>
          </p:cNvPr>
          <p:cNvGrpSpPr/>
          <p:nvPr/>
        </p:nvGrpSpPr>
        <p:grpSpPr>
          <a:xfrm>
            <a:off x="-10159651" y="3689492"/>
            <a:ext cx="1772053" cy="2111660"/>
            <a:chOff x="-10159651" y="3689492"/>
            <a:chExt cx="1772053" cy="2111660"/>
          </a:xfrm>
        </p:grpSpPr>
        <p:grpSp>
          <p:nvGrpSpPr>
            <p:cNvPr id="116" name="Graphic 6">
              <a:extLst>
                <a:ext uri="{FF2B5EF4-FFF2-40B4-BE49-F238E27FC236}">
                  <a16:creationId xmlns:a16="http://schemas.microsoft.com/office/drawing/2014/main" id="{B65F25C4-09B2-4716-0AA3-B9593F61BCA2}"/>
                </a:ext>
              </a:extLst>
            </p:cNvPr>
            <p:cNvGrpSpPr/>
            <p:nvPr/>
          </p:nvGrpSpPr>
          <p:grpSpPr>
            <a:xfrm>
              <a:off x="-10145379" y="3689492"/>
              <a:ext cx="1583761" cy="2111660"/>
              <a:chOff x="-10145379" y="3689492"/>
              <a:chExt cx="1583761" cy="2111660"/>
            </a:xfrm>
          </p:grpSpPr>
          <p:sp>
            <p:nvSpPr>
              <p:cNvPr id="117" name="Freeform 116">
                <a:extLst>
                  <a:ext uri="{FF2B5EF4-FFF2-40B4-BE49-F238E27FC236}">
                    <a16:creationId xmlns:a16="http://schemas.microsoft.com/office/drawing/2014/main" id="{AF22DE33-13CC-B6F0-E65A-361A5BE05DDF}"/>
                  </a:ext>
                </a:extLst>
              </p:cNvPr>
              <p:cNvSpPr/>
              <p:nvPr/>
            </p:nvSpPr>
            <p:spPr>
              <a:xfrm>
                <a:off x="-9701867" y="5162831"/>
                <a:ext cx="224829" cy="623972"/>
              </a:xfrm>
              <a:custGeom>
                <a:avLst/>
                <a:gdLst>
                  <a:gd name="connsiteX0" fmla="*/ 103633 w 224829"/>
                  <a:gd name="connsiteY0" fmla="*/ 612824 h 623972"/>
                  <a:gd name="connsiteX1" fmla="*/ 90459 w 224829"/>
                  <a:gd name="connsiteY1" fmla="*/ 563587 h 623972"/>
                  <a:gd name="connsiteX2" fmla="*/ 96607 w 224829"/>
                  <a:gd name="connsiteY2" fmla="*/ 496765 h 623972"/>
                  <a:gd name="connsiteX3" fmla="*/ 28104 w 224829"/>
                  <a:gd name="connsiteY3" fmla="*/ 125730 h 623972"/>
                  <a:gd name="connsiteX4" fmla="*/ 0 w 224829"/>
                  <a:gd name="connsiteY4" fmla="*/ 4396 h 623972"/>
                  <a:gd name="connsiteX5" fmla="*/ 180040 w 224829"/>
                  <a:gd name="connsiteY5" fmla="*/ 0 h 623972"/>
                  <a:gd name="connsiteX6" fmla="*/ 185309 w 224829"/>
                  <a:gd name="connsiteY6" fmla="*/ 118696 h 623972"/>
                  <a:gd name="connsiteX7" fmla="*/ 194970 w 224829"/>
                  <a:gd name="connsiteY7" fmla="*/ 517867 h 623972"/>
                  <a:gd name="connsiteX8" fmla="*/ 224830 w 224829"/>
                  <a:gd name="connsiteY8" fmla="*/ 556553 h 623972"/>
                  <a:gd name="connsiteX9" fmla="*/ 103633 w 224829"/>
                  <a:gd name="connsiteY9" fmla="*/ 612824 h 623972"/>
                  <a:gd name="connsiteX10" fmla="*/ 103633 w 224829"/>
                  <a:gd name="connsiteY10" fmla="*/ 612824 h 6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4829" h="623972">
                    <a:moveTo>
                      <a:pt x="103633" y="612824"/>
                    </a:moveTo>
                    <a:cubicBezTo>
                      <a:pt x="103633" y="612824"/>
                      <a:pt x="83433" y="589964"/>
                      <a:pt x="90459" y="563587"/>
                    </a:cubicBezTo>
                    <a:cubicBezTo>
                      <a:pt x="97485" y="537210"/>
                      <a:pt x="108024" y="528418"/>
                      <a:pt x="96607" y="496765"/>
                    </a:cubicBezTo>
                    <a:cubicBezTo>
                      <a:pt x="96607" y="496765"/>
                      <a:pt x="10539" y="196069"/>
                      <a:pt x="28104" y="125730"/>
                    </a:cubicBezTo>
                    <a:cubicBezTo>
                      <a:pt x="18443" y="85285"/>
                      <a:pt x="0" y="4396"/>
                      <a:pt x="0" y="4396"/>
                    </a:cubicBezTo>
                    <a:lnTo>
                      <a:pt x="180040" y="0"/>
                    </a:lnTo>
                    <a:lnTo>
                      <a:pt x="185309" y="118696"/>
                    </a:lnTo>
                    <a:lnTo>
                      <a:pt x="194970" y="517867"/>
                    </a:lnTo>
                    <a:lnTo>
                      <a:pt x="224830" y="556553"/>
                    </a:lnTo>
                    <a:cubicBezTo>
                      <a:pt x="224830" y="556553"/>
                      <a:pt x="134371" y="656785"/>
                      <a:pt x="103633" y="612824"/>
                    </a:cubicBezTo>
                    <a:lnTo>
                      <a:pt x="103633" y="612824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eform 117">
                <a:extLst>
                  <a:ext uri="{FF2B5EF4-FFF2-40B4-BE49-F238E27FC236}">
                    <a16:creationId xmlns:a16="http://schemas.microsoft.com/office/drawing/2014/main" id="{260B7E18-1F9E-1C84-0C9B-F3488A3F334B}"/>
                  </a:ext>
                </a:extLst>
              </p:cNvPr>
              <p:cNvSpPr/>
              <p:nvPr/>
            </p:nvSpPr>
            <p:spPr>
              <a:xfrm>
                <a:off x="-9620519" y="5684214"/>
                <a:ext cx="289335" cy="116937"/>
              </a:xfrm>
              <a:custGeom>
                <a:avLst/>
                <a:gdLst>
                  <a:gd name="connsiteX0" fmla="*/ 276096 w 289335"/>
                  <a:gd name="connsiteY0" fmla="*/ 61546 h 116937"/>
                  <a:gd name="connsiteX1" fmla="*/ 129430 w 289335"/>
                  <a:gd name="connsiteY1" fmla="*/ 0 h 116937"/>
                  <a:gd name="connsiteX2" fmla="*/ 99569 w 289335"/>
                  <a:gd name="connsiteY2" fmla="*/ 76493 h 116937"/>
                  <a:gd name="connsiteX3" fmla="*/ 328 w 289335"/>
                  <a:gd name="connsiteY3" fmla="*/ 76493 h 116937"/>
                  <a:gd name="connsiteX4" fmla="*/ 7354 w 289335"/>
                  <a:gd name="connsiteY4" fmla="*/ 114300 h 116937"/>
                  <a:gd name="connsiteX5" fmla="*/ 264679 w 289335"/>
                  <a:gd name="connsiteY5" fmla="*/ 116938 h 116937"/>
                  <a:gd name="connsiteX6" fmla="*/ 276096 w 289335"/>
                  <a:gd name="connsiteY6" fmla="*/ 60667 h 116937"/>
                  <a:gd name="connsiteX7" fmla="*/ 276096 w 289335"/>
                  <a:gd name="connsiteY7" fmla="*/ 60667 h 116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9335" h="116937">
                    <a:moveTo>
                      <a:pt x="276096" y="61546"/>
                    </a:moveTo>
                    <a:cubicBezTo>
                      <a:pt x="246236" y="36049"/>
                      <a:pt x="129430" y="0"/>
                      <a:pt x="129430" y="0"/>
                    </a:cubicBezTo>
                    <a:cubicBezTo>
                      <a:pt x="129430" y="0"/>
                      <a:pt x="125039" y="72097"/>
                      <a:pt x="99569" y="76493"/>
                    </a:cubicBezTo>
                    <a:cubicBezTo>
                      <a:pt x="74101" y="80889"/>
                      <a:pt x="328" y="76493"/>
                      <a:pt x="328" y="76493"/>
                    </a:cubicBezTo>
                    <a:cubicBezTo>
                      <a:pt x="328" y="76493"/>
                      <a:pt x="-2306" y="109904"/>
                      <a:pt x="7354" y="114300"/>
                    </a:cubicBezTo>
                    <a:cubicBezTo>
                      <a:pt x="14380" y="116938"/>
                      <a:pt x="249749" y="116938"/>
                      <a:pt x="264679" y="116938"/>
                    </a:cubicBezTo>
                    <a:cubicBezTo>
                      <a:pt x="279609" y="116938"/>
                      <a:pt x="305078" y="86164"/>
                      <a:pt x="276096" y="60667"/>
                    </a:cubicBezTo>
                    <a:lnTo>
                      <a:pt x="276096" y="606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9" name="Graphic 6">
                <a:extLst>
                  <a:ext uri="{FF2B5EF4-FFF2-40B4-BE49-F238E27FC236}">
                    <a16:creationId xmlns:a16="http://schemas.microsoft.com/office/drawing/2014/main" id="{88AC4BE3-4F7D-2CDE-2F2C-49198863B08D}"/>
                  </a:ext>
                </a:extLst>
              </p:cNvPr>
              <p:cNvGrpSpPr/>
              <p:nvPr/>
            </p:nvGrpSpPr>
            <p:grpSpPr>
              <a:xfrm>
                <a:off x="-10000469" y="4565833"/>
                <a:ext cx="972045" cy="1224518"/>
                <a:chOff x="-10000469" y="4565833"/>
                <a:chExt cx="972045" cy="1224518"/>
              </a:xfrm>
            </p:grpSpPr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8F5DF71F-7939-3B3E-EDD0-60D10E080848}"/>
                    </a:ext>
                  </a:extLst>
                </p:cNvPr>
                <p:cNvSpPr/>
                <p:nvPr/>
              </p:nvSpPr>
              <p:spPr>
                <a:xfrm>
                  <a:off x="-9967975" y="5144367"/>
                  <a:ext cx="182674" cy="645984"/>
                </a:xfrm>
                <a:custGeom>
                  <a:avLst/>
                  <a:gdLst>
                    <a:gd name="connsiteX0" fmla="*/ 113293 w 182674"/>
                    <a:gd name="connsiteY0" fmla="*/ 605790 h 645984"/>
                    <a:gd name="connsiteX1" fmla="*/ 106267 w 182674"/>
                    <a:gd name="connsiteY1" fmla="*/ 513471 h 645984"/>
                    <a:gd name="connsiteX2" fmla="*/ 182675 w 182674"/>
                    <a:gd name="connsiteY2" fmla="*/ 7034 h 645984"/>
                    <a:gd name="connsiteX3" fmla="*/ 0 w 182674"/>
                    <a:gd name="connsiteY3" fmla="*/ 0 h 645984"/>
                    <a:gd name="connsiteX4" fmla="*/ 20200 w 182674"/>
                    <a:gd name="connsiteY4" fmla="*/ 512591 h 645984"/>
                    <a:gd name="connsiteX5" fmla="*/ 2635 w 182674"/>
                    <a:gd name="connsiteY5" fmla="*/ 622495 h 645984"/>
                    <a:gd name="connsiteX6" fmla="*/ 113293 w 182674"/>
                    <a:gd name="connsiteY6" fmla="*/ 606669 h 645984"/>
                    <a:gd name="connsiteX7" fmla="*/ 113293 w 182674"/>
                    <a:gd name="connsiteY7" fmla="*/ 606669 h 64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2674" h="645984">
                      <a:moveTo>
                        <a:pt x="113293" y="605790"/>
                      </a:moveTo>
                      <a:cubicBezTo>
                        <a:pt x="113293" y="605790"/>
                        <a:pt x="94850" y="545123"/>
                        <a:pt x="106267" y="513471"/>
                      </a:cubicBezTo>
                      <a:lnTo>
                        <a:pt x="182675" y="7034"/>
                      </a:lnTo>
                      <a:lnTo>
                        <a:pt x="0" y="0"/>
                      </a:lnTo>
                      <a:lnTo>
                        <a:pt x="20200" y="512591"/>
                      </a:lnTo>
                      <a:cubicBezTo>
                        <a:pt x="20200" y="512591"/>
                        <a:pt x="-6148" y="584688"/>
                        <a:pt x="2635" y="622495"/>
                      </a:cubicBezTo>
                      <a:cubicBezTo>
                        <a:pt x="10539" y="660302"/>
                        <a:pt x="83433" y="650631"/>
                        <a:pt x="113293" y="606669"/>
                      </a:cubicBezTo>
                      <a:lnTo>
                        <a:pt x="113293" y="606669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5C5C81AD-70BE-AF4E-D077-161A16A46970}"/>
                    </a:ext>
                  </a:extLst>
                </p:cNvPr>
                <p:cNvSpPr/>
                <p:nvPr/>
              </p:nvSpPr>
              <p:spPr>
                <a:xfrm>
                  <a:off x="-10000469" y="4565833"/>
                  <a:ext cx="499719" cy="602272"/>
                </a:xfrm>
                <a:custGeom>
                  <a:avLst/>
                  <a:gdLst>
                    <a:gd name="connsiteX0" fmla="*/ 233612 w 499719"/>
                    <a:gd name="connsiteY0" fmla="*/ 601394 h 602272"/>
                    <a:gd name="connsiteX1" fmla="*/ 0 w 499719"/>
                    <a:gd name="connsiteY1" fmla="*/ 601394 h 602272"/>
                    <a:gd name="connsiteX2" fmla="*/ 20199 w 499719"/>
                    <a:gd name="connsiteY2" fmla="*/ 135401 h 602272"/>
                    <a:gd name="connsiteX3" fmla="*/ 44790 w 499719"/>
                    <a:gd name="connsiteY3" fmla="*/ 45720 h 602272"/>
                    <a:gd name="connsiteX4" fmla="*/ 388183 w 499719"/>
                    <a:gd name="connsiteY4" fmla="*/ 0 h 602272"/>
                    <a:gd name="connsiteX5" fmla="*/ 449660 w 499719"/>
                    <a:gd name="connsiteY5" fmla="*/ 124851 h 602272"/>
                    <a:gd name="connsiteX6" fmla="*/ 499720 w 499719"/>
                    <a:gd name="connsiteY6" fmla="*/ 596998 h 602272"/>
                    <a:gd name="connsiteX7" fmla="*/ 274890 w 499719"/>
                    <a:gd name="connsiteY7" fmla="*/ 602273 h 602272"/>
                    <a:gd name="connsiteX8" fmla="*/ 259960 w 499719"/>
                    <a:gd name="connsiteY8" fmla="*/ 366639 h 602272"/>
                    <a:gd name="connsiteX9" fmla="*/ 238882 w 499719"/>
                    <a:gd name="connsiteY9" fmla="*/ 371915 h 602272"/>
                    <a:gd name="connsiteX10" fmla="*/ 233612 w 499719"/>
                    <a:gd name="connsiteY10" fmla="*/ 602273 h 602272"/>
                    <a:gd name="connsiteX11" fmla="*/ 233612 w 499719"/>
                    <a:gd name="connsiteY11" fmla="*/ 602273 h 602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99719" h="602272">
                      <a:moveTo>
                        <a:pt x="233612" y="601394"/>
                      </a:moveTo>
                      <a:lnTo>
                        <a:pt x="0" y="601394"/>
                      </a:lnTo>
                      <a:lnTo>
                        <a:pt x="20199" y="135401"/>
                      </a:lnTo>
                      <a:lnTo>
                        <a:pt x="44790" y="45720"/>
                      </a:lnTo>
                      <a:lnTo>
                        <a:pt x="388183" y="0"/>
                      </a:lnTo>
                      <a:lnTo>
                        <a:pt x="449660" y="124851"/>
                      </a:lnTo>
                      <a:cubicBezTo>
                        <a:pt x="462834" y="160020"/>
                        <a:pt x="499720" y="596998"/>
                        <a:pt x="499720" y="596998"/>
                      </a:cubicBezTo>
                      <a:lnTo>
                        <a:pt x="274890" y="602273"/>
                      </a:lnTo>
                      <a:lnTo>
                        <a:pt x="259960" y="366639"/>
                      </a:lnTo>
                      <a:lnTo>
                        <a:pt x="238882" y="371915"/>
                      </a:lnTo>
                      <a:lnTo>
                        <a:pt x="233612" y="602273"/>
                      </a:lnTo>
                      <a:lnTo>
                        <a:pt x="233612" y="60227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2" name="Freeform 121">
                <a:extLst>
                  <a:ext uri="{FF2B5EF4-FFF2-40B4-BE49-F238E27FC236}">
                    <a16:creationId xmlns:a16="http://schemas.microsoft.com/office/drawing/2014/main" id="{EEE1AB20-F874-A315-17E2-6068BE0260A3}"/>
                  </a:ext>
                </a:extLst>
              </p:cNvPr>
              <p:cNvSpPr/>
              <p:nvPr/>
            </p:nvSpPr>
            <p:spPr>
              <a:xfrm>
                <a:off x="-10145379" y="4042691"/>
                <a:ext cx="736845" cy="653268"/>
              </a:xfrm>
              <a:custGeom>
                <a:avLst/>
                <a:gdLst>
                  <a:gd name="connsiteX0" fmla="*/ 95728 w 736845"/>
                  <a:gd name="connsiteY0" fmla="*/ 109025 h 653268"/>
                  <a:gd name="connsiteX1" fmla="*/ 230978 w 736845"/>
                  <a:gd name="connsiteY1" fmla="*/ 19343 h 653268"/>
                  <a:gd name="connsiteX2" fmla="*/ 413652 w 736845"/>
                  <a:gd name="connsiteY2" fmla="*/ 0 h 653268"/>
                  <a:gd name="connsiteX3" fmla="*/ 555049 w 736845"/>
                  <a:gd name="connsiteY3" fmla="*/ 23739 h 653268"/>
                  <a:gd name="connsiteX4" fmla="*/ 663951 w 736845"/>
                  <a:gd name="connsiteY4" fmla="*/ 91440 h 653268"/>
                  <a:gd name="connsiteX5" fmla="*/ 736845 w 736845"/>
                  <a:gd name="connsiteY5" fmla="*/ 383345 h 653268"/>
                  <a:gd name="connsiteX6" fmla="*/ 610379 w 736845"/>
                  <a:gd name="connsiteY6" fmla="*/ 413238 h 653268"/>
                  <a:gd name="connsiteX7" fmla="*/ 613892 w 736845"/>
                  <a:gd name="connsiteY7" fmla="*/ 302455 h 653268"/>
                  <a:gd name="connsiteX8" fmla="*/ 603352 w 736845"/>
                  <a:gd name="connsiteY8" fmla="*/ 648872 h 653268"/>
                  <a:gd name="connsiteX9" fmla="*/ 152814 w 736845"/>
                  <a:gd name="connsiteY9" fmla="*/ 653269 h 653268"/>
                  <a:gd name="connsiteX10" fmla="*/ 172135 w 736845"/>
                  <a:gd name="connsiteY10" fmla="*/ 314765 h 653268"/>
                  <a:gd name="connsiteX11" fmla="*/ 133493 w 736845"/>
                  <a:gd name="connsiteY11" fmla="*/ 414997 h 653268"/>
                  <a:gd name="connsiteX12" fmla="*/ 0 w 736845"/>
                  <a:gd name="connsiteY12" fmla="*/ 327074 h 653268"/>
                  <a:gd name="connsiteX13" fmla="*/ 96607 w 736845"/>
                  <a:gd name="connsiteY13" fmla="*/ 110783 h 653268"/>
                  <a:gd name="connsiteX14" fmla="*/ 96607 w 736845"/>
                  <a:gd name="connsiteY14" fmla="*/ 109025 h 653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36845" h="653268">
                    <a:moveTo>
                      <a:pt x="95728" y="109025"/>
                    </a:moveTo>
                    <a:cubicBezTo>
                      <a:pt x="137006" y="36049"/>
                      <a:pt x="230978" y="19343"/>
                      <a:pt x="230978" y="19343"/>
                    </a:cubicBezTo>
                    <a:cubicBezTo>
                      <a:pt x="230978" y="19343"/>
                      <a:pt x="310898" y="2638"/>
                      <a:pt x="413652" y="0"/>
                    </a:cubicBezTo>
                    <a:cubicBezTo>
                      <a:pt x="518163" y="4396"/>
                      <a:pt x="555049" y="23739"/>
                      <a:pt x="555049" y="23739"/>
                    </a:cubicBezTo>
                    <a:cubicBezTo>
                      <a:pt x="598083" y="38686"/>
                      <a:pt x="645508" y="63305"/>
                      <a:pt x="663951" y="91440"/>
                    </a:cubicBezTo>
                    <a:cubicBezTo>
                      <a:pt x="685029" y="122213"/>
                      <a:pt x="716646" y="252339"/>
                      <a:pt x="736845" y="383345"/>
                    </a:cubicBezTo>
                    <a:lnTo>
                      <a:pt x="610379" y="413238"/>
                    </a:lnTo>
                    <a:lnTo>
                      <a:pt x="613892" y="302455"/>
                    </a:lnTo>
                    <a:lnTo>
                      <a:pt x="603352" y="648872"/>
                    </a:lnTo>
                    <a:lnTo>
                      <a:pt x="152814" y="653269"/>
                    </a:lnTo>
                    <a:cubicBezTo>
                      <a:pt x="152814" y="653269"/>
                      <a:pt x="170379" y="452804"/>
                      <a:pt x="172135" y="314765"/>
                    </a:cubicBezTo>
                    <a:lnTo>
                      <a:pt x="133493" y="414997"/>
                    </a:lnTo>
                    <a:cubicBezTo>
                      <a:pt x="133493" y="414997"/>
                      <a:pt x="36008" y="371915"/>
                      <a:pt x="0" y="327074"/>
                    </a:cubicBezTo>
                    <a:cubicBezTo>
                      <a:pt x="12295" y="284871"/>
                      <a:pt x="55329" y="182880"/>
                      <a:pt x="96607" y="110783"/>
                    </a:cubicBezTo>
                    <a:lnTo>
                      <a:pt x="96607" y="109025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1F680ECB-2612-CFE5-7399-C1EDAE04C65C}"/>
                  </a:ext>
                </a:extLst>
              </p:cNvPr>
              <p:cNvSpPr/>
              <p:nvPr/>
            </p:nvSpPr>
            <p:spPr>
              <a:xfrm>
                <a:off x="-9872246" y="3894980"/>
                <a:ext cx="243273" cy="239150"/>
              </a:xfrm>
              <a:custGeom>
                <a:avLst/>
                <a:gdLst>
                  <a:gd name="connsiteX0" fmla="*/ 0 w 243273"/>
                  <a:gd name="connsiteY0" fmla="*/ 160899 h 239150"/>
                  <a:gd name="connsiteX1" fmla="*/ 58842 w 243273"/>
                  <a:gd name="connsiteY1" fmla="*/ 152107 h 239150"/>
                  <a:gd name="connsiteX2" fmla="*/ 65868 w 243273"/>
                  <a:gd name="connsiteY2" fmla="*/ 0 h 239150"/>
                  <a:gd name="connsiteX3" fmla="*/ 195848 w 243273"/>
                  <a:gd name="connsiteY3" fmla="*/ 43962 h 239150"/>
                  <a:gd name="connsiteX4" fmla="*/ 191457 w 243273"/>
                  <a:gd name="connsiteY4" fmla="*/ 150349 h 239150"/>
                  <a:gd name="connsiteX5" fmla="*/ 243273 w 243273"/>
                  <a:gd name="connsiteY5" fmla="*/ 159141 h 239150"/>
                  <a:gd name="connsiteX6" fmla="*/ 122076 w 243273"/>
                  <a:gd name="connsiteY6" fmla="*/ 239151 h 239150"/>
                  <a:gd name="connsiteX7" fmla="*/ 0 w 243273"/>
                  <a:gd name="connsiteY7" fmla="*/ 160899 h 239150"/>
                  <a:gd name="connsiteX8" fmla="*/ 0 w 243273"/>
                  <a:gd name="connsiteY8" fmla="*/ 160899 h 23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3273" h="239150">
                    <a:moveTo>
                      <a:pt x="0" y="160899"/>
                    </a:moveTo>
                    <a:lnTo>
                      <a:pt x="58842" y="152107"/>
                    </a:lnTo>
                    <a:lnTo>
                      <a:pt x="65868" y="0"/>
                    </a:lnTo>
                    <a:lnTo>
                      <a:pt x="195848" y="43962"/>
                    </a:lnTo>
                    <a:lnTo>
                      <a:pt x="191457" y="150349"/>
                    </a:lnTo>
                    <a:lnTo>
                      <a:pt x="243273" y="159141"/>
                    </a:lnTo>
                    <a:cubicBezTo>
                      <a:pt x="243273" y="159141"/>
                      <a:pt x="218683" y="239151"/>
                      <a:pt x="122076" y="239151"/>
                    </a:cubicBezTo>
                    <a:cubicBezTo>
                      <a:pt x="25469" y="239151"/>
                      <a:pt x="0" y="160899"/>
                      <a:pt x="0" y="160899"/>
                    </a:cubicBezTo>
                    <a:lnTo>
                      <a:pt x="0" y="160899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64EEC14C-2FCD-BD5A-F385-E9EE242D7992}"/>
                  </a:ext>
                </a:extLst>
              </p:cNvPr>
              <p:cNvSpPr/>
              <p:nvPr/>
            </p:nvSpPr>
            <p:spPr>
              <a:xfrm>
                <a:off x="-9812907" y="3743752"/>
                <a:ext cx="230192" cy="262889"/>
              </a:xfrm>
              <a:custGeom>
                <a:avLst/>
                <a:gdLst>
                  <a:gd name="connsiteX0" fmla="*/ 23216 w 230192"/>
                  <a:gd name="connsiteY0" fmla="*/ 196068 h 262889"/>
                  <a:gd name="connsiteX1" fmla="*/ 10042 w 230192"/>
                  <a:gd name="connsiteY1" fmla="*/ 176725 h 262889"/>
                  <a:gd name="connsiteX2" fmla="*/ 8286 w 230192"/>
                  <a:gd name="connsiteY2" fmla="*/ 174088 h 262889"/>
                  <a:gd name="connsiteX3" fmla="*/ 48685 w 230192"/>
                  <a:gd name="connsiteY3" fmla="*/ 116059 h 262889"/>
                  <a:gd name="connsiteX4" fmla="*/ 53955 w 230192"/>
                  <a:gd name="connsiteY4" fmla="*/ 104629 h 262889"/>
                  <a:gd name="connsiteX5" fmla="*/ 73276 w 230192"/>
                  <a:gd name="connsiteY5" fmla="*/ 101991 h 262889"/>
                  <a:gd name="connsiteX6" fmla="*/ 68885 w 230192"/>
                  <a:gd name="connsiteY6" fmla="*/ 88802 h 262889"/>
                  <a:gd name="connsiteX7" fmla="*/ 107527 w 230192"/>
                  <a:gd name="connsiteY7" fmla="*/ 30773 h 262889"/>
                  <a:gd name="connsiteX8" fmla="*/ 159344 w 230192"/>
                  <a:gd name="connsiteY8" fmla="*/ 2638 h 262889"/>
                  <a:gd name="connsiteX9" fmla="*/ 167248 w 230192"/>
                  <a:gd name="connsiteY9" fmla="*/ 0 h 262889"/>
                  <a:gd name="connsiteX10" fmla="*/ 193595 w 230192"/>
                  <a:gd name="connsiteY10" fmla="*/ 74735 h 262889"/>
                  <a:gd name="connsiteX11" fmla="*/ 226090 w 230192"/>
                  <a:gd name="connsiteY11" fmla="*/ 116059 h 262889"/>
                  <a:gd name="connsiteX12" fmla="*/ 220821 w 230192"/>
                  <a:gd name="connsiteY12" fmla="*/ 141556 h 262889"/>
                  <a:gd name="connsiteX13" fmla="*/ 220821 w 230192"/>
                  <a:gd name="connsiteY13" fmla="*/ 171450 h 262889"/>
                  <a:gd name="connsiteX14" fmla="*/ 213795 w 230192"/>
                  <a:gd name="connsiteY14" fmla="*/ 186397 h 262889"/>
                  <a:gd name="connsiteX15" fmla="*/ 219064 w 230192"/>
                  <a:gd name="connsiteY15" fmla="*/ 203102 h 262889"/>
                  <a:gd name="connsiteX16" fmla="*/ 212916 w 230192"/>
                  <a:gd name="connsiteY16" fmla="*/ 245305 h 262889"/>
                  <a:gd name="connsiteX17" fmla="*/ 118945 w 230192"/>
                  <a:gd name="connsiteY17" fmla="*/ 262890 h 262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0192" h="262889">
                    <a:moveTo>
                      <a:pt x="23216" y="196068"/>
                    </a:moveTo>
                    <a:cubicBezTo>
                      <a:pt x="17947" y="190793"/>
                      <a:pt x="13555" y="183759"/>
                      <a:pt x="10042" y="176725"/>
                    </a:cubicBezTo>
                    <a:cubicBezTo>
                      <a:pt x="10042" y="175846"/>
                      <a:pt x="9164" y="174967"/>
                      <a:pt x="8286" y="174088"/>
                    </a:cubicBezTo>
                    <a:cubicBezTo>
                      <a:pt x="-16305" y="119575"/>
                      <a:pt x="18825" y="92319"/>
                      <a:pt x="48685" y="116059"/>
                    </a:cubicBezTo>
                    <a:cubicBezTo>
                      <a:pt x="55711" y="121334"/>
                      <a:pt x="48685" y="94078"/>
                      <a:pt x="53955" y="104629"/>
                    </a:cubicBezTo>
                    <a:cubicBezTo>
                      <a:pt x="62737" y="123972"/>
                      <a:pt x="81180" y="131005"/>
                      <a:pt x="73276" y="101991"/>
                    </a:cubicBezTo>
                    <a:cubicBezTo>
                      <a:pt x="73276" y="99353"/>
                      <a:pt x="71519" y="98474"/>
                      <a:pt x="68885" y="88802"/>
                    </a:cubicBezTo>
                    <a:cubicBezTo>
                      <a:pt x="60102" y="62425"/>
                      <a:pt x="85571" y="36928"/>
                      <a:pt x="107527" y="30773"/>
                    </a:cubicBezTo>
                    <a:cubicBezTo>
                      <a:pt x="138266" y="21981"/>
                      <a:pt x="159344" y="2638"/>
                      <a:pt x="159344" y="2638"/>
                    </a:cubicBezTo>
                    <a:cubicBezTo>
                      <a:pt x="159344" y="2638"/>
                      <a:pt x="166370" y="0"/>
                      <a:pt x="167248" y="0"/>
                    </a:cubicBezTo>
                    <a:cubicBezTo>
                      <a:pt x="172517" y="5275"/>
                      <a:pt x="195351" y="35169"/>
                      <a:pt x="193595" y="74735"/>
                    </a:cubicBezTo>
                    <a:cubicBezTo>
                      <a:pt x="193595" y="84406"/>
                      <a:pt x="219942" y="106387"/>
                      <a:pt x="226090" y="116059"/>
                    </a:cubicBezTo>
                    <a:cubicBezTo>
                      <a:pt x="232238" y="125730"/>
                      <a:pt x="232238" y="133643"/>
                      <a:pt x="220821" y="141556"/>
                    </a:cubicBezTo>
                    <a:cubicBezTo>
                      <a:pt x="206769" y="150349"/>
                      <a:pt x="216429" y="167054"/>
                      <a:pt x="220821" y="171450"/>
                    </a:cubicBezTo>
                    <a:cubicBezTo>
                      <a:pt x="225212" y="176725"/>
                      <a:pt x="209403" y="184638"/>
                      <a:pt x="213795" y="186397"/>
                    </a:cubicBezTo>
                    <a:cubicBezTo>
                      <a:pt x="213795" y="186397"/>
                      <a:pt x="224334" y="195189"/>
                      <a:pt x="219064" y="203102"/>
                    </a:cubicBezTo>
                    <a:cubicBezTo>
                      <a:pt x="213795" y="211015"/>
                      <a:pt x="216429" y="236513"/>
                      <a:pt x="212916" y="245305"/>
                    </a:cubicBezTo>
                    <a:cubicBezTo>
                      <a:pt x="206769" y="262011"/>
                      <a:pt x="142657" y="262011"/>
                      <a:pt x="118945" y="262890"/>
                    </a:cubicBezTo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5BC748F6-1516-123A-55BE-B15B8A68AE27}"/>
                  </a:ext>
                </a:extLst>
              </p:cNvPr>
              <p:cNvSpPr/>
              <p:nvPr/>
            </p:nvSpPr>
            <p:spPr>
              <a:xfrm>
                <a:off x="-9913093" y="3689492"/>
                <a:ext cx="287769" cy="295389"/>
              </a:xfrm>
              <a:custGeom>
                <a:avLst/>
                <a:gdLst>
                  <a:gd name="connsiteX0" fmla="*/ 24160 w 287769"/>
                  <a:gd name="connsiteY0" fmla="*/ 76241 h 295389"/>
                  <a:gd name="connsiteX1" fmla="*/ 61047 w 287769"/>
                  <a:gd name="connsiteY1" fmla="*/ 23487 h 295389"/>
                  <a:gd name="connsiteX2" fmla="*/ 174340 w 287769"/>
                  <a:gd name="connsiteY2" fmla="*/ 627 h 295389"/>
                  <a:gd name="connsiteX3" fmla="*/ 271825 w 287769"/>
                  <a:gd name="connsiteY3" fmla="*/ 67449 h 295389"/>
                  <a:gd name="connsiteX4" fmla="*/ 198931 w 287769"/>
                  <a:gd name="connsiteY4" fmla="*/ 88550 h 295389"/>
                  <a:gd name="connsiteX5" fmla="*/ 175218 w 287769"/>
                  <a:gd name="connsiteY5" fmla="*/ 162406 h 295389"/>
                  <a:gd name="connsiteX6" fmla="*/ 157653 w 287769"/>
                  <a:gd name="connsiteY6" fmla="*/ 185266 h 295389"/>
                  <a:gd name="connsiteX7" fmla="*/ 141845 w 287769"/>
                  <a:gd name="connsiteY7" fmla="*/ 172077 h 295389"/>
                  <a:gd name="connsiteX8" fmla="*/ 108472 w 287769"/>
                  <a:gd name="connsiteY8" fmla="*/ 227469 h 295389"/>
                  <a:gd name="connsiteX9" fmla="*/ 130428 w 287769"/>
                  <a:gd name="connsiteY9" fmla="*/ 250329 h 295389"/>
                  <a:gd name="connsiteX10" fmla="*/ 104959 w 287769"/>
                  <a:gd name="connsiteY10" fmla="*/ 285498 h 295389"/>
                  <a:gd name="connsiteX11" fmla="*/ 83881 w 287769"/>
                  <a:gd name="connsiteY11" fmla="*/ 285498 h 295389"/>
                  <a:gd name="connsiteX12" fmla="*/ 34699 w 287769"/>
                  <a:gd name="connsiteY12" fmla="*/ 221314 h 295389"/>
                  <a:gd name="connsiteX13" fmla="*/ 24160 w 287769"/>
                  <a:gd name="connsiteY13" fmla="*/ 77120 h 295389"/>
                  <a:gd name="connsiteX14" fmla="*/ 24160 w 287769"/>
                  <a:gd name="connsiteY14" fmla="*/ 77120 h 295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7769" h="295389">
                    <a:moveTo>
                      <a:pt x="24160" y="76241"/>
                    </a:moveTo>
                    <a:cubicBezTo>
                      <a:pt x="24160" y="76241"/>
                      <a:pt x="22404" y="46347"/>
                      <a:pt x="61047" y="23487"/>
                    </a:cubicBezTo>
                    <a:cubicBezTo>
                      <a:pt x="99689" y="-252"/>
                      <a:pt x="174340" y="627"/>
                      <a:pt x="174340" y="627"/>
                    </a:cubicBezTo>
                    <a:cubicBezTo>
                      <a:pt x="321006" y="-7286"/>
                      <a:pt x="290268" y="62174"/>
                      <a:pt x="271825" y="67449"/>
                    </a:cubicBezTo>
                    <a:cubicBezTo>
                      <a:pt x="253382" y="71845"/>
                      <a:pt x="229669" y="79758"/>
                      <a:pt x="198931" y="88550"/>
                    </a:cubicBezTo>
                    <a:cubicBezTo>
                      <a:pt x="176974" y="94705"/>
                      <a:pt x="146236" y="116686"/>
                      <a:pt x="175218" y="162406"/>
                    </a:cubicBezTo>
                    <a:cubicBezTo>
                      <a:pt x="204200" y="208126"/>
                      <a:pt x="157653" y="185266"/>
                      <a:pt x="157653" y="185266"/>
                    </a:cubicBezTo>
                    <a:cubicBezTo>
                      <a:pt x="157653" y="185266"/>
                      <a:pt x="146236" y="187024"/>
                      <a:pt x="141845" y="172077"/>
                    </a:cubicBezTo>
                    <a:cubicBezTo>
                      <a:pt x="137454" y="158010"/>
                      <a:pt x="83881" y="154493"/>
                      <a:pt x="108472" y="227469"/>
                    </a:cubicBezTo>
                    <a:cubicBezTo>
                      <a:pt x="115498" y="243295"/>
                      <a:pt x="128671" y="249450"/>
                      <a:pt x="130428" y="250329"/>
                    </a:cubicBezTo>
                    <a:cubicBezTo>
                      <a:pt x="138332" y="252087"/>
                      <a:pt x="108472" y="277585"/>
                      <a:pt x="104959" y="285498"/>
                    </a:cubicBezTo>
                    <a:cubicBezTo>
                      <a:pt x="98811" y="298687"/>
                      <a:pt x="90029" y="298687"/>
                      <a:pt x="83881" y="285498"/>
                    </a:cubicBezTo>
                    <a:cubicBezTo>
                      <a:pt x="78611" y="274068"/>
                      <a:pt x="61925" y="248570"/>
                      <a:pt x="34699" y="221314"/>
                    </a:cubicBezTo>
                    <a:cubicBezTo>
                      <a:pt x="-1309" y="185266"/>
                      <a:pt x="-16239" y="135150"/>
                      <a:pt x="24160" y="77120"/>
                    </a:cubicBezTo>
                    <a:lnTo>
                      <a:pt x="24160" y="7712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5E0365B4-26D7-2FD3-2B8E-7C04281D0678}"/>
                </a:ext>
              </a:extLst>
            </p:cNvPr>
            <p:cNvSpPr/>
            <p:nvPr/>
          </p:nvSpPr>
          <p:spPr>
            <a:xfrm>
              <a:off x="-9624582" y="5681577"/>
              <a:ext cx="160174" cy="74431"/>
            </a:xfrm>
            <a:custGeom>
              <a:avLst/>
              <a:gdLst>
                <a:gd name="connsiteX0" fmla="*/ 10539 w 160174"/>
                <a:gd name="connsiteY0" fmla="*/ 0 h 74431"/>
                <a:gd name="connsiteX1" fmla="*/ 0 w 160174"/>
                <a:gd name="connsiteY1" fmla="*/ 33411 h 74431"/>
                <a:gd name="connsiteX2" fmla="*/ 137884 w 160174"/>
                <a:gd name="connsiteY2" fmla="*/ 73856 h 74431"/>
                <a:gd name="connsiteX3" fmla="*/ 146667 w 160174"/>
                <a:gd name="connsiteY3" fmla="*/ 40445 h 74431"/>
                <a:gd name="connsiteX4" fmla="*/ 10539 w 160174"/>
                <a:gd name="connsiteY4" fmla="*/ 0 h 7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74" h="74431">
                  <a:moveTo>
                    <a:pt x="10539" y="0"/>
                  </a:moveTo>
                  <a:lnTo>
                    <a:pt x="0" y="33411"/>
                  </a:lnTo>
                  <a:cubicBezTo>
                    <a:pt x="0" y="33411"/>
                    <a:pt x="106267" y="67701"/>
                    <a:pt x="137884" y="73856"/>
                  </a:cubicBezTo>
                  <a:cubicBezTo>
                    <a:pt x="162475" y="79131"/>
                    <a:pt x="168623" y="46599"/>
                    <a:pt x="146667" y="40445"/>
                  </a:cubicBezTo>
                  <a:cubicBezTo>
                    <a:pt x="127345" y="35169"/>
                    <a:pt x="10539" y="0"/>
                    <a:pt x="10539" y="0"/>
                  </a:cubicBez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5AA29690-8330-F4E9-364C-73604190C84D}"/>
                </a:ext>
              </a:extLst>
            </p:cNvPr>
            <p:cNvSpPr/>
            <p:nvPr/>
          </p:nvSpPr>
          <p:spPr>
            <a:xfrm>
              <a:off x="-9714724" y="4269532"/>
              <a:ext cx="129662" cy="117936"/>
            </a:xfrm>
            <a:custGeom>
              <a:avLst/>
              <a:gdLst>
                <a:gd name="connsiteX0" fmla="*/ 561 w 129662"/>
                <a:gd name="connsiteY0" fmla="*/ 0 h 117936"/>
                <a:gd name="connsiteX1" fmla="*/ 129663 w 129662"/>
                <a:gd name="connsiteY1" fmla="*/ 4396 h 117936"/>
                <a:gd name="connsiteX2" fmla="*/ 60282 w 129662"/>
                <a:gd name="connsiteY2" fmla="*/ 117817 h 117936"/>
                <a:gd name="connsiteX3" fmla="*/ 561 w 129662"/>
                <a:gd name="connsiteY3" fmla="*/ 0 h 117936"/>
                <a:gd name="connsiteX4" fmla="*/ 561 w 129662"/>
                <a:gd name="connsiteY4" fmla="*/ 0 h 117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62" h="117936">
                  <a:moveTo>
                    <a:pt x="561" y="0"/>
                  </a:moveTo>
                  <a:lnTo>
                    <a:pt x="129663" y="4396"/>
                  </a:lnTo>
                  <a:cubicBezTo>
                    <a:pt x="129663" y="4396"/>
                    <a:pt x="129663" y="122213"/>
                    <a:pt x="60282" y="117817"/>
                  </a:cubicBezTo>
                  <a:cubicBezTo>
                    <a:pt x="-9978" y="113421"/>
                    <a:pt x="561" y="0"/>
                    <a:pt x="561" y="0"/>
                  </a:cubicBezTo>
                  <a:lnTo>
                    <a:pt x="561" y="0"/>
                  </a:lnTo>
                  <a:close/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DF9E5BDD-DC27-268D-6143-23036CAE8007}"/>
                </a:ext>
              </a:extLst>
            </p:cNvPr>
            <p:cNvSpPr/>
            <p:nvPr/>
          </p:nvSpPr>
          <p:spPr>
            <a:xfrm>
              <a:off x="-10009689" y="5676985"/>
              <a:ext cx="164667" cy="122799"/>
            </a:xfrm>
            <a:custGeom>
              <a:avLst/>
              <a:gdLst>
                <a:gd name="connsiteX0" fmla="*/ 164668 w 164667"/>
                <a:gd name="connsiteY0" fmla="*/ 103945 h 122799"/>
                <a:gd name="connsiteX1" fmla="*/ 161155 w 164667"/>
                <a:gd name="connsiteY1" fmla="*/ 52070 h 122799"/>
                <a:gd name="connsiteX2" fmla="*/ 154129 w 164667"/>
                <a:gd name="connsiteY2" fmla="*/ 28331 h 122799"/>
                <a:gd name="connsiteX3" fmla="*/ 135686 w 164667"/>
                <a:gd name="connsiteY3" fmla="*/ 12505 h 122799"/>
                <a:gd name="connsiteX4" fmla="*/ 46983 w 164667"/>
                <a:gd name="connsiteY4" fmla="*/ 12505 h 122799"/>
                <a:gd name="connsiteX5" fmla="*/ 2193 w 164667"/>
                <a:gd name="connsiteY5" fmla="*/ 81085 h 122799"/>
                <a:gd name="connsiteX6" fmla="*/ 14488 w 164667"/>
                <a:gd name="connsiteY6" fmla="*/ 122408 h 122799"/>
                <a:gd name="connsiteX7" fmla="*/ 149738 w 164667"/>
                <a:gd name="connsiteY7" fmla="*/ 122408 h 122799"/>
                <a:gd name="connsiteX8" fmla="*/ 163790 w 164667"/>
                <a:gd name="connsiteY8" fmla="*/ 103065 h 122799"/>
                <a:gd name="connsiteX9" fmla="*/ 164668 w 164667"/>
                <a:gd name="connsiteY9" fmla="*/ 103065 h 12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667" h="122799">
                  <a:moveTo>
                    <a:pt x="164668" y="103945"/>
                  </a:moveTo>
                  <a:lnTo>
                    <a:pt x="161155" y="52070"/>
                  </a:lnTo>
                  <a:lnTo>
                    <a:pt x="154129" y="28331"/>
                  </a:lnTo>
                  <a:cubicBezTo>
                    <a:pt x="151494" y="24814"/>
                    <a:pt x="140955" y="16901"/>
                    <a:pt x="135686" y="12505"/>
                  </a:cubicBezTo>
                  <a:cubicBezTo>
                    <a:pt x="100556" y="-15631"/>
                    <a:pt x="46983" y="12505"/>
                    <a:pt x="46983" y="12505"/>
                  </a:cubicBezTo>
                  <a:cubicBezTo>
                    <a:pt x="32931" y="37123"/>
                    <a:pt x="4828" y="73172"/>
                    <a:pt x="2193" y="81085"/>
                  </a:cubicBezTo>
                  <a:cubicBezTo>
                    <a:pt x="-4833" y="106582"/>
                    <a:pt x="6584" y="121529"/>
                    <a:pt x="14488" y="122408"/>
                  </a:cubicBezTo>
                  <a:cubicBezTo>
                    <a:pt x="22393" y="123288"/>
                    <a:pt x="142712" y="122408"/>
                    <a:pt x="149738" y="122408"/>
                  </a:cubicBezTo>
                  <a:cubicBezTo>
                    <a:pt x="156764" y="122408"/>
                    <a:pt x="164668" y="108341"/>
                    <a:pt x="163790" y="103065"/>
                  </a:cubicBezTo>
                  <a:lnTo>
                    <a:pt x="164668" y="103065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64E8610C-AE91-1849-E966-878EE8A225D4}"/>
                </a:ext>
              </a:extLst>
            </p:cNvPr>
            <p:cNvSpPr/>
            <p:nvPr/>
          </p:nvSpPr>
          <p:spPr>
            <a:xfrm>
              <a:off x="-10159651" y="4379436"/>
              <a:ext cx="328603" cy="513470"/>
            </a:xfrm>
            <a:custGeom>
              <a:avLst/>
              <a:gdLst>
                <a:gd name="connsiteX0" fmla="*/ 218902 w 328603"/>
                <a:gd name="connsiteY0" fmla="*/ 334987 h 513470"/>
                <a:gd name="connsiteX1" fmla="*/ 274231 w 328603"/>
                <a:gd name="connsiteY1" fmla="*/ 357847 h 513470"/>
                <a:gd name="connsiteX2" fmla="*/ 293552 w 328603"/>
                <a:gd name="connsiteY2" fmla="*/ 376311 h 513470"/>
                <a:gd name="connsiteX3" fmla="*/ 325169 w 328603"/>
                <a:gd name="connsiteY3" fmla="*/ 414117 h 513470"/>
                <a:gd name="connsiteX4" fmla="*/ 284770 w 328603"/>
                <a:gd name="connsiteY4" fmla="*/ 412359 h 513470"/>
                <a:gd name="connsiteX5" fmla="*/ 266327 w 328603"/>
                <a:gd name="connsiteY5" fmla="*/ 396533 h 513470"/>
                <a:gd name="connsiteX6" fmla="*/ 275109 w 328603"/>
                <a:gd name="connsiteY6" fmla="*/ 410601 h 513470"/>
                <a:gd name="connsiteX7" fmla="*/ 326047 w 328603"/>
                <a:gd name="connsiteY7" fmla="*/ 461596 h 513470"/>
                <a:gd name="connsiteX8" fmla="*/ 313752 w 328603"/>
                <a:gd name="connsiteY8" fmla="*/ 477422 h 513470"/>
                <a:gd name="connsiteX9" fmla="*/ 260179 w 328603"/>
                <a:gd name="connsiteY9" fmla="*/ 433461 h 513470"/>
                <a:gd name="connsiteX10" fmla="*/ 273353 w 328603"/>
                <a:gd name="connsiteY10" fmla="*/ 448408 h 513470"/>
                <a:gd name="connsiteX11" fmla="*/ 307604 w 328603"/>
                <a:gd name="connsiteY11" fmla="*/ 477422 h 513470"/>
                <a:gd name="connsiteX12" fmla="*/ 307604 w 328603"/>
                <a:gd name="connsiteY12" fmla="*/ 503799 h 513470"/>
                <a:gd name="connsiteX13" fmla="*/ 236466 w 328603"/>
                <a:gd name="connsiteY13" fmla="*/ 442253 h 513470"/>
                <a:gd name="connsiteX14" fmla="*/ 248762 w 328603"/>
                <a:gd name="connsiteY14" fmla="*/ 456321 h 513470"/>
                <a:gd name="connsiteX15" fmla="*/ 283891 w 328603"/>
                <a:gd name="connsiteY15" fmla="*/ 494127 h 513470"/>
                <a:gd name="connsiteX16" fmla="*/ 274231 w 328603"/>
                <a:gd name="connsiteY16" fmla="*/ 513471 h 513470"/>
                <a:gd name="connsiteX17" fmla="*/ 212754 w 328603"/>
                <a:gd name="connsiteY17" fmla="*/ 446649 h 513470"/>
                <a:gd name="connsiteX18" fmla="*/ 247883 w 328603"/>
                <a:gd name="connsiteY18" fmla="*/ 497644 h 513470"/>
                <a:gd name="connsiteX19" fmla="*/ 241736 w 328603"/>
                <a:gd name="connsiteY19" fmla="*/ 511712 h 513470"/>
                <a:gd name="connsiteX20" fmla="*/ 189041 w 328603"/>
                <a:gd name="connsiteY20" fmla="*/ 458079 h 513470"/>
                <a:gd name="connsiteX21" fmla="*/ 160937 w 328603"/>
                <a:gd name="connsiteY21" fmla="*/ 392137 h 513470"/>
                <a:gd name="connsiteX22" fmla="*/ 157425 w 328603"/>
                <a:gd name="connsiteY22" fmla="*/ 370156 h 513470"/>
                <a:gd name="connsiteX23" fmla="*/ 219 w 328603"/>
                <a:gd name="connsiteY23" fmla="*/ 103749 h 513470"/>
                <a:gd name="connsiteX24" fmla="*/ 26566 w 328603"/>
                <a:gd name="connsiteY24" fmla="*/ 0 h 513470"/>
                <a:gd name="connsiteX25" fmla="*/ 138103 w 328603"/>
                <a:gd name="connsiteY25" fmla="*/ 73855 h 513470"/>
                <a:gd name="connsiteX26" fmla="*/ 117904 w 328603"/>
                <a:gd name="connsiteY26" fmla="*/ 124851 h 513470"/>
                <a:gd name="connsiteX27" fmla="*/ 220658 w 328603"/>
                <a:gd name="connsiteY27" fmla="*/ 334987 h 513470"/>
                <a:gd name="connsiteX28" fmla="*/ 218902 w 328603"/>
                <a:gd name="connsiteY28" fmla="*/ 334987 h 5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603" h="513470">
                  <a:moveTo>
                    <a:pt x="218902" y="334987"/>
                  </a:moveTo>
                  <a:cubicBezTo>
                    <a:pt x="225049" y="343779"/>
                    <a:pt x="266327" y="352571"/>
                    <a:pt x="274231" y="357847"/>
                  </a:cubicBezTo>
                  <a:cubicBezTo>
                    <a:pt x="283891" y="364881"/>
                    <a:pt x="293552" y="376311"/>
                    <a:pt x="293552" y="376311"/>
                  </a:cubicBezTo>
                  <a:cubicBezTo>
                    <a:pt x="303213" y="392137"/>
                    <a:pt x="325169" y="409721"/>
                    <a:pt x="325169" y="414117"/>
                  </a:cubicBezTo>
                  <a:cubicBezTo>
                    <a:pt x="325169" y="418514"/>
                    <a:pt x="304091" y="433461"/>
                    <a:pt x="284770" y="412359"/>
                  </a:cubicBezTo>
                  <a:cubicBezTo>
                    <a:pt x="265448" y="391258"/>
                    <a:pt x="273353" y="399171"/>
                    <a:pt x="266327" y="396533"/>
                  </a:cubicBezTo>
                  <a:cubicBezTo>
                    <a:pt x="269839" y="406204"/>
                    <a:pt x="273353" y="407963"/>
                    <a:pt x="275109" y="410601"/>
                  </a:cubicBezTo>
                  <a:cubicBezTo>
                    <a:pt x="283891" y="422031"/>
                    <a:pt x="319899" y="456321"/>
                    <a:pt x="326047" y="461596"/>
                  </a:cubicBezTo>
                  <a:cubicBezTo>
                    <a:pt x="332195" y="466871"/>
                    <a:pt x="326925" y="479181"/>
                    <a:pt x="313752" y="477422"/>
                  </a:cubicBezTo>
                  <a:cubicBezTo>
                    <a:pt x="299700" y="475664"/>
                    <a:pt x="260179" y="433461"/>
                    <a:pt x="260179" y="433461"/>
                  </a:cubicBezTo>
                  <a:lnTo>
                    <a:pt x="273353" y="448408"/>
                  </a:lnTo>
                  <a:cubicBezTo>
                    <a:pt x="275109" y="451045"/>
                    <a:pt x="301456" y="473026"/>
                    <a:pt x="307604" y="477422"/>
                  </a:cubicBezTo>
                  <a:cubicBezTo>
                    <a:pt x="313752" y="481818"/>
                    <a:pt x="324291" y="500282"/>
                    <a:pt x="307604" y="503799"/>
                  </a:cubicBezTo>
                  <a:cubicBezTo>
                    <a:pt x="290918" y="506437"/>
                    <a:pt x="236466" y="442253"/>
                    <a:pt x="236466" y="442253"/>
                  </a:cubicBezTo>
                  <a:lnTo>
                    <a:pt x="248762" y="456321"/>
                  </a:lnTo>
                  <a:cubicBezTo>
                    <a:pt x="248762" y="456321"/>
                    <a:pt x="268083" y="479181"/>
                    <a:pt x="283891" y="494127"/>
                  </a:cubicBezTo>
                  <a:cubicBezTo>
                    <a:pt x="299700" y="509075"/>
                    <a:pt x="274231" y="513471"/>
                    <a:pt x="274231" y="513471"/>
                  </a:cubicBezTo>
                  <a:cubicBezTo>
                    <a:pt x="250518" y="508195"/>
                    <a:pt x="216267" y="450166"/>
                    <a:pt x="212754" y="446649"/>
                  </a:cubicBezTo>
                  <a:cubicBezTo>
                    <a:pt x="214510" y="456321"/>
                    <a:pt x="247883" y="497644"/>
                    <a:pt x="247883" y="497644"/>
                  </a:cubicBezTo>
                  <a:cubicBezTo>
                    <a:pt x="247883" y="497644"/>
                    <a:pt x="254031" y="509075"/>
                    <a:pt x="241736" y="511712"/>
                  </a:cubicBezTo>
                  <a:cubicBezTo>
                    <a:pt x="229441" y="514350"/>
                    <a:pt x="197824" y="480939"/>
                    <a:pt x="189041" y="458079"/>
                  </a:cubicBezTo>
                  <a:cubicBezTo>
                    <a:pt x="180259" y="435219"/>
                    <a:pt x="174111" y="426427"/>
                    <a:pt x="160937" y="392137"/>
                  </a:cubicBezTo>
                  <a:cubicBezTo>
                    <a:pt x="158303" y="384224"/>
                    <a:pt x="157425" y="378948"/>
                    <a:pt x="157425" y="370156"/>
                  </a:cubicBezTo>
                  <a:cubicBezTo>
                    <a:pt x="157425" y="370156"/>
                    <a:pt x="-6807" y="146831"/>
                    <a:pt x="219" y="103749"/>
                  </a:cubicBezTo>
                  <a:cubicBezTo>
                    <a:pt x="7245" y="60667"/>
                    <a:pt x="18662" y="18464"/>
                    <a:pt x="26566" y="0"/>
                  </a:cubicBezTo>
                  <a:cubicBezTo>
                    <a:pt x="79261" y="44841"/>
                    <a:pt x="138103" y="73855"/>
                    <a:pt x="138103" y="73855"/>
                  </a:cubicBezTo>
                  <a:lnTo>
                    <a:pt x="117904" y="124851"/>
                  </a:lnTo>
                  <a:lnTo>
                    <a:pt x="220658" y="334987"/>
                  </a:lnTo>
                  <a:lnTo>
                    <a:pt x="218902" y="334987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B8C40DD4-BD48-D1E6-00A9-4AC687F859A8}"/>
                </a:ext>
              </a:extLst>
            </p:cNvPr>
            <p:cNvSpPr/>
            <p:nvPr/>
          </p:nvSpPr>
          <p:spPr>
            <a:xfrm>
              <a:off x="-9537636" y="4429552"/>
              <a:ext cx="288981" cy="457248"/>
            </a:xfrm>
            <a:custGeom>
              <a:avLst/>
              <a:gdLst>
                <a:gd name="connsiteX0" fmla="*/ 202874 w 288981"/>
                <a:gd name="connsiteY0" fmla="*/ 274320 h 457248"/>
                <a:gd name="connsiteX1" fmla="*/ 252056 w 288981"/>
                <a:gd name="connsiteY1" fmla="*/ 307731 h 457248"/>
                <a:gd name="connsiteX2" fmla="*/ 269621 w 288981"/>
                <a:gd name="connsiteY2" fmla="*/ 329712 h 457248"/>
                <a:gd name="connsiteX3" fmla="*/ 288942 w 288981"/>
                <a:gd name="connsiteY3" fmla="*/ 370156 h 457248"/>
                <a:gd name="connsiteX4" fmla="*/ 254690 w 288981"/>
                <a:gd name="connsiteY4" fmla="*/ 360485 h 457248"/>
                <a:gd name="connsiteX5" fmla="*/ 236247 w 288981"/>
                <a:gd name="connsiteY5" fmla="*/ 339383 h 457248"/>
                <a:gd name="connsiteX6" fmla="*/ 242395 w 288981"/>
                <a:gd name="connsiteY6" fmla="*/ 358726 h 457248"/>
                <a:gd name="connsiteX7" fmla="*/ 281038 w 288981"/>
                <a:gd name="connsiteY7" fmla="*/ 417635 h 457248"/>
                <a:gd name="connsiteX8" fmla="*/ 266108 w 288981"/>
                <a:gd name="connsiteY8" fmla="*/ 431702 h 457248"/>
                <a:gd name="connsiteX9" fmla="*/ 223074 w 288981"/>
                <a:gd name="connsiteY9" fmla="*/ 377190 h 457248"/>
                <a:gd name="connsiteX10" fmla="*/ 232734 w 288981"/>
                <a:gd name="connsiteY10" fmla="*/ 393896 h 457248"/>
                <a:gd name="connsiteX11" fmla="*/ 257325 w 288981"/>
                <a:gd name="connsiteY11" fmla="*/ 429065 h 457248"/>
                <a:gd name="connsiteX12" fmla="*/ 253812 w 288981"/>
                <a:gd name="connsiteY12" fmla="*/ 453683 h 457248"/>
                <a:gd name="connsiteX13" fmla="*/ 198483 w 288981"/>
                <a:gd name="connsiteY13" fmla="*/ 380707 h 457248"/>
                <a:gd name="connsiteX14" fmla="*/ 203752 w 288981"/>
                <a:gd name="connsiteY14" fmla="*/ 394775 h 457248"/>
                <a:gd name="connsiteX15" fmla="*/ 233613 w 288981"/>
                <a:gd name="connsiteY15" fmla="*/ 441374 h 457248"/>
                <a:gd name="connsiteX16" fmla="*/ 219561 w 288981"/>
                <a:gd name="connsiteY16" fmla="*/ 457200 h 457248"/>
                <a:gd name="connsiteX17" fmla="*/ 174770 w 288981"/>
                <a:gd name="connsiteY17" fmla="*/ 380707 h 457248"/>
                <a:gd name="connsiteX18" fmla="*/ 197605 w 288981"/>
                <a:gd name="connsiteY18" fmla="*/ 437857 h 457248"/>
                <a:gd name="connsiteX19" fmla="*/ 190579 w 288981"/>
                <a:gd name="connsiteY19" fmla="*/ 449287 h 457248"/>
                <a:gd name="connsiteX20" fmla="*/ 149301 w 288981"/>
                <a:gd name="connsiteY20" fmla="*/ 386861 h 457248"/>
                <a:gd name="connsiteX21" fmla="*/ 135249 w 288981"/>
                <a:gd name="connsiteY21" fmla="*/ 317402 h 457248"/>
                <a:gd name="connsiteX22" fmla="*/ 135249 w 288981"/>
                <a:gd name="connsiteY22" fmla="*/ 295422 h 457248"/>
                <a:gd name="connsiteX23" fmla="*/ 0 w 288981"/>
                <a:gd name="connsiteY23" fmla="*/ 87044 h 457248"/>
                <a:gd name="connsiteX24" fmla="*/ 1757 w 288981"/>
                <a:gd name="connsiteY24" fmla="*/ 24619 h 457248"/>
                <a:gd name="connsiteX25" fmla="*/ 108024 w 288981"/>
                <a:gd name="connsiteY25" fmla="*/ 0 h 457248"/>
                <a:gd name="connsiteX26" fmla="*/ 115928 w 288981"/>
                <a:gd name="connsiteY26" fmla="*/ 57150 h 457248"/>
                <a:gd name="connsiteX27" fmla="*/ 201996 w 288981"/>
                <a:gd name="connsiteY27" fmla="*/ 273441 h 457248"/>
                <a:gd name="connsiteX28" fmla="*/ 201996 w 288981"/>
                <a:gd name="connsiteY28" fmla="*/ 273441 h 45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8981" h="457248">
                  <a:moveTo>
                    <a:pt x="202874" y="274320"/>
                  </a:moveTo>
                  <a:cubicBezTo>
                    <a:pt x="207265" y="283992"/>
                    <a:pt x="245908" y="300697"/>
                    <a:pt x="252056" y="307731"/>
                  </a:cubicBezTo>
                  <a:cubicBezTo>
                    <a:pt x="259960" y="316523"/>
                    <a:pt x="269621" y="329712"/>
                    <a:pt x="269621" y="329712"/>
                  </a:cubicBezTo>
                  <a:cubicBezTo>
                    <a:pt x="275768" y="347296"/>
                    <a:pt x="289820" y="365760"/>
                    <a:pt x="288942" y="370156"/>
                  </a:cubicBezTo>
                  <a:cubicBezTo>
                    <a:pt x="288064" y="374552"/>
                    <a:pt x="266108" y="386861"/>
                    <a:pt x="254690" y="360485"/>
                  </a:cubicBezTo>
                  <a:cubicBezTo>
                    <a:pt x="249421" y="349055"/>
                    <a:pt x="243273" y="343779"/>
                    <a:pt x="236247" y="339383"/>
                  </a:cubicBezTo>
                  <a:cubicBezTo>
                    <a:pt x="238004" y="349055"/>
                    <a:pt x="241517" y="355209"/>
                    <a:pt x="242395" y="358726"/>
                  </a:cubicBezTo>
                  <a:cubicBezTo>
                    <a:pt x="244152" y="369277"/>
                    <a:pt x="276646" y="411480"/>
                    <a:pt x="281038" y="417635"/>
                  </a:cubicBezTo>
                  <a:cubicBezTo>
                    <a:pt x="285429" y="424669"/>
                    <a:pt x="279281" y="436098"/>
                    <a:pt x="266108" y="431702"/>
                  </a:cubicBezTo>
                  <a:cubicBezTo>
                    <a:pt x="252934" y="427306"/>
                    <a:pt x="223074" y="377190"/>
                    <a:pt x="223074" y="377190"/>
                  </a:cubicBezTo>
                  <a:lnTo>
                    <a:pt x="232734" y="393896"/>
                  </a:lnTo>
                  <a:cubicBezTo>
                    <a:pt x="233613" y="397412"/>
                    <a:pt x="256447" y="424669"/>
                    <a:pt x="257325" y="429065"/>
                  </a:cubicBezTo>
                  <a:cubicBezTo>
                    <a:pt x="262594" y="436098"/>
                    <a:pt x="269621" y="453683"/>
                    <a:pt x="253812" y="453683"/>
                  </a:cubicBezTo>
                  <a:cubicBezTo>
                    <a:pt x="238004" y="453683"/>
                    <a:pt x="198483" y="380707"/>
                    <a:pt x="198483" y="380707"/>
                  </a:cubicBezTo>
                  <a:lnTo>
                    <a:pt x="203752" y="394775"/>
                  </a:lnTo>
                  <a:cubicBezTo>
                    <a:pt x="203752" y="394775"/>
                    <a:pt x="221317" y="423789"/>
                    <a:pt x="233613" y="441374"/>
                  </a:cubicBezTo>
                  <a:cubicBezTo>
                    <a:pt x="246786" y="458959"/>
                    <a:pt x="219561" y="457200"/>
                    <a:pt x="219561" y="457200"/>
                  </a:cubicBezTo>
                  <a:cubicBezTo>
                    <a:pt x="197605" y="446649"/>
                    <a:pt x="176527" y="384224"/>
                    <a:pt x="174770" y="380707"/>
                  </a:cubicBezTo>
                  <a:cubicBezTo>
                    <a:pt x="174770" y="390378"/>
                    <a:pt x="197605" y="437857"/>
                    <a:pt x="197605" y="437857"/>
                  </a:cubicBezTo>
                  <a:cubicBezTo>
                    <a:pt x="197605" y="437857"/>
                    <a:pt x="202874" y="450166"/>
                    <a:pt x="190579" y="449287"/>
                  </a:cubicBezTo>
                  <a:cubicBezTo>
                    <a:pt x="174770" y="449287"/>
                    <a:pt x="153692" y="410601"/>
                    <a:pt x="149301" y="386861"/>
                  </a:cubicBezTo>
                  <a:cubicBezTo>
                    <a:pt x="144910" y="363122"/>
                    <a:pt x="141397" y="353451"/>
                    <a:pt x="135249" y="317402"/>
                  </a:cubicBezTo>
                  <a:cubicBezTo>
                    <a:pt x="133493" y="309489"/>
                    <a:pt x="134371" y="304214"/>
                    <a:pt x="135249" y="295422"/>
                  </a:cubicBezTo>
                  <a:lnTo>
                    <a:pt x="0" y="87044"/>
                  </a:lnTo>
                  <a:lnTo>
                    <a:pt x="1757" y="24619"/>
                  </a:lnTo>
                  <a:lnTo>
                    <a:pt x="108024" y="0"/>
                  </a:lnTo>
                  <a:lnTo>
                    <a:pt x="115928" y="57150"/>
                  </a:lnTo>
                  <a:lnTo>
                    <a:pt x="201996" y="273441"/>
                  </a:lnTo>
                  <a:lnTo>
                    <a:pt x="201996" y="273441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9" name="Graphic 6">
            <a:extLst>
              <a:ext uri="{FF2B5EF4-FFF2-40B4-BE49-F238E27FC236}">
                <a16:creationId xmlns:a16="http://schemas.microsoft.com/office/drawing/2014/main" id="{15EE0FE3-1D83-4812-5797-A511FB9BDB72}"/>
              </a:ext>
            </a:extLst>
          </p:cNvPr>
          <p:cNvGrpSpPr/>
          <p:nvPr/>
        </p:nvGrpSpPr>
        <p:grpSpPr>
          <a:xfrm flipH="1">
            <a:off x="-6021333" y="1400939"/>
            <a:ext cx="3842455" cy="4626826"/>
            <a:chOff x="-8201469" y="2173664"/>
            <a:chExt cx="3043696" cy="3665014"/>
          </a:xfrm>
        </p:grpSpPr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C32BDA7D-4CD0-ADEF-EBCB-CDC77EC0DA2F}"/>
                </a:ext>
              </a:extLst>
            </p:cNvPr>
            <p:cNvSpPr/>
            <p:nvPr/>
          </p:nvSpPr>
          <p:spPr>
            <a:xfrm>
              <a:off x="-7760262" y="2173664"/>
              <a:ext cx="553185" cy="552571"/>
            </a:xfrm>
            <a:custGeom>
              <a:avLst/>
              <a:gdLst>
                <a:gd name="connsiteX0" fmla="*/ 522744 w 553185"/>
                <a:gd name="connsiteY0" fmla="*/ 139580 h 552571"/>
                <a:gd name="connsiteX1" fmla="*/ 394521 w 553185"/>
                <a:gd name="connsiteY1" fmla="*/ 519408 h 552571"/>
                <a:gd name="connsiteX2" fmla="*/ 104701 w 553185"/>
                <a:gd name="connsiteY2" fmla="*/ 445552 h 552571"/>
                <a:gd name="connsiteX3" fmla="*/ 63423 w 553185"/>
                <a:gd name="connsiteY3" fmla="*/ 76275 h 552571"/>
                <a:gd name="connsiteX4" fmla="*/ 522744 w 553185"/>
                <a:gd name="connsiteY4" fmla="*/ 139580 h 55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185" h="552571">
                  <a:moveTo>
                    <a:pt x="522744" y="139580"/>
                  </a:moveTo>
                  <a:cubicBezTo>
                    <a:pt x="602664" y="338286"/>
                    <a:pt x="513083" y="473688"/>
                    <a:pt x="394521" y="519408"/>
                  </a:cubicBezTo>
                  <a:cubicBezTo>
                    <a:pt x="257514" y="573041"/>
                    <a:pt x="200429" y="570403"/>
                    <a:pt x="104701" y="445552"/>
                  </a:cubicBezTo>
                  <a:cubicBezTo>
                    <a:pt x="8094" y="320702"/>
                    <a:pt x="-52505" y="165957"/>
                    <a:pt x="63423" y="76275"/>
                  </a:cubicBezTo>
                  <a:cubicBezTo>
                    <a:pt x="179351" y="-13406"/>
                    <a:pt x="442824" y="-58247"/>
                    <a:pt x="522744" y="139580"/>
                  </a:cubicBezTo>
                  <a:close/>
                </a:path>
              </a:pathLst>
            </a:custGeom>
            <a:solidFill>
              <a:srgbClr val="CBCBCB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1" name="Graphic 6">
              <a:extLst>
                <a:ext uri="{FF2B5EF4-FFF2-40B4-BE49-F238E27FC236}">
                  <a16:creationId xmlns:a16="http://schemas.microsoft.com/office/drawing/2014/main" id="{088A88FE-CDF1-475C-5569-83B50EFE6700}"/>
                </a:ext>
              </a:extLst>
            </p:cNvPr>
            <p:cNvGrpSpPr/>
            <p:nvPr/>
          </p:nvGrpSpPr>
          <p:grpSpPr>
            <a:xfrm>
              <a:off x="-8201469" y="2379186"/>
              <a:ext cx="3043696" cy="3459492"/>
              <a:chOff x="-8201469" y="2379186"/>
              <a:chExt cx="3043696" cy="3459492"/>
            </a:xfrm>
          </p:grpSpPr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534374A6-4630-5CDC-8733-14803FB364BA}"/>
                  </a:ext>
                </a:extLst>
              </p:cNvPr>
              <p:cNvSpPr/>
              <p:nvPr/>
            </p:nvSpPr>
            <p:spPr>
              <a:xfrm>
                <a:off x="-7770612" y="2379186"/>
                <a:ext cx="384670" cy="529318"/>
              </a:xfrm>
              <a:custGeom>
                <a:avLst/>
                <a:gdLst>
                  <a:gd name="connsiteX0" fmla="*/ 0 w 384670"/>
                  <a:gd name="connsiteY0" fmla="*/ 225083 h 529318"/>
                  <a:gd name="connsiteX1" fmla="*/ 8782 w 384670"/>
                  <a:gd name="connsiteY1" fmla="*/ 241788 h 529318"/>
                  <a:gd name="connsiteX2" fmla="*/ 2635 w 384670"/>
                  <a:gd name="connsiteY2" fmla="*/ 250581 h 529318"/>
                  <a:gd name="connsiteX3" fmla="*/ 14930 w 384670"/>
                  <a:gd name="connsiteY3" fmla="*/ 269045 h 529318"/>
                  <a:gd name="connsiteX4" fmla="*/ 21956 w 384670"/>
                  <a:gd name="connsiteY4" fmla="*/ 296301 h 529318"/>
                  <a:gd name="connsiteX5" fmla="*/ 49182 w 384670"/>
                  <a:gd name="connsiteY5" fmla="*/ 320040 h 529318"/>
                  <a:gd name="connsiteX6" fmla="*/ 104511 w 384670"/>
                  <a:gd name="connsiteY6" fmla="*/ 308610 h 529318"/>
                  <a:gd name="connsiteX7" fmla="*/ 125589 w 384670"/>
                  <a:gd name="connsiteY7" fmla="*/ 304214 h 529318"/>
                  <a:gd name="connsiteX8" fmla="*/ 132615 w 384670"/>
                  <a:gd name="connsiteY8" fmla="*/ 429065 h 529318"/>
                  <a:gd name="connsiteX9" fmla="*/ 90459 w 384670"/>
                  <a:gd name="connsiteY9" fmla="*/ 465992 h 529318"/>
                  <a:gd name="connsiteX10" fmla="*/ 384671 w 384670"/>
                  <a:gd name="connsiteY10" fmla="*/ 474785 h 529318"/>
                  <a:gd name="connsiteX11" fmla="*/ 292455 w 384670"/>
                  <a:gd name="connsiteY11" fmla="*/ 271682 h 529318"/>
                  <a:gd name="connsiteX12" fmla="*/ 292455 w 384670"/>
                  <a:gd name="connsiteY12" fmla="*/ 269924 h 529318"/>
                  <a:gd name="connsiteX13" fmla="*/ 287185 w 384670"/>
                  <a:gd name="connsiteY13" fmla="*/ 269924 h 529318"/>
                  <a:gd name="connsiteX14" fmla="*/ 254690 w 384670"/>
                  <a:gd name="connsiteY14" fmla="*/ 249702 h 529318"/>
                  <a:gd name="connsiteX15" fmla="*/ 263473 w 384670"/>
                  <a:gd name="connsiteY15" fmla="*/ 221566 h 529318"/>
                  <a:gd name="connsiteX16" fmla="*/ 218683 w 384670"/>
                  <a:gd name="connsiteY16" fmla="*/ 152986 h 529318"/>
                  <a:gd name="connsiteX17" fmla="*/ 187066 w 384670"/>
                  <a:gd name="connsiteY17" fmla="*/ 157382 h 529318"/>
                  <a:gd name="connsiteX18" fmla="*/ 197605 w 384670"/>
                  <a:gd name="connsiteY18" fmla="*/ 108145 h 529318"/>
                  <a:gd name="connsiteX19" fmla="*/ 165988 w 384670"/>
                  <a:gd name="connsiteY19" fmla="*/ 41324 h 529318"/>
                  <a:gd name="connsiteX20" fmla="*/ 122076 w 384670"/>
                  <a:gd name="connsiteY20" fmla="*/ 7913 h 529318"/>
                  <a:gd name="connsiteX21" fmla="*/ 97485 w 384670"/>
                  <a:gd name="connsiteY21" fmla="*/ 0 h 529318"/>
                  <a:gd name="connsiteX22" fmla="*/ 46547 w 384670"/>
                  <a:gd name="connsiteY22" fmla="*/ 99353 h 529318"/>
                  <a:gd name="connsiteX23" fmla="*/ 39521 w 384670"/>
                  <a:gd name="connsiteY23" fmla="*/ 139798 h 529318"/>
                  <a:gd name="connsiteX24" fmla="*/ 5270 w 384670"/>
                  <a:gd name="connsiteY24" fmla="*/ 168812 h 529318"/>
                  <a:gd name="connsiteX25" fmla="*/ 2635 w 384670"/>
                  <a:gd name="connsiteY25" fmla="*/ 189914 h 529318"/>
                  <a:gd name="connsiteX26" fmla="*/ 18443 w 384670"/>
                  <a:gd name="connsiteY26" fmla="*/ 203982 h 529318"/>
                  <a:gd name="connsiteX27" fmla="*/ 0 w 384670"/>
                  <a:gd name="connsiteY27" fmla="*/ 222445 h 529318"/>
                  <a:gd name="connsiteX28" fmla="*/ 0 w 384670"/>
                  <a:gd name="connsiteY28" fmla="*/ 225083 h 52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84670" h="529318">
                    <a:moveTo>
                      <a:pt x="0" y="225083"/>
                    </a:moveTo>
                    <a:cubicBezTo>
                      <a:pt x="1757" y="233875"/>
                      <a:pt x="8782" y="241788"/>
                      <a:pt x="8782" y="241788"/>
                    </a:cubicBezTo>
                    <a:lnTo>
                      <a:pt x="2635" y="250581"/>
                    </a:lnTo>
                    <a:cubicBezTo>
                      <a:pt x="-1756" y="267286"/>
                      <a:pt x="14930" y="269045"/>
                      <a:pt x="14930" y="269045"/>
                    </a:cubicBezTo>
                    <a:cubicBezTo>
                      <a:pt x="14930" y="269045"/>
                      <a:pt x="16687" y="275199"/>
                      <a:pt x="21956" y="296301"/>
                    </a:cubicBezTo>
                    <a:cubicBezTo>
                      <a:pt x="27226" y="317402"/>
                      <a:pt x="49182" y="320040"/>
                      <a:pt x="49182" y="320040"/>
                    </a:cubicBezTo>
                    <a:lnTo>
                      <a:pt x="104511" y="308610"/>
                    </a:lnTo>
                    <a:lnTo>
                      <a:pt x="125589" y="304214"/>
                    </a:lnTo>
                    <a:lnTo>
                      <a:pt x="132615" y="429065"/>
                    </a:lnTo>
                    <a:cubicBezTo>
                      <a:pt x="127345" y="451925"/>
                      <a:pt x="90459" y="465992"/>
                      <a:pt x="90459" y="465992"/>
                    </a:cubicBezTo>
                    <a:cubicBezTo>
                      <a:pt x="217805" y="603152"/>
                      <a:pt x="384671" y="474785"/>
                      <a:pt x="384671" y="474785"/>
                    </a:cubicBezTo>
                    <a:cubicBezTo>
                      <a:pt x="305629" y="437857"/>
                      <a:pt x="294211" y="325315"/>
                      <a:pt x="292455" y="271682"/>
                    </a:cubicBezTo>
                    <a:lnTo>
                      <a:pt x="292455" y="269924"/>
                    </a:lnTo>
                    <a:lnTo>
                      <a:pt x="287185" y="269924"/>
                    </a:lnTo>
                    <a:cubicBezTo>
                      <a:pt x="287185" y="269924"/>
                      <a:pt x="259082" y="267286"/>
                      <a:pt x="254690" y="249702"/>
                    </a:cubicBezTo>
                    <a:cubicBezTo>
                      <a:pt x="252934" y="242668"/>
                      <a:pt x="254690" y="233875"/>
                      <a:pt x="263473" y="221566"/>
                    </a:cubicBezTo>
                    <a:cubicBezTo>
                      <a:pt x="294211" y="177605"/>
                      <a:pt x="253812" y="128368"/>
                      <a:pt x="218683" y="152986"/>
                    </a:cubicBezTo>
                    <a:cubicBezTo>
                      <a:pt x="198483" y="167054"/>
                      <a:pt x="187066" y="157382"/>
                      <a:pt x="187066" y="157382"/>
                    </a:cubicBezTo>
                    <a:cubicBezTo>
                      <a:pt x="187066" y="157382"/>
                      <a:pt x="207266" y="126609"/>
                      <a:pt x="197605" y="108145"/>
                    </a:cubicBezTo>
                    <a:cubicBezTo>
                      <a:pt x="181796" y="79131"/>
                      <a:pt x="204631" y="54512"/>
                      <a:pt x="165988" y="41324"/>
                    </a:cubicBezTo>
                    <a:cubicBezTo>
                      <a:pt x="147545" y="35169"/>
                      <a:pt x="155449" y="14947"/>
                      <a:pt x="122076" y="7913"/>
                    </a:cubicBezTo>
                    <a:cubicBezTo>
                      <a:pt x="111537" y="5275"/>
                      <a:pt x="97485" y="0"/>
                      <a:pt x="97485" y="0"/>
                    </a:cubicBezTo>
                    <a:cubicBezTo>
                      <a:pt x="49182" y="35169"/>
                      <a:pt x="48303" y="72976"/>
                      <a:pt x="46547" y="99353"/>
                    </a:cubicBezTo>
                    <a:cubicBezTo>
                      <a:pt x="44791" y="130126"/>
                      <a:pt x="39521" y="139798"/>
                      <a:pt x="39521" y="139798"/>
                    </a:cubicBezTo>
                    <a:lnTo>
                      <a:pt x="5270" y="168812"/>
                    </a:lnTo>
                    <a:cubicBezTo>
                      <a:pt x="5270" y="168812"/>
                      <a:pt x="-3513" y="180242"/>
                      <a:pt x="2635" y="189914"/>
                    </a:cubicBezTo>
                    <a:cubicBezTo>
                      <a:pt x="7904" y="197827"/>
                      <a:pt x="20200" y="193431"/>
                      <a:pt x="18443" y="203982"/>
                    </a:cubicBezTo>
                    <a:cubicBezTo>
                      <a:pt x="16687" y="214532"/>
                      <a:pt x="0" y="222445"/>
                      <a:pt x="0" y="222445"/>
                    </a:cubicBezTo>
                    <a:lnTo>
                      <a:pt x="0" y="225083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2C77924F-B5C6-D495-F4E5-6BD5B2A87F2E}"/>
                  </a:ext>
                </a:extLst>
              </p:cNvPr>
              <p:cNvSpPr/>
              <p:nvPr/>
            </p:nvSpPr>
            <p:spPr>
              <a:xfrm>
                <a:off x="-7862827" y="5314058"/>
                <a:ext cx="166866" cy="142435"/>
              </a:xfrm>
              <a:custGeom>
                <a:avLst/>
                <a:gdLst>
                  <a:gd name="connsiteX0" fmla="*/ 10539 w 166866"/>
                  <a:gd name="connsiteY0" fmla="*/ 0 h 142435"/>
                  <a:gd name="connsiteX1" fmla="*/ 0 w 166866"/>
                  <a:gd name="connsiteY1" fmla="*/ 101112 h 142435"/>
                  <a:gd name="connsiteX2" fmla="*/ 68503 w 166866"/>
                  <a:gd name="connsiteY2" fmla="*/ 123092 h 142435"/>
                  <a:gd name="connsiteX3" fmla="*/ 125589 w 166866"/>
                  <a:gd name="connsiteY3" fmla="*/ 142435 h 142435"/>
                  <a:gd name="connsiteX4" fmla="*/ 166866 w 166866"/>
                  <a:gd name="connsiteY4" fmla="*/ 8792 h 142435"/>
                  <a:gd name="connsiteX5" fmla="*/ 10539 w 166866"/>
                  <a:gd name="connsiteY5" fmla="*/ 0 h 142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6866" h="142435">
                    <a:moveTo>
                      <a:pt x="10539" y="0"/>
                    </a:moveTo>
                    <a:cubicBezTo>
                      <a:pt x="7026" y="36049"/>
                      <a:pt x="3513" y="70338"/>
                      <a:pt x="0" y="101112"/>
                    </a:cubicBezTo>
                    <a:cubicBezTo>
                      <a:pt x="17565" y="101991"/>
                      <a:pt x="57964" y="105508"/>
                      <a:pt x="68503" y="123092"/>
                    </a:cubicBezTo>
                    <a:cubicBezTo>
                      <a:pt x="78164" y="138918"/>
                      <a:pt x="108024" y="141556"/>
                      <a:pt x="125589" y="142435"/>
                    </a:cubicBezTo>
                    <a:cubicBezTo>
                      <a:pt x="136128" y="101112"/>
                      <a:pt x="150180" y="55391"/>
                      <a:pt x="166866" y="8792"/>
                    </a:cubicBezTo>
                    <a:cubicBezTo>
                      <a:pt x="115928" y="11430"/>
                      <a:pt x="58842" y="10551"/>
                      <a:pt x="10539" y="0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485FC40E-B028-661B-FA41-84D63ED1FFFC}"/>
                  </a:ext>
                </a:extLst>
              </p:cNvPr>
              <p:cNvSpPr/>
              <p:nvPr/>
            </p:nvSpPr>
            <p:spPr>
              <a:xfrm>
                <a:off x="-8130764" y="5404619"/>
                <a:ext cx="426899" cy="398715"/>
              </a:xfrm>
              <a:custGeom>
                <a:avLst/>
                <a:gdLst>
                  <a:gd name="connsiteX0" fmla="*/ 409334 w 426899"/>
                  <a:gd name="connsiteY0" fmla="*/ 101112 h 398715"/>
                  <a:gd name="connsiteX1" fmla="*/ 419873 w 426899"/>
                  <a:gd name="connsiteY1" fmla="*/ 34290 h 398715"/>
                  <a:gd name="connsiteX2" fmla="*/ 344344 w 426899"/>
                  <a:gd name="connsiteY2" fmla="*/ 23739 h 398715"/>
                  <a:gd name="connsiteX3" fmla="*/ 255642 w 426899"/>
                  <a:gd name="connsiteY3" fmla="*/ 0 h 398715"/>
                  <a:gd name="connsiteX4" fmla="*/ 215242 w 426899"/>
                  <a:gd name="connsiteY4" fmla="*/ 183759 h 398715"/>
                  <a:gd name="connsiteX5" fmla="*/ 22907 w 426899"/>
                  <a:gd name="connsiteY5" fmla="*/ 299818 h 398715"/>
                  <a:gd name="connsiteX6" fmla="*/ 73 w 426899"/>
                  <a:gd name="connsiteY6" fmla="*/ 356088 h 398715"/>
                  <a:gd name="connsiteX7" fmla="*/ 51011 w 426899"/>
                  <a:gd name="connsiteY7" fmla="*/ 394775 h 398715"/>
                  <a:gd name="connsiteX8" fmla="*/ 207338 w 426899"/>
                  <a:gd name="connsiteY8" fmla="*/ 394775 h 398715"/>
                  <a:gd name="connsiteX9" fmla="*/ 308336 w 426899"/>
                  <a:gd name="connsiteY9" fmla="*/ 345538 h 398715"/>
                  <a:gd name="connsiteX10" fmla="*/ 310971 w 426899"/>
                  <a:gd name="connsiteY10" fmla="*/ 398292 h 398715"/>
                  <a:gd name="connsiteX11" fmla="*/ 426899 w 426899"/>
                  <a:gd name="connsiteY11" fmla="*/ 398292 h 398715"/>
                  <a:gd name="connsiteX12" fmla="*/ 426899 w 426899"/>
                  <a:gd name="connsiteY12" fmla="*/ 327953 h 398715"/>
                  <a:gd name="connsiteX13" fmla="*/ 406700 w 426899"/>
                  <a:gd name="connsiteY13" fmla="*/ 218049 h 398715"/>
                  <a:gd name="connsiteX14" fmla="*/ 408456 w 426899"/>
                  <a:gd name="connsiteY14" fmla="*/ 101991 h 398715"/>
                  <a:gd name="connsiteX15" fmla="*/ 408456 w 426899"/>
                  <a:gd name="connsiteY15" fmla="*/ 101991 h 398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6899" h="398715">
                    <a:moveTo>
                      <a:pt x="409334" y="101112"/>
                    </a:moveTo>
                    <a:cubicBezTo>
                      <a:pt x="416360" y="74735"/>
                      <a:pt x="419873" y="34290"/>
                      <a:pt x="419873" y="34290"/>
                    </a:cubicBezTo>
                    <a:cubicBezTo>
                      <a:pt x="419873" y="34290"/>
                      <a:pt x="354883" y="38686"/>
                      <a:pt x="344344" y="23739"/>
                    </a:cubicBezTo>
                    <a:cubicBezTo>
                      <a:pt x="332927" y="7034"/>
                      <a:pt x="255642" y="0"/>
                      <a:pt x="255642" y="0"/>
                    </a:cubicBezTo>
                    <a:cubicBezTo>
                      <a:pt x="255642" y="0"/>
                      <a:pt x="253007" y="117817"/>
                      <a:pt x="215242" y="183759"/>
                    </a:cubicBezTo>
                    <a:cubicBezTo>
                      <a:pt x="177478" y="249702"/>
                      <a:pt x="51889" y="267286"/>
                      <a:pt x="22907" y="299818"/>
                    </a:cubicBezTo>
                    <a:cubicBezTo>
                      <a:pt x="6221" y="319161"/>
                      <a:pt x="-805" y="337625"/>
                      <a:pt x="73" y="356088"/>
                    </a:cubicBezTo>
                    <a:cubicBezTo>
                      <a:pt x="73" y="373673"/>
                      <a:pt x="38716" y="393016"/>
                      <a:pt x="51011" y="394775"/>
                    </a:cubicBezTo>
                    <a:cubicBezTo>
                      <a:pt x="62428" y="396533"/>
                      <a:pt x="203825" y="402688"/>
                      <a:pt x="207338" y="394775"/>
                    </a:cubicBezTo>
                    <a:cubicBezTo>
                      <a:pt x="237198" y="343779"/>
                      <a:pt x="308336" y="345538"/>
                      <a:pt x="308336" y="345538"/>
                    </a:cubicBezTo>
                    <a:lnTo>
                      <a:pt x="310971" y="398292"/>
                    </a:lnTo>
                    <a:lnTo>
                      <a:pt x="426899" y="398292"/>
                    </a:lnTo>
                    <a:lnTo>
                      <a:pt x="426899" y="327953"/>
                    </a:lnTo>
                    <a:cubicBezTo>
                      <a:pt x="426899" y="275199"/>
                      <a:pt x="406700" y="218049"/>
                      <a:pt x="406700" y="218049"/>
                    </a:cubicBezTo>
                    <a:cubicBezTo>
                      <a:pt x="408456" y="203982"/>
                      <a:pt x="401430" y="128368"/>
                      <a:pt x="408456" y="101991"/>
                    </a:cubicBezTo>
                    <a:lnTo>
                      <a:pt x="408456" y="101991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19363C6C-3E59-0CB0-E6C8-E546FA2579CF}"/>
                  </a:ext>
                </a:extLst>
              </p:cNvPr>
              <p:cNvSpPr/>
              <p:nvPr/>
            </p:nvSpPr>
            <p:spPr>
              <a:xfrm>
                <a:off x="-7927817" y="3481742"/>
                <a:ext cx="797444" cy="1864088"/>
              </a:xfrm>
              <a:custGeom>
                <a:avLst/>
                <a:gdLst>
                  <a:gd name="connsiteX0" fmla="*/ 795688 w 797444"/>
                  <a:gd name="connsiteY0" fmla="*/ 722727 h 1864088"/>
                  <a:gd name="connsiteX1" fmla="*/ 722794 w 797444"/>
                  <a:gd name="connsiteY1" fmla="*/ 722727 h 1864088"/>
                  <a:gd name="connsiteX2" fmla="*/ 650778 w 797444"/>
                  <a:gd name="connsiteY2" fmla="*/ 0 h 1864088"/>
                  <a:gd name="connsiteX3" fmla="*/ 477764 w 797444"/>
                  <a:gd name="connsiteY3" fmla="*/ 2638 h 1864088"/>
                  <a:gd name="connsiteX4" fmla="*/ 303872 w 797444"/>
                  <a:gd name="connsiteY4" fmla="*/ 43962 h 1864088"/>
                  <a:gd name="connsiteX5" fmla="*/ 111537 w 797444"/>
                  <a:gd name="connsiteY5" fmla="*/ 72097 h 1864088"/>
                  <a:gd name="connsiteX6" fmla="*/ 53573 w 797444"/>
                  <a:gd name="connsiteY6" fmla="*/ 757897 h 1864088"/>
                  <a:gd name="connsiteX7" fmla="*/ 0 w 797444"/>
                  <a:gd name="connsiteY7" fmla="*/ 1822645 h 1864088"/>
                  <a:gd name="connsiteX8" fmla="*/ 34251 w 797444"/>
                  <a:gd name="connsiteY8" fmla="*/ 1832317 h 1864088"/>
                  <a:gd name="connsiteX9" fmla="*/ 190579 w 797444"/>
                  <a:gd name="connsiteY9" fmla="*/ 1841109 h 1864088"/>
                  <a:gd name="connsiteX10" fmla="*/ 326706 w 797444"/>
                  <a:gd name="connsiteY10" fmla="*/ 1826162 h 1864088"/>
                  <a:gd name="connsiteX11" fmla="*/ 432973 w 797444"/>
                  <a:gd name="connsiteY11" fmla="*/ 753501 h 1864088"/>
                  <a:gd name="connsiteX12" fmla="*/ 482155 w 797444"/>
                  <a:gd name="connsiteY12" fmla="*/ 1841988 h 1864088"/>
                  <a:gd name="connsiteX13" fmla="*/ 578762 w 797444"/>
                  <a:gd name="connsiteY13" fmla="*/ 1859573 h 1864088"/>
                  <a:gd name="connsiteX14" fmla="*/ 720159 w 797444"/>
                  <a:gd name="connsiteY14" fmla="*/ 1856935 h 1864088"/>
                  <a:gd name="connsiteX15" fmla="*/ 797444 w 797444"/>
                  <a:gd name="connsiteY15" fmla="*/ 1819128 h 1864088"/>
                  <a:gd name="connsiteX16" fmla="*/ 794810 w 797444"/>
                  <a:gd name="connsiteY16" fmla="*/ 723607 h 1864088"/>
                  <a:gd name="connsiteX17" fmla="*/ 795688 w 797444"/>
                  <a:gd name="connsiteY17" fmla="*/ 723607 h 1864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97444" h="1864088">
                    <a:moveTo>
                      <a:pt x="795688" y="722727"/>
                    </a:moveTo>
                    <a:lnTo>
                      <a:pt x="722794" y="722727"/>
                    </a:lnTo>
                    <a:cubicBezTo>
                      <a:pt x="722794" y="722727"/>
                      <a:pt x="654291" y="266407"/>
                      <a:pt x="650778" y="0"/>
                    </a:cubicBezTo>
                    <a:lnTo>
                      <a:pt x="477764" y="2638"/>
                    </a:lnTo>
                    <a:cubicBezTo>
                      <a:pt x="459321" y="11430"/>
                      <a:pt x="350418" y="27256"/>
                      <a:pt x="303872" y="43962"/>
                    </a:cubicBezTo>
                    <a:cubicBezTo>
                      <a:pt x="257325" y="60667"/>
                      <a:pt x="148423" y="72097"/>
                      <a:pt x="111537" y="72097"/>
                    </a:cubicBezTo>
                    <a:lnTo>
                      <a:pt x="53573" y="757897"/>
                    </a:lnTo>
                    <a:lnTo>
                      <a:pt x="0" y="1822645"/>
                    </a:lnTo>
                    <a:cubicBezTo>
                      <a:pt x="10539" y="1826162"/>
                      <a:pt x="21956" y="1829679"/>
                      <a:pt x="34251" y="1832317"/>
                    </a:cubicBezTo>
                    <a:cubicBezTo>
                      <a:pt x="82554" y="1842868"/>
                      <a:pt x="139640" y="1843747"/>
                      <a:pt x="190579" y="1841109"/>
                    </a:cubicBezTo>
                    <a:cubicBezTo>
                      <a:pt x="265229" y="1837592"/>
                      <a:pt x="326706" y="1826162"/>
                      <a:pt x="326706" y="1826162"/>
                    </a:cubicBezTo>
                    <a:lnTo>
                      <a:pt x="432973" y="753501"/>
                    </a:lnTo>
                    <a:lnTo>
                      <a:pt x="482155" y="1841988"/>
                    </a:lnTo>
                    <a:cubicBezTo>
                      <a:pt x="518163" y="1850781"/>
                      <a:pt x="549780" y="1856056"/>
                      <a:pt x="578762" y="1859573"/>
                    </a:cubicBezTo>
                    <a:cubicBezTo>
                      <a:pt x="641117" y="1867486"/>
                      <a:pt x="686786" y="1863969"/>
                      <a:pt x="720159" y="1856935"/>
                    </a:cubicBezTo>
                    <a:cubicBezTo>
                      <a:pt x="779001" y="1844626"/>
                      <a:pt x="797444" y="1819128"/>
                      <a:pt x="797444" y="1819128"/>
                    </a:cubicBezTo>
                    <a:cubicBezTo>
                      <a:pt x="797444" y="1819128"/>
                      <a:pt x="797444" y="1153551"/>
                      <a:pt x="794810" y="723607"/>
                    </a:cubicBezTo>
                    <a:lnTo>
                      <a:pt x="795688" y="72360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1D884A4A-45B7-D09E-95C2-7DB2A1407F7C}"/>
                  </a:ext>
                </a:extLst>
              </p:cNvPr>
              <p:cNvSpPr/>
              <p:nvPr/>
            </p:nvSpPr>
            <p:spPr>
              <a:xfrm>
                <a:off x="-7946260" y="3431625"/>
                <a:ext cx="50059" cy="113420"/>
              </a:xfrm>
              <a:custGeom>
                <a:avLst/>
                <a:gdLst>
                  <a:gd name="connsiteX0" fmla="*/ 0 w 50059"/>
                  <a:gd name="connsiteY0" fmla="*/ 84406 h 113420"/>
                  <a:gd name="connsiteX1" fmla="*/ 36886 w 50059"/>
                  <a:gd name="connsiteY1" fmla="*/ 113421 h 113420"/>
                  <a:gd name="connsiteX2" fmla="*/ 50060 w 50059"/>
                  <a:gd name="connsiteY2" fmla="*/ 0 h 113420"/>
                  <a:gd name="connsiteX3" fmla="*/ 0 w 50059"/>
                  <a:gd name="connsiteY3" fmla="*/ 84406 h 113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59" h="113420">
                    <a:moveTo>
                      <a:pt x="0" y="84406"/>
                    </a:moveTo>
                    <a:lnTo>
                      <a:pt x="36886" y="113421"/>
                    </a:lnTo>
                    <a:lnTo>
                      <a:pt x="50060" y="0"/>
                    </a:lnTo>
                    <a:lnTo>
                      <a:pt x="0" y="8440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1E9AE011-A8B1-5CAE-C690-0C61393537E3}"/>
                  </a:ext>
                </a:extLst>
              </p:cNvPr>
              <p:cNvSpPr/>
              <p:nvPr/>
            </p:nvSpPr>
            <p:spPr>
              <a:xfrm>
                <a:off x="-7348177" y="5338677"/>
                <a:ext cx="141396" cy="71217"/>
              </a:xfrm>
              <a:custGeom>
                <a:avLst/>
                <a:gdLst>
                  <a:gd name="connsiteX0" fmla="*/ 0 w 141396"/>
                  <a:gd name="connsiteY0" fmla="*/ 2638 h 71217"/>
                  <a:gd name="connsiteX1" fmla="*/ 7026 w 141396"/>
                  <a:gd name="connsiteY1" fmla="*/ 71218 h 71217"/>
                  <a:gd name="connsiteX2" fmla="*/ 134371 w 141396"/>
                  <a:gd name="connsiteY2" fmla="*/ 64184 h 71217"/>
                  <a:gd name="connsiteX3" fmla="*/ 141397 w 141396"/>
                  <a:gd name="connsiteY3" fmla="*/ 0 h 71217"/>
                  <a:gd name="connsiteX4" fmla="*/ 0 w 141396"/>
                  <a:gd name="connsiteY4" fmla="*/ 2638 h 7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396" h="71217">
                    <a:moveTo>
                      <a:pt x="0" y="2638"/>
                    </a:moveTo>
                    <a:lnTo>
                      <a:pt x="7026" y="71218"/>
                    </a:lnTo>
                    <a:cubicBezTo>
                      <a:pt x="13174" y="66822"/>
                      <a:pt x="50060" y="39565"/>
                      <a:pt x="134371" y="64184"/>
                    </a:cubicBezTo>
                    <a:lnTo>
                      <a:pt x="141397" y="0"/>
                    </a:lnTo>
                    <a:cubicBezTo>
                      <a:pt x="108024" y="7034"/>
                      <a:pt x="62355" y="10551"/>
                      <a:pt x="0" y="2638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E2AF3EC9-4999-C606-8A10-434F85A5012D}"/>
                  </a:ext>
                </a:extLst>
              </p:cNvPr>
              <p:cNvSpPr/>
              <p:nvPr/>
            </p:nvSpPr>
            <p:spPr>
              <a:xfrm>
                <a:off x="-6895004" y="2666257"/>
                <a:ext cx="258269" cy="413676"/>
              </a:xfrm>
              <a:custGeom>
                <a:avLst/>
                <a:gdLst>
                  <a:gd name="connsiteX0" fmla="*/ 256447 w 258269"/>
                  <a:gd name="connsiteY0" fmla="*/ 81327 h 413676"/>
                  <a:gd name="connsiteX1" fmla="*/ 238882 w 258269"/>
                  <a:gd name="connsiteY1" fmla="*/ 84844 h 413676"/>
                  <a:gd name="connsiteX2" fmla="*/ 191457 w 258269"/>
                  <a:gd name="connsiteY2" fmla="*/ 157820 h 413676"/>
                  <a:gd name="connsiteX3" fmla="*/ 238882 w 258269"/>
                  <a:gd name="connsiteY3" fmla="*/ 36486 h 413676"/>
                  <a:gd name="connsiteX4" fmla="*/ 218683 w 258269"/>
                  <a:gd name="connsiteY4" fmla="*/ 44399 h 413676"/>
                  <a:gd name="connsiteX5" fmla="*/ 172136 w 258269"/>
                  <a:gd name="connsiteY5" fmla="*/ 122651 h 413676"/>
                  <a:gd name="connsiteX6" fmla="*/ 209900 w 258269"/>
                  <a:gd name="connsiteY6" fmla="*/ 4834 h 413676"/>
                  <a:gd name="connsiteX7" fmla="*/ 182674 w 258269"/>
                  <a:gd name="connsiteY7" fmla="*/ 23298 h 413676"/>
                  <a:gd name="connsiteX8" fmla="*/ 144032 w 258269"/>
                  <a:gd name="connsiteY8" fmla="*/ 103308 h 413676"/>
                  <a:gd name="connsiteX9" fmla="*/ 163353 w 258269"/>
                  <a:gd name="connsiteY9" fmla="*/ 16264 h 413676"/>
                  <a:gd name="connsiteX10" fmla="*/ 144032 w 258269"/>
                  <a:gd name="connsiteY10" fmla="*/ 8351 h 413676"/>
                  <a:gd name="connsiteX11" fmla="*/ 109780 w 258269"/>
                  <a:gd name="connsiteY11" fmla="*/ 111221 h 413676"/>
                  <a:gd name="connsiteX12" fmla="*/ 75529 w 258269"/>
                  <a:gd name="connsiteY12" fmla="*/ 154303 h 413676"/>
                  <a:gd name="connsiteX13" fmla="*/ 43912 w 258269"/>
                  <a:gd name="connsiteY13" fmla="*/ 130564 h 413676"/>
                  <a:gd name="connsiteX14" fmla="*/ 43912 w 258269"/>
                  <a:gd name="connsiteY14" fmla="*/ 130564 h 413676"/>
                  <a:gd name="connsiteX15" fmla="*/ 0 w 258269"/>
                  <a:gd name="connsiteY15" fmla="*/ 120013 h 413676"/>
                  <a:gd name="connsiteX16" fmla="*/ 19321 w 258269"/>
                  <a:gd name="connsiteY16" fmla="*/ 150786 h 413676"/>
                  <a:gd name="connsiteX17" fmla="*/ 38643 w 258269"/>
                  <a:gd name="connsiteY17" fmla="*/ 207057 h 413676"/>
                  <a:gd name="connsiteX18" fmla="*/ 50938 w 258269"/>
                  <a:gd name="connsiteY18" fmla="*/ 236072 h 413676"/>
                  <a:gd name="connsiteX19" fmla="*/ 57964 w 258269"/>
                  <a:gd name="connsiteY19" fmla="*/ 261569 h 413676"/>
                  <a:gd name="connsiteX20" fmla="*/ 35130 w 258269"/>
                  <a:gd name="connsiteY20" fmla="*/ 355647 h 413676"/>
                  <a:gd name="connsiteX21" fmla="*/ 136128 w 258269"/>
                  <a:gd name="connsiteY21" fmla="*/ 413676 h 413676"/>
                  <a:gd name="connsiteX22" fmla="*/ 136128 w 258269"/>
                  <a:gd name="connsiteY22" fmla="*/ 286188 h 413676"/>
                  <a:gd name="connsiteX23" fmla="*/ 210778 w 258269"/>
                  <a:gd name="connsiteY23" fmla="*/ 180680 h 413676"/>
                  <a:gd name="connsiteX24" fmla="*/ 257325 w 258269"/>
                  <a:gd name="connsiteY24" fmla="*/ 80448 h 413676"/>
                  <a:gd name="connsiteX25" fmla="*/ 256447 w 258269"/>
                  <a:gd name="connsiteY25" fmla="*/ 80448 h 413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58269" h="413676">
                    <a:moveTo>
                      <a:pt x="256447" y="81327"/>
                    </a:moveTo>
                    <a:cubicBezTo>
                      <a:pt x="248543" y="66380"/>
                      <a:pt x="238882" y="84844"/>
                      <a:pt x="238882" y="84844"/>
                    </a:cubicBezTo>
                    <a:lnTo>
                      <a:pt x="191457" y="157820"/>
                    </a:lnTo>
                    <a:cubicBezTo>
                      <a:pt x="191457" y="157820"/>
                      <a:pt x="245030" y="69018"/>
                      <a:pt x="238882" y="36486"/>
                    </a:cubicBezTo>
                    <a:cubicBezTo>
                      <a:pt x="238882" y="36486"/>
                      <a:pt x="228343" y="17143"/>
                      <a:pt x="218683" y="44399"/>
                    </a:cubicBezTo>
                    <a:cubicBezTo>
                      <a:pt x="209022" y="71655"/>
                      <a:pt x="172136" y="122651"/>
                      <a:pt x="172136" y="122651"/>
                    </a:cubicBezTo>
                    <a:cubicBezTo>
                      <a:pt x="172136" y="122651"/>
                      <a:pt x="222195" y="23298"/>
                      <a:pt x="209900" y="4834"/>
                    </a:cubicBezTo>
                    <a:cubicBezTo>
                      <a:pt x="197605" y="-12751"/>
                      <a:pt x="182674" y="23298"/>
                      <a:pt x="182674" y="23298"/>
                    </a:cubicBezTo>
                    <a:lnTo>
                      <a:pt x="144032" y="103308"/>
                    </a:lnTo>
                    <a:cubicBezTo>
                      <a:pt x="144032" y="103308"/>
                      <a:pt x="168623" y="32969"/>
                      <a:pt x="163353" y="16264"/>
                    </a:cubicBezTo>
                    <a:cubicBezTo>
                      <a:pt x="158084" y="-1321"/>
                      <a:pt x="148423" y="-2200"/>
                      <a:pt x="144032" y="8351"/>
                    </a:cubicBezTo>
                    <a:cubicBezTo>
                      <a:pt x="140519" y="18902"/>
                      <a:pt x="119441" y="100670"/>
                      <a:pt x="109780" y="111221"/>
                    </a:cubicBezTo>
                    <a:cubicBezTo>
                      <a:pt x="105389" y="115617"/>
                      <a:pt x="81676" y="145511"/>
                      <a:pt x="75529" y="154303"/>
                    </a:cubicBezTo>
                    <a:cubicBezTo>
                      <a:pt x="66747" y="168371"/>
                      <a:pt x="54451" y="152545"/>
                      <a:pt x="43912" y="130564"/>
                    </a:cubicBezTo>
                    <a:lnTo>
                      <a:pt x="43912" y="130564"/>
                    </a:lnTo>
                    <a:cubicBezTo>
                      <a:pt x="30738" y="97153"/>
                      <a:pt x="879" y="107704"/>
                      <a:pt x="0" y="120013"/>
                    </a:cubicBezTo>
                    <a:cubicBezTo>
                      <a:pt x="0" y="128805"/>
                      <a:pt x="14052" y="143752"/>
                      <a:pt x="19321" y="150786"/>
                    </a:cubicBezTo>
                    <a:cubicBezTo>
                      <a:pt x="24591" y="156941"/>
                      <a:pt x="36886" y="200023"/>
                      <a:pt x="38643" y="207057"/>
                    </a:cubicBezTo>
                    <a:cubicBezTo>
                      <a:pt x="41278" y="222004"/>
                      <a:pt x="46547" y="227279"/>
                      <a:pt x="50938" y="236072"/>
                    </a:cubicBezTo>
                    <a:cubicBezTo>
                      <a:pt x="50938" y="238709"/>
                      <a:pt x="57964" y="259811"/>
                      <a:pt x="57964" y="261569"/>
                    </a:cubicBezTo>
                    <a:lnTo>
                      <a:pt x="35130" y="355647"/>
                    </a:lnTo>
                    <a:lnTo>
                      <a:pt x="136128" y="413676"/>
                    </a:lnTo>
                    <a:lnTo>
                      <a:pt x="136128" y="286188"/>
                    </a:lnTo>
                    <a:lnTo>
                      <a:pt x="210778" y="180680"/>
                    </a:lnTo>
                    <a:cubicBezTo>
                      <a:pt x="210778" y="180680"/>
                      <a:pt x="266107" y="95395"/>
                      <a:pt x="257325" y="80448"/>
                    </a:cubicBezTo>
                    <a:lnTo>
                      <a:pt x="256447" y="80448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9054F0C3-7A77-5B8D-4E55-E2529CDDF0F0}"/>
                  </a:ext>
                </a:extLst>
              </p:cNvPr>
              <p:cNvSpPr/>
              <p:nvPr/>
            </p:nvSpPr>
            <p:spPr>
              <a:xfrm>
                <a:off x="-7375516" y="5388583"/>
                <a:ext cx="206500" cy="450095"/>
              </a:xfrm>
              <a:custGeom>
                <a:avLst/>
                <a:gdLst>
                  <a:gd name="connsiteX0" fmla="*/ 206500 w 206500"/>
                  <a:gd name="connsiteY0" fmla="*/ 391467 h 450095"/>
                  <a:gd name="connsiteX1" fmla="*/ 189814 w 206500"/>
                  <a:gd name="connsiteY1" fmla="*/ 292114 h 450095"/>
                  <a:gd name="connsiteX2" fmla="*/ 173127 w 206500"/>
                  <a:gd name="connsiteY2" fmla="*/ 176056 h 450095"/>
                  <a:gd name="connsiteX3" fmla="*/ 167858 w 206500"/>
                  <a:gd name="connsiteY3" fmla="*/ 18674 h 450095"/>
                  <a:gd name="connsiteX4" fmla="*/ 28217 w 206500"/>
                  <a:gd name="connsiteY4" fmla="*/ 25707 h 450095"/>
                  <a:gd name="connsiteX5" fmla="*/ 35243 w 206500"/>
                  <a:gd name="connsiteY5" fmla="*/ 126819 h 450095"/>
                  <a:gd name="connsiteX6" fmla="*/ 10652 w 206500"/>
                  <a:gd name="connsiteY6" fmla="*/ 284201 h 450095"/>
                  <a:gd name="connsiteX7" fmla="*/ 10652 w 206500"/>
                  <a:gd name="connsiteY7" fmla="*/ 407293 h 450095"/>
                  <a:gd name="connsiteX8" fmla="*/ 174006 w 206500"/>
                  <a:gd name="connsiteY8" fmla="*/ 438066 h 450095"/>
                  <a:gd name="connsiteX9" fmla="*/ 206500 w 206500"/>
                  <a:gd name="connsiteY9" fmla="*/ 391467 h 450095"/>
                  <a:gd name="connsiteX10" fmla="*/ 206500 w 206500"/>
                  <a:gd name="connsiteY10" fmla="*/ 391467 h 450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6500" h="450095">
                    <a:moveTo>
                      <a:pt x="206500" y="391467"/>
                    </a:moveTo>
                    <a:cubicBezTo>
                      <a:pt x="206500" y="349264"/>
                      <a:pt x="189814" y="292114"/>
                      <a:pt x="189814" y="292114"/>
                    </a:cubicBezTo>
                    <a:cubicBezTo>
                      <a:pt x="189814" y="270134"/>
                      <a:pt x="173127" y="176056"/>
                      <a:pt x="173127" y="176056"/>
                    </a:cubicBezTo>
                    <a:lnTo>
                      <a:pt x="167858" y="18674"/>
                    </a:lnTo>
                    <a:cubicBezTo>
                      <a:pt x="138876" y="-7703"/>
                      <a:pt x="49295" y="-6824"/>
                      <a:pt x="28217" y="25707"/>
                    </a:cubicBezTo>
                    <a:cubicBezTo>
                      <a:pt x="18557" y="40654"/>
                      <a:pt x="35243" y="126819"/>
                      <a:pt x="35243" y="126819"/>
                    </a:cubicBezTo>
                    <a:cubicBezTo>
                      <a:pt x="35243" y="126819"/>
                      <a:pt x="15922" y="234964"/>
                      <a:pt x="10652" y="284201"/>
                    </a:cubicBezTo>
                    <a:cubicBezTo>
                      <a:pt x="5383" y="334317"/>
                      <a:pt x="-10425" y="343110"/>
                      <a:pt x="10652" y="407293"/>
                    </a:cubicBezTo>
                    <a:cubicBezTo>
                      <a:pt x="31730" y="471477"/>
                      <a:pt x="160832" y="446859"/>
                      <a:pt x="174006" y="438066"/>
                    </a:cubicBezTo>
                    <a:cubicBezTo>
                      <a:pt x="189814" y="428395"/>
                      <a:pt x="206500" y="416965"/>
                      <a:pt x="206500" y="391467"/>
                    </a:cubicBezTo>
                    <a:lnTo>
                      <a:pt x="206500" y="3914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1579C032-5F0E-950E-930E-51AFE6D327FE}"/>
                  </a:ext>
                </a:extLst>
              </p:cNvPr>
              <p:cNvSpPr/>
              <p:nvPr/>
            </p:nvSpPr>
            <p:spPr>
              <a:xfrm>
                <a:off x="-7588816" y="2618337"/>
                <a:ext cx="69381" cy="130126"/>
              </a:xfrm>
              <a:custGeom>
                <a:avLst/>
                <a:gdLst>
                  <a:gd name="connsiteX0" fmla="*/ 879 w 69381"/>
                  <a:gd name="connsiteY0" fmla="*/ 65063 h 130126"/>
                  <a:gd name="connsiteX1" fmla="*/ 35130 w 69381"/>
                  <a:gd name="connsiteY1" fmla="*/ 130126 h 130126"/>
                  <a:gd name="connsiteX2" fmla="*/ 69381 w 69381"/>
                  <a:gd name="connsiteY2" fmla="*/ 65063 h 130126"/>
                  <a:gd name="connsiteX3" fmla="*/ 66747 w 69381"/>
                  <a:gd name="connsiteY3" fmla="*/ 41324 h 130126"/>
                  <a:gd name="connsiteX4" fmla="*/ 57964 w 69381"/>
                  <a:gd name="connsiteY4" fmla="*/ 17585 h 130126"/>
                  <a:gd name="connsiteX5" fmla="*/ 34252 w 69381"/>
                  <a:gd name="connsiteY5" fmla="*/ 0 h 130126"/>
                  <a:gd name="connsiteX6" fmla="*/ 2635 w 69381"/>
                  <a:gd name="connsiteY6" fmla="*/ 38686 h 130126"/>
                  <a:gd name="connsiteX7" fmla="*/ 0 w 69381"/>
                  <a:gd name="connsiteY7" fmla="*/ 53633 h 130126"/>
                  <a:gd name="connsiteX8" fmla="*/ 0 w 69381"/>
                  <a:gd name="connsiteY8" fmla="*/ 64184 h 130126"/>
                  <a:gd name="connsiteX9" fmla="*/ 0 w 69381"/>
                  <a:gd name="connsiteY9" fmla="*/ 64184 h 130126"/>
                  <a:gd name="connsiteX10" fmla="*/ 23713 w 69381"/>
                  <a:gd name="connsiteY10" fmla="*/ 50995 h 130126"/>
                  <a:gd name="connsiteX11" fmla="*/ 23713 w 69381"/>
                  <a:gd name="connsiteY11" fmla="*/ 37807 h 130126"/>
                  <a:gd name="connsiteX12" fmla="*/ 34252 w 69381"/>
                  <a:gd name="connsiteY12" fmla="*/ 14947 h 130126"/>
                  <a:gd name="connsiteX13" fmla="*/ 42156 w 69381"/>
                  <a:gd name="connsiteY13" fmla="*/ 25498 h 130126"/>
                  <a:gd name="connsiteX14" fmla="*/ 45669 w 69381"/>
                  <a:gd name="connsiteY14" fmla="*/ 44841 h 130126"/>
                  <a:gd name="connsiteX15" fmla="*/ 45669 w 69381"/>
                  <a:gd name="connsiteY15" fmla="*/ 50995 h 130126"/>
                  <a:gd name="connsiteX16" fmla="*/ 34252 w 69381"/>
                  <a:gd name="connsiteY16" fmla="*/ 86165 h 130126"/>
                  <a:gd name="connsiteX17" fmla="*/ 22835 w 69381"/>
                  <a:gd name="connsiteY17" fmla="*/ 51875 h 130126"/>
                  <a:gd name="connsiteX18" fmla="*/ 22835 w 69381"/>
                  <a:gd name="connsiteY18" fmla="*/ 51875 h 130126"/>
                  <a:gd name="connsiteX19" fmla="*/ 22835 w 69381"/>
                  <a:gd name="connsiteY19" fmla="*/ 51875 h 130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9381" h="130126">
                    <a:moveTo>
                      <a:pt x="879" y="65063"/>
                    </a:moveTo>
                    <a:cubicBezTo>
                      <a:pt x="879" y="101112"/>
                      <a:pt x="15808" y="130126"/>
                      <a:pt x="35130" y="130126"/>
                    </a:cubicBezTo>
                    <a:cubicBezTo>
                      <a:pt x="54451" y="130126"/>
                      <a:pt x="69381" y="101112"/>
                      <a:pt x="69381" y="65063"/>
                    </a:cubicBezTo>
                    <a:cubicBezTo>
                      <a:pt x="69381" y="29015"/>
                      <a:pt x="69381" y="49237"/>
                      <a:pt x="66747" y="41324"/>
                    </a:cubicBezTo>
                    <a:cubicBezTo>
                      <a:pt x="64990" y="32532"/>
                      <a:pt x="62356" y="24618"/>
                      <a:pt x="57964" y="17585"/>
                    </a:cubicBezTo>
                    <a:cubicBezTo>
                      <a:pt x="51817" y="7034"/>
                      <a:pt x="43912" y="0"/>
                      <a:pt x="34252" y="0"/>
                    </a:cubicBezTo>
                    <a:cubicBezTo>
                      <a:pt x="20199" y="0"/>
                      <a:pt x="7904" y="15826"/>
                      <a:pt x="2635" y="38686"/>
                    </a:cubicBezTo>
                    <a:cubicBezTo>
                      <a:pt x="2635" y="43082"/>
                      <a:pt x="879" y="48358"/>
                      <a:pt x="0" y="53633"/>
                    </a:cubicBezTo>
                    <a:lnTo>
                      <a:pt x="0" y="64184"/>
                    </a:lnTo>
                    <a:lnTo>
                      <a:pt x="0" y="64184"/>
                    </a:lnTo>
                    <a:close/>
                    <a:moveTo>
                      <a:pt x="23713" y="50995"/>
                    </a:moveTo>
                    <a:lnTo>
                      <a:pt x="23713" y="37807"/>
                    </a:lnTo>
                    <a:cubicBezTo>
                      <a:pt x="25469" y="24618"/>
                      <a:pt x="29860" y="14947"/>
                      <a:pt x="34252" y="14947"/>
                    </a:cubicBezTo>
                    <a:cubicBezTo>
                      <a:pt x="38643" y="14947"/>
                      <a:pt x="40399" y="19343"/>
                      <a:pt x="42156" y="25498"/>
                    </a:cubicBezTo>
                    <a:cubicBezTo>
                      <a:pt x="43912" y="30773"/>
                      <a:pt x="44791" y="36928"/>
                      <a:pt x="45669" y="44841"/>
                    </a:cubicBezTo>
                    <a:lnTo>
                      <a:pt x="45669" y="50995"/>
                    </a:lnTo>
                    <a:cubicBezTo>
                      <a:pt x="45669" y="70338"/>
                      <a:pt x="40399" y="86165"/>
                      <a:pt x="34252" y="86165"/>
                    </a:cubicBezTo>
                    <a:cubicBezTo>
                      <a:pt x="28104" y="86165"/>
                      <a:pt x="22835" y="71218"/>
                      <a:pt x="22835" y="51875"/>
                    </a:cubicBezTo>
                    <a:lnTo>
                      <a:pt x="22835" y="51875"/>
                    </a:lnTo>
                    <a:cubicBezTo>
                      <a:pt x="22835" y="51875"/>
                      <a:pt x="22835" y="51875"/>
                      <a:pt x="22835" y="51875"/>
                    </a:cubicBezTo>
                    <a:close/>
                  </a:path>
                </a:pathLst>
              </a:custGeom>
              <a:solidFill>
                <a:srgbClr val="FA69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CE9B141B-8BBA-3BCA-AF84-26874AF925A7}"/>
                  </a:ext>
                </a:extLst>
              </p:cNvPr>
              <p:cNvSpPr/>
              <p:nvPr/>
            </p:nvSpPr>
            <p:spPr>
              <a:xfrm>
                <a:off x="-7815402" y="2831111"/>
                <a:ext cx="555562" cy="763172"/>
              </a:xfrm>
              <a:custGeom>
                <a:avLst/>
                <a:gdLst>
                  <a:gd name="connsiteX0" fmla="*/ 410139 w 555562"/>
                  <a:gd name="connsiteY0" fmla="*/ 879 h 763172"/>
                  <a:gd name="connsiteX1" fmla="*/ 137884 w 555562"/>
                  <a:gd name="connsiteY1" fmla="*/ 22860 h 763172"/>
                  <a:gd name="connsiteX2" fmla="*/ 118563 w 555562"/>
                  <a:gd name="connsiteY2" fmla="*/ 87044 h 763172"/>
                  <a:gd name="connsiteX3" fmla="*/ 0 w 555562"/>
                  <a:gd name="connsiteY3" fmla="*/ 750863 h 763172"/>
                  <a:gd name="connsiteX4" fmla="*/ 33373 w 555562"/>
                  <a:gd name="connsiteY4" fmla="*/ 763172 h 763172"/>
                  <a:gd name="connsiteX5" fmla="*/ 186188 w 555562"/>
                  <a:gd name="connsiteY5" fmla="*/ 730641 h 763172"/>
                  <a:gd name="connsiteX6" fmla="*/ 555049 w 555562"/>
                  <a:gd name="connsiteY6" fmla="*/ 684041 h 763172"/>
                  <a:gd name="connsiteX7" fmla="*/ 410139 w 555562"/>
                  <a:gd name="connsiteY7" fmla="*/ 0 h 763172"/>
                  <a:gd name="connsiteX8" fmla="*/ 410139 w 555562"/>
                  <a:gd name="connsiteY8" fmla="*/ 0 h 763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5562" h="763172">
                    <a:moveTo>
                      <a:pt x="410139" y="879"/>
                    </a:moveTo>
                    <a:cubicBezTo>
                      <a:pt x="268742" y="109025"/>
                      <a:pt x="137884" y="22860"/>
                      <a:pt x="137884" y="22860"/>
                    </a:cubicBezTo>
                    <a:lnTo>
                      <a:pt x="118563" y="87044"/>
                    </a:lnTo>
                    <a:cubicBezTo>
                      <a:pt x="112415" y="118696"/>
                      <a:pt x="8782" y="708660"/>
                      <a:pt x="0" y="750863"/>
                    </a:cubicBezTo>
                    <a:cubicBezTo>
                      <a:pt x="7026" y="757897"/>
                      <a:pt x="19321" y="762293"/>
                      <a:pt x="33373" y="763172"/>
                    </a:cubicBezTo>
                    <a:cubicBezTo>
                      <a:pt x="104511" y="759655"/>
                      <a:pt x="138762" y="751742"/>
                      <a:pt x="186188" y="730641"/>
                    </a:cubicBezTo>
                    <a:cubicBezTo>
                      <a:pt x="320559" y="673491"/>
                      <a:pt x="555049" y="684041"/>
                      <a:pt x="555049" y="684041"/>
                    </a:cubicBezTo>
                    <a:cubicBezTo>
                      <a:pt x="565588" y="366639"/>
                      <a:pt x="410139" y="0"/>
                      <a:pt x="410139" y="0"/>
                    </a:cubicBezTo>
                    <a:lnTo>
                      <a:pt x="410139" y="0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02A6940E-F248-4551-56BC-D36172F31A94}"/>
                  </a:ext>
                </a:extLst>
              </p:cNvPr>
              <p:cNvSpPr/>
              <p:nvPr/>
            </p:nvSpPr>
            <p:spPr>
              <a:xfrm>
                <a:off x="-7418436" y="2824077"/>
                <a:ext cx="710497" cy="1381271"/>
              </a:xfrm>
              <a:custGeom>
                <a:avLst/>
                <a:gdLst>
                  <a:gd name="connsiteX0" fmla="*/ 620918 w 710497"/>
                  <a:gd name="connsiteY0" fmla="*/ 236513 h 1381271"/>
                  <a:gd name="connsiteX1" fmla="*/ 519920 w 710497"/>
                  <a:gd name="connsiteY1" fmla="*/ 178484 h 1381271"/>
                  <a:gd name="connsiteX2" fmla="*/ 513772 w 710497"/>
                  <a:gd name="connsiteY2" fmla="*/ 174967 h 1381271"/>
                  <a:gd name="connsiteX3" fmla="*/ 456686 w 710497"/>
                  <a:gd name="connsiteY3" fmla="*/ 315644 h 1381271"/>
                  <a:gd name="connsiteX4" fmla="*/ 228343 w 710497"/>
                  <a:gd name="connsiteY4" fmla="*/ 68580 h 1381271"/>
                  <a:gd name="connsiteX5" fmla="*/ 0 w 710497"/>
                  <a:gd name="connsiteY5" fmla="*/ 0 h 1381271"/>
                  <a:gd name="connsiteX6" fmla="*/ 79920 w 710497"/>
                  <a:gd name="connsiteY6" fmla="*/ 243547 h 1381271"/>
                  <a:gd name="connsiteX7" fmla="*/ 142275 w 710497"/>
                  <a:gd name="connsiteY7" fmla="*/ 617220 h 1381271"/>
                  <a:gd name="connsiteX8" fmla="*/ 142275 w 710497"/>
                  <a:gd name="connsiteY8" fmla="*/ 691955 h 1381271"/>
                  <a:gd name="connsiteX9" fmla="*/ 212535 w 710497"/>
                  <a:gd name="connsiteY9" fmla="*/ 1381271 h 1381271"/>
                  <a:gd name="connsiteX10" fmla="*/ 387305 w 710497"/>
                  <a:gd name="connsiteY10" fmla="*/ 1381271 h 1381271"/>
                  <a:gd name="connsiteX11" fmla="*/ 341636 w 710497"/>
                  <a:gd name="connsiteY11" fmla="*/ 711298 h 1381271"/>
                  <a:gd name="connsiteX12" fmla="*/ 310020 w 710497"/>
                  <a:gd name="connsiteY12" fmla="*/ 519625 h 1381271"/>
                  <a:gd name="connsiteX13" fmla="*/ 310020 w 710497"/>
                  <a:gd name="connsiteY13" fmla="*/ 521384 h 1381271"/>
                  <a:gd name="connsiteX14" fmla="*/ 519920 w 710497"/>
                  <a:gd name="connsiteY14" fmla="*/ 616341 h 1381271"/>
                  <a:gd name="connsiteX15" fmla="*/ 630578 w 710497"/>
                  <a:gd name="connsiteY15" fmla="*/ 559191 h 1381271"/>
                  <a:gd name="connsiteX16" fmla="*/ 710498 w 710497"/>
                  <a:gd name="connsiteY16" fmla="*/ 289267 h 1381271"/>
                  <a:gd name="connsiteX17" fmla="*/ 620039 w 710497"/>
                  <a:gd name="connsiteY17" fmla="*/ 237392 h 1381271"/>
                  <a:gd name="connsiteX18" fmla="*/ 620918 w 710497"/>
                  <a:gd name="connsiteY18" fmla="*/ 237392 h 1381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10497" h="1381271">
                    <a:moveTo>
                      <a:pt x="620918" y="236513"/>
                    </a:moveTo>
                    <a:lnTo>
                      <a:pt x="519920" y="178484"/>
                    </a:lnTo>
                    <a:lnTo>
                      <a:pt x="513772" y="174967"/>
                    </a:lnTo>
                    <a:lnTo>
                      <a:pt x="456686" y="315644"/>
                    </a:lnTo>
                    <a:cubicBezTo>
                      <a:pt x="456686" y="315644"/>
                      <a:pt x="285429" y="102870"/>
                      <a:pt x="228343" y="68580"/>
                    </a:cubicBezTo>
                    <a:cubicBezTo>
                      <a:pt x="171257" y="34290"/>
                      <a:pt x="0" y="0"/>
                      <a:pt x="0" y="0"/>
                    </a:cubicBezTo>
                    <a:lnTo>
                      <a:pt x="79920" y="243547"/>
                    </a:lnTo>
                    <a:cubicBezTo>
                      <a:pt x="79920" y="243547"/>
                      <a:pt x="138762" y="350813"/>
                      <a:pt x="142275" y="617220"/>
                    </a:cubicBezTo>
                    <a:lnTo>
                      <a:pt x="142275" y="691955"/>
                    </a:lnTo>
                    <a:cubicBezTo>
                      <a:pt x="145788" y="958361"/>
                      <a:pt x="212535" y="1381271"/>
                      <a:pt x="212535" y="1381271"/>
                    </a:cubicBezTo>
                    <a:lnTo>
                      <a:pt x="387305" y="1381271"/>
                    </a:lnTo>
                    <a:cubicBezTo>
                      <a:pt x="387305" y="1381271"/>
                      <a:pt x="349540" y="779878"/>
                      <a:pt x="341636" y="711298"/>
                    </a:cubicBezTo>
                    <a:cubicBezTo>
                      <a:pt x="337245" y="675249"/>
                      <a:pt x="323193" y="590843"/>
                      <a:pt x="310020" y="519625"/>
                    </a:cubicBezTo>
                    <a:lnTo>
                      <a:pt x="310020" y="521384"/>
                    </a:lnTo>
                    <a:cubicBezTo>
                      <a:pt x="310020" y="521384"/>
                      <a:pt x="459321" y="612824"/>
                      <a:pt x="519920" y="616341"/>
                    </a:cubicBezTo>
                    <a:cubicBezTo>
                      <a:pt x="580518" y="619858"/>
                      <a:pt x="630578" y="559191"/>
                      <a:pt x="630578" y="559191"/>
                    </a:cubicBezTo>
                    <a:lnTo>
                      <a:pt x="710498" y="289267"/>
                    </a:lnTo>
                    <a:lnTo>
                      <a:pt x="620039" y="237392"/>
                    </a:lnTo>
                    <a:lnTo>
                      <a:pt x="620918" y="237392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A61FB3AA-8EA0-8E21-2A3B-11147C567199}"/>
                  </a:ext>
                </a:extLst>
              </p:cNvPr>
              <p:cNvSpPr/>
              <p:nvPr/>
            </p:nvSpPr>
            <p:spPr>
              <a:xfrm>
                <a:off x="-8201469" y="2846058"/>
                <a:ext cx="533611" cy="1359290"/>
              </a:xfrm>
              <a:custGeom>
                <a:avLst/>
                <a:gdLst>
                  <a:gd name="connsiteX0" fmla="*/ 521316 w 533611"/>
                  <a:gd name="connsiteY0" fmla="*/ 0 h 1359290"/>
                  <a:gd name="connsiteX1" fmla="*/ 258721 w 533611"/>
                  <a:gd name="connsiteY1" fmla="*/ 133643 h 1359290"/>
                  <a:gd name="connsiteX2" fmla="*/ 518 w 533611"/>
                  <a:gd name="connsiteY2" fmla="*/ 749984 h 1359290"/>
                  <a:gd name="connsiteX3" fmla="*/ 256087 w 533611"/>
                  <a:gd name="connsiteY3" fmla="*/ 993531 h 1359290"/>
                  <a:gd name="connsiteX4" fmla="*/ 216566 w 533611"/>
                  <a:gd name="connsiteY4" fmla="*/ 1317088 h 1359290"/>
                  <a:gd name="connsiteX5" fmla="*/ 216566 w 533611"/>
                  <a:gd name="connsiteY5" fmla="*/ 1359291 h 1359290"/>
                  <a:gd name="connsiteX6" fmla="*/ 350937 w 533611"/>
                  <a:gd name="connsiteY6" fmla="*/ 1355774 h 1359290"/>
                  <a:gd name="connsiteX7" fmla="*/ 533611 w 533611"/>
                  <a:gd name="connsiteY7" fmla="*/ 192551 h 1359290"/>
                  <a:gd name="connsiteX8" fmla="*/ 520438 w 533611"/>
                  <a:gd name="connsiteY8" fmla="*/ 879 h 1359290"/>
                  <a:gd name="connsiteX9" fmla="*/ 521316 w 533611"/>
                  <a:gd name="connsiteY9" fmla="*/ 879 h 1359290"/>
                  <a:gd name="connsiteX10" fmla="*/ 255208 w 533611"/>
                  <a:gd name="connsiteY10" fmla="*/ 669974 h 1359290"/>
                  <a:gd name="connsiteX11" fmla="*/ 305268 w 533611"/>
                  <a:gd name="connsiteY11" fmla="*/ 585568 h 1359290"/>
                  <a:gd name="connsiteX12" fmla="*/ 291216 w 533611"/>
                  <a:gd name="connsiteY12" fmla="*/ 698988 h 1359290"/>
                  <a:gd name="connsiteX13" fmla="*/ 254330 w 533611"/>
                  <a:gd name="connsiteY13" fmla="*/ 669974 h 1359290"/>
                  <a:gd name="connsiteX14" fmla="*/ 254330 w 533611"/>
                  <a:gd name="connsiteY14" fmla="*/ 669974 h 135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611" h="1359290">
                    <a:moveTo>
                      <a:pt x="521316" y="0"/>
                    </a:moveTo>
                    <a:cubicBezTo>
                      <a:pt x="521316" y="0"/>
                      <a:pt x="327224" y="60667"/>
                      <a:pt x="258721" y="133643"/>
                    </a:cubicBezTo>
                    <a:cubicBezTo>
                      <a:pt x="190219" y="205740"/>
                      <a:pt x="16327" y="633046"/>
                      <a:pt x="518" y="749984"/>
                    </a:cubicBezTo>
                    <a:cubicBezTo>
                      <a:pt x="-13534" y="854612"/>
                      <a:pt x="263113" y="997048"/>
                      <a:pt x="256087" y="993531"/>
                    </a:cubicBezTo>
                    <a:lnTo>
                      <a:pt x="216566" y="1317088"/>
                    </a:lnTo>
                    <a:lnTo>
                      <a:pt x="216566" y="1359291"/>
                    </a:lnTo>
                    <a:lnTo>
                      <a:pt x="350937" y="1355774"/>
                    </a:lnTo>
                    <a:cubicBezTo>
                      <a:pt x="350937" y="1355774"/>
                      <a:pt x="532733" y="281354"/>
                      <a:pt x="533611" y="192551"/>
                    </a:cubicBezTo>
                    <a:cubicBezTo>
                      <a:pt x="533611" y="82648"/>
                      <a:pt x="520438" y="879"/>
                      <a:pt x="520438" y="879"/>
                    </a:cubicBezTo>
                    <a:lnTo>
                      <a:pt x="521316" y="879"/>
                    </a:lnTo>
                    <a:close/>
                    <a:moveTo>
                      <a:pt x="255208" y="669974"/>
                    </a:moveTo>
                    <a:lnTo>
                      <a:pt x="305268" y="585568"/>
                    </a:lnTo>
                    <a:lnTo>
                      <a:pt x="291216" y="698988"/>
                    </a:lnTo>
                    <a:lnTo>
                      <a:pt x="254330" y="669974"/>
                    </a:lnTo>
                    <a:lnTo>
                      <a:pt x="254330" y="669974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32DCFB66-F274-BFF9-847B-49368EB3EE17}"/>
                  </a:ext>
                </a:extLst>
              </p:cNvPr>
              <p:cNvSpPr/>
              <p:nvPr/>
            </p:nvSpPr>
            <p:spPr>
              <a:xfrm>
                <a:off x="-7863705" y="3677810"/>
                <a:ext cx="140518" cy="184638"/>
              </a:xfrm>
              <a:custGeom>
                <a:avLst/>
                <a:gdLst>
                  <a:gd name="connsiteX0" fmla="*/ 37764 w 140518"/>
                  <a:gd name="connsiteY0" fmla="*/ 0 h 184638"/>
                  <a:gd name="connsiteX1" fmla="*/ 0 w 140518"/>
                  <a:gd name="connsiteY1" fmla="*/ 119575 h 184638"/>
                  <a:gd name="connsiteX2" fmla="*/ 53573 w 140518"/>
                  <a:gd name="connsiteY2" fmla="*/ 121334 h 184638"/>
                  <a:gd name="connsiteX3" fmla="*/ 69381 w 140518"/>
                  <a:gd name="connsiteY3" fmla="*/ 154745 h 184638"/>
                  <a:gd name="connsiteX4" fmla="*/ 94850 w 140518"/>
                  <a:gd name="connsiteY4" fmla="*/ 184638 h 184638"/>
                  <a:gd name="connsiteX5" fmla="*/ 140519 w 140518"/>
                  <a:gd name="connsiteY5" fmla="*/ 34290 h 184638"/>
                  <a:gd name="connsiteX6" fmla="*/ 38643 w 140518"/>
                  <a:gd name="connsiteY6" fmla="*/ 0 h 184638"/>
                  <a:gd name="connsiteX7" fmla="*/ 37764 w 140518"/>
                  <a:gd name="connsiteY7" fmla="*/ 0 h 18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518" h="184638">
                    <a:moveTo>
                      <a:pt x="37764" y="0"/>
                    </a:moveTo>
                    <a:lnTo>
                      <a:pt x="0" y="119575"/>
                    </a:lnTo>
                    <a:cubicBezTo>
                      <a:pt x="0" y="119575"/>
                      <a:pt x="41278" y="117817"/>
                      <a:pt x="53573" y="121334"/>
                    </a:cubicBezTo>
                    <a:cubicBezTo>
                      <a:pt x="65868" y="124851"/>
                      <a:pt x="61477" y="141556"/>
                      <a:pt x="69381" y="154745"/>
                    </a:cubicBezTo>
                    <a:cubicBezTo>
                      <a:pt x="77285" y="167933"/>
                      <a:pt x="94850" y="184638"/>
                      <a:pt x="94850" y="184638"/>
                    </a:cubicBezTo>
                    <a:cubicBezTo>
                      <a:pt x="119441" y="133643"/>
                      <a:pt x="138762" y="83527"/>
                      <a:pt x="140519" y="34290"/>
                    </a:cubicBezTo>
                    <a:lnTo>
                      <a:pt x="38643" y="0"/>
                    </a:lnTo>
                    <a:lnTo>
                      <a:pt x="37764" y="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AD703AA5-0839-29F0-1504-E75CBC881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8345EAFA-102C-D2AD-EC6A-90DC51E36C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59195" y="12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0FD36DDE-527C-18FC-AEF0-0C1823379F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01187" y="1293765"/>
            <a:ext cx="4339949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EF7A19F7-1140-2152-D24D-3FDE4981A1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59195" y="21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4C5DFA58-F9F2-A427-5B4C-38D6E3D3F5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01187" y="2193765"/>
            <a:ext cx="4339949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1" name="Text Placeholder 19">
            <a:extLst>
              <a:ext uri="{FF2B5EF4-FFF2-40B4-BE49-F238E27FC236}">
                <a16:creationId xmlns:a16="http://schemas.microsoft.com/office/drawing/2014/main" id="{2197A31F-E09C-EBD7-C68B-1FE7303623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59195" y="30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2" name="Text Placeholder 21">
            <a:extLst>
              <a:ext uri="{FF2B5EF4-FFF2-40B4-BE49-F238E27FC236}">
                <a16:creationId xmlns:a16="http://schemas.microsoft.com/office/drawing/2014/main" id="{A88DA719-48BD-6500-83BD-1CFEECBC74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01187" y="3093765"/>
            <a:ext cx="4339950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3" name="Text Placeholder 19">
            <a:extLst>
              <a:ext uri="{FF2B5EF4-FFF2-40B4-BE49-F238E27FC236}">
                <a16:creationId xmlns:a16="http://schemas.microsoft.com/office/drawing/2014/main" id="{0BDBA34A-420E-FCDF-E993-43EAF953BD8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59195" y="39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4" name="Text Placeholder 21">
            <a:extLst>
              <a:ext uri="{FF2B5EF4-FFF2-40B4-BE49-F238E27FC236}">
                <a16:creationId xmlns:a16="http://schemas.microsoft.com/office/drawing/2014/main" id="{919D5AF6-FFD1-126E-C4F6-E0B953F67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01186" y="3993765"/>
            <a:ext cx="4339950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5" name="Text Placeholder 19">
            <a:extLst>
              <a:ext uri="{FF2B5EF4-FFF2-40B4-BE49-F238E27FC236}">
                <a16:creationId xmlns:a16="http://schemas.microsoft.com/office/drawing/2014/main" id="{EDCC8F9C-2AF0-4930-2017-BF0F9C6C34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59195" y="48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6" name="Text Placeholder 21">
            <a:extLst>
              <a:ext uri="{FF2B5EF4-FFF2-40B4-BE49-F238E27FC236}">
                <a16:creationId xmlns:a16="http://schemas.microsoft.com/office/drawing/2014/main" id="{D08BFB44-5E2A-3717-3700-1F0D2253A0A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01184" y="4893765"/>
            <a:ext cx="433995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7" name="Text Placeholder 19">
            <a:extLst>
              <a:ext uri="{FF2B5EF4-FFF2-40B4-BE49-F238E27FC236}">
                <a16:creationId xmlns:a16="http://schemas.microsoft.com/office/drawing/2014/main" id="{625F2E87-D4E2-D2D8-1815-24AE8598720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59195" y="57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8" name="Text Placeholder 21">
            <a:extLst>
              <a:ext uri="{FF2B5EF4-FFF2-40B4-BE49-F238E27FC236}">
                <a16:creationId xmlns:a16="http://schemas.microsoft.com/office/drawing/2014/main" id="{49A577CD-B7D4-FC7D-628A-1B32096538B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01184" y="5793765"/>
            <a:ext cx="433995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139779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7537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936B769-2E77-B65C-6A02-44673F9A11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03498" y="1589148"/>
            <a:ext cx="5743087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heading</a:t>
            </a:r>
            <a:br>
              <a:rPr lang="en-GB"/>
            </a:br>
            <a:r>
              <a:rPr lang="en-GB"/>
              <a:t>over two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38EA0-C645-0060-E956-90116B3D79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03498" y="3571605"/>
            <a:ext cx="5743087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F9D1396-7C6C-EAB6-3F89-AD4400337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3498" y="5679508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DD818CB-33E1-D091-0383-21957D1F17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03498" y="1589218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D228D44-AD11-2B7B-8B26-DAC64B1F6C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03498" y="4587469"/>
            <a:ext cx="5743087" cy="29887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FB39728-1EEF-562E-0605-7E73439D94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3498" y="4912604"/>
            <a:ext cx="5743087" cy="26151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7155137-FAA1-1713-95F7-18079B576E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BEB9A9F8-6368-CE14-907A-9B84B0A23F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-1994097" y="1994096"/>
            <a:ext cx="6858002" cy="286981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500E5C2-C023-DBAF-4ABE-9850B873993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5415" y="606830"/>
            <a:ext cx="4978044" cy="4978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037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5382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0A3D76-AB94-4F36-799C-B4A43450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8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A3D76-AB94-4F36-799C-B4A43450459F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3A9FBCB7-64C8-3334-37BD-F3B8A49DE9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12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5CE6E23-185E-6743-91C2-61D59594F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7282" y="1293765"/>
            <a:ext cx="1024385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923CF1CE-3D31-7F6E-DCDF-E2F32A2553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1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32ED8768-6538-2B1A-5362-29FACA673D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7282" y="2193765"/>
            <a:ext cx="1024385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C1E5DC26-4E6F-3BA6-58B6-F8B36941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30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26DE173D-E761-A333-0E17-81FA88BE0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7282" y="3093765"/>
            <a:ext cx="1024385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CDF225B3-43B7-A7EE-F801-EE1CFF559F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39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221CA5C7-1F08-8BBE-8775-34E8EE29D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7281" y="3993765"/>
            <a:ext cx="1024385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97DE4764-8675-CC7C-7D0D-87C75EAE0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48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F590146E-A290-D74E-2524-F9FEB48C32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97279" y="4893765"/>
            <a:ext cx="10243857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53B440B1-4AF1-02C4-D21D-AF9D0377BB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5" y="57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F425F257-B79D-5713-0549-ACA5273F15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97279" y="5793765"/>
            <a:ext cx="10243857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C1602382-22BB-1E2D-EC89-BC09E05B4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159E32D-5C8A-D3EB-196F-55944097E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grpSp>
        <p:nvGrpSpPr>
          <p:cNvPr id="12" name="Graphic 6">
            <a:extLst>
              <a:ext uri="{FF2B5EF4-FFF2-40B4-BE49-F238E27FC236}">
                <a16:creationId xmlns:a16="http://schemas.microsoft.com/office/drawing/2014/main" id="{B5CFCF9A-2780-ADBF-86CC-00E75F133F40}"/>
              </a:ext>
            </a:extLst>
          </p:cNvPr>
          <p:cNvGrpSpPr/>
          <p:nvPr/>
        </p:nvGrpSpPr>
        <p:grpSpPr>
          <a:xfrm>
            <a:off x="-12394315" y="2136257"/>
            <a:ext cx="2480746" cy="3669345"/>
            <a:chOff x="-12394315" y="2136257"/>
            <a:chExt cx="2480746" cy="3669345"/>
          </a:xfrm>
        </p:grpSpPr>
        <p:grpSp>
          <p:nvGrpSpPr>
            <p:cNvPr id="13" name="Graphic 6">
              <a:extLst>
                <a:ext uri="{FF2B5EF4-FFF2-40B4-BE49-F238E27FC236}">
                  <a16:creationId xmlns:a16="http://schemas.microsoft.com/office/drawing/2014/main" id="{C3EDF20E-631C-53E0-FA9E-F4170B5F24A9}"/>
                </a:ext>
              </a:extLst>
            </p:cNvPr>
            <p:cNvGrpSpPr/>
            <p:nvPr/>
          </p:nvGrpSpPr>
          <p:grpSpPr>
            <a:xfrm>
              <a:off x="-12394315" y="2136257"/>
              <a:ext cx="2480746" cy="3669345"/>
              <a:chOff x="-12394315" y="2136257"/>
              <a:chExt cx="2480746" cy="3669345"/>
            </a:xfrm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478D2EF2-54C5-BD00-D54F-60EFD17622C1}"/>
                  </a:ext>
                </a:extLst>
              </p:cNvPr>
              <p:cNvSpPr/>
              <p:nvPr/>
            </p:nvSpPr>
            <p:spPr>
              <a:xfrm>
                <a:off x="-12178674" y="3689240"/>
                <a:ext cx="836249" cy="1834954"/>
              </a:xfrm>
              <a:custGeom>
                <a:avLst/>
                <a:gdLst>
                  <a:gd name="connsiteX0" fmla="*/ 163 w 836249"/>
                  <a:gd name="connsiteY0" fmla="*/ 1557117 h 1834954"/>
                  <a:gd name="connsiteX1" fmla="*/ 29145 w 836249"/>
                  <a:gd name="connsiteY1" fmla="*/ 1353136 h 1834954"/>
                  <a:gd name="connsiteX2" fmla="*/ 95891 w 836249"/>
                  <a:gd name="connsiteY2" fmla="*/ 0 h 1834954"/>
                  <a:gd name="connsiteX3" fmla="*/ 813416 w 836249"/>
                  <a:gd name="connsiteY3" fmla="*/ 31652 h 1834954"/>
                  <a:gd name="connsiteX4" fmla="*/ 826589 w 836249"/>
                  <a:gd name="connsiteY4" fmla="*/ 371915 h 1834954"/>
                  <a:gd name="connsiteX5" fmla="*/ 836250 w 836249"/>
                  <a:gd name="connsiteY5" fmla="*/ 1670538 h 1834954"/>
                  <a:gd name="connsiteX6" fmla="*/ 775651 w 836249"/>
                  <a:gd name="connsiteY6" fmla="*/ 1762858 h 1834954"/>
                  <a:gd name="connsiteX7" fmla="*/ 746669 w 836249"/>
                  <a:gd name="connsiteY7" fmla="*/ 1825283 h 1834954"/>
                  <a:gd name="connsiteX8" fmla="*/ 614055 w 836249"/>
                  <a:gd name="connsiteY8" fmla="*/ 1834954 h 1834954"/>
                  <a:gd name="connsiteX9" fmla="*/ 597368 w 836249"/>
                  <a:gd name="connsiteY9" fmla="*/ 1776046 h 1834954"/>
                  <a:gd name="connsiteX10" fmla="*/ 518326 w 836249"/>
                  <a:gd name="connsiteY10" fmla="*/ 1664384 h 1834954"/>
                  <a:gd name="connsiteX11" fmla="*/ 451580 w 836249"/>
                  <a:gd name="connsiteY11" fmla="*/ 534572 h 1834954"/>
                  <a:gd name="connsiteX12" fmla="*/ 451580 w 836249"/>
                  <a:gd name="connsiteY12" fmla="*/ 232117 h 1834954"/>
                  <a:gd name="connsiteX13" fmla="*/ 257488 w 836249"/>
                  <a:gd name="connsiteY13" fmla="*/ 1753186 h 1834954"/>
                  <a:gd name="connsiteX14" fmla="*/ 250462 w 836249"/>
                  <a:gd name="connsiteY14" fmla="*/ 1753186 h 1834954"/>
                  <a:gd name="connsiteX15" fmla="*/ 236410 w 836249"/>
                  <a:gd name="connsiteY15" fmla="*/ 1804181 h 1834954"/>
                  <a:gd name="connsiteX16" fmla="*/ 80083 w 836249"/>
                  <a:gd name="connsiteY16" fmla="*/ 1795389 h 1834954"/>
                  <a:gd name="connsiteX17" fmla="*/ 61640 w 836249"/>
                  <a:gd name="connsiteY17" fmla="*/ 1738239 h 1834954"/>
                  <a:gd name="connsiteX18" fmla="*/ 51101 w 836249"/>
                  <a:gd name="connsiteY18" fmla="*/ 1738239 h 1834954"/>
                  <a:gd name="connsiteX19" fmla="*/ 163 w 836249"/>
                  <a:gd name="connsiteY19" fmla="*/ 1556238 h 1834954"/>
                  <a:gd name="connsiteX20" fmla="*/ 163 w 836249"/>
                  <a:gd name="connsiteY20" fmla="*/ 1556238 h 183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36249" h="1834954">
                    <a:moveTo>
                      <a:pt x="163" y="1557117"/>
                    </a:moveTo>
                    <a:cubicBezTo>
                      <a:pt x="3676" y="1442817"/>
                      <a:pt x="29145" y="1353136"/>
                      <a:pt x="29145" y="1353136"/>
                    </a:cubicBezTo>
                    <a:lnTo>
                      <a:pt x="95891" y="0"/>
                    </a:lnTo>
                    <a:lnTo>
                      <a:pt x="813416" y="31652"/>
                    </a:lnTo>
                    <a:lnTo>
                      <a:pt x="826589" y="371915"/>
                    </a:lnTo>
                    <a:lnTo>
                      <a:pt x="836250" y="1670538"/>
                    </a:lnTo>
                    <a:cubicBezTo>
                      <a:pt x="836250" y="1670538"/>
                      <a:pt x="807268" y="1747031"/>
                      <a:pt x="775651" y="1762858"/>
                    </a:cubicBezTo>
                    <a:lnTo>
                      <a:pt x="746669" y="1825283"/>
                    </a:lnTo>
                    <a:lnTo>
                      <a:pt x="614055" y="1834954"/>
                    </a:lnTo>
                    <a:lnTo>
                      <a:pt x="597368" y="1776046"/>
                    </a:lnTo>
                    <a:cubicBezTo>
                      <a:pt x="597368" y="1776046"/>
                      <a:pt x="518326" y="1734722"/>
                      <a:pt x="518326" y="1664384"/>
                    </a:cubicBezTo>
                    <a:cubicBezTo>
                      <a:pt x="518326" y="1594045"/>
                      <a:pt x="451580" y="534572"/>
                      <a:pt x="451580" y="534572"/>
                    </a:cubicBezTo>
                    <a:lnTo>
                      <a:pt x="451580" y="232117"/>
                    </a:lnTo>
                    <a:cubicBezTo>
                      <a:pt x="451580" y="232117"/>
                      <a:pt x="362877" y="1674055"/>
                      <a:pt x="257488" y="1753186"/>
                    </a:cubicBezTo>
                    <a:lnTo>
                      <a:pt x="250462" y="1753186"/>
                    </a:lnTo>
                    <a:lnTo>
                      <a:pt x="236410" y="1804181"/>
                    </a:lnTo>
                    <a:lnTo>
                      <a:pt x="80083" y="1795389"/>
                    </a:lnTo>
                    <a:lnTo>
                      <a:pt x="61640" y="1738239"/>
                    </a:lnTo>
                    <a:lnTo>
                      <a:pt x="51101" y="1738239"/>
                    </a:lnTo>
                    <a:cubicBezTo>
                      <a:pt x="51101" y="1738239"/>
                      <a:pt x="-3350" y="1670538"/>
                      <a:pt x="163" y="1556238"/>
                    </a:cubicBezTo>
                    <a:lnTo>
                      <a:pt x="163" y="1556238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6A65904-B5DB-4E65-CA93-E159DC8EC93C}"/>
                  </a:ext>
                </a:extLst>
              </p:cNvPr>
              <p:cNvSpPr/>
              <p:nvPr/>
            </p:nvSpPr>
            <p:spPr>
              <a:xfrm>
                <a:off x="-12394315" y="2721448"/>
                <a:ext cx="481974" cy="928012"/>
              </a:xfrm>
              <a:custGeom>
                <a:avLst/>
                <a:gdLst>
                  <a:gd name="connsiteX0" fmla="*/ 435365 w 481974"/>
                  <a:gd name="connsiteY0" fmla="*/ 1517 h 928012"/>
                  <a:gd name="connsiteX1" fmla="*/ 95485 w 481974"/>
                  <a:gd name="connsiteY1" fmla="*/ 95595 h 928012"/>
                  <a:gd name="connsiteX2" fmla="*/ 6782 w 481974"/>
                  <a:gd name="connsiteY2" fmla="*/ 864043 h 928012"/>
                  <a:gd name="connsiteX3" fmla="*/ 304507 w 481974"/>
                  <a:gd name="connsiteY3" fmla="*/ 921193 h 928012"/>
                  <a:gd name="connsiteX4" fmla="*/ 435365 w 481974"/>
                  <a:gd name="connsiteY4" fmla="*/ 638 h 928012"/>
                  <a:gd name="connsiteX5" fmla="*/ 435365 w 481974"/>
                  <a:gd name="connsiteY5" fmla="*/ 638 h 92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1974" h="928012">
                    <a:moveTo>
                      <a:pt x="435365" y="1517"/>
                    </a:moveTo>
                    <a:cubicBezTo>
                      <a:pt x="435365" y="1517"/>
                      <a:pt x="179796" y="-19584"/>
                      <a:pt x="95485" y="95595"/>
                    </a:cubicBezTo>
                    <a:cubicBezTo>
                      <a:pt x="95485" y="95595"/>
                      <a:pt x="-30104" y="576534"/>
                      <a:pt x="6782" y="864043"/>
                    </a:cubicBezTo>
                    <a:cubicBezTo>
                      <a:pt x="6782" y="864043"/>
                      <a:pt x="6782" y="952845"/>
                      <a:pt x="304507" y="921193"/>
                    </a:cubicBezTo>
                    <a:cubicBezTo>
                      <a:pt x="602231" y="889540"/>
                      <a:pt x="435365" y="638"/>
                      <a:pt x="435365" y="638"/>
                    </a:cubicBezTo>
                    <a:lnTo>
                      <a:pt x="435365" y="638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02740F4E-1790-AF8C-054D-1D7DE90990D8}"/>
                  </a:ext>
                </a:extLst>
              </p:cNvPr>
              <p:cNvSpPr/>
              <p:nvPr/>
            </p:nvSpPr>
            <p:spPr>
              <a:xfrm>
                <a:off x="-12347065" y="2669332"/>
                <a:ext cx="1228076" cy="1249386"/>
              </a:xfrm>
              <a:custGeom>
                <a:avLst/>
                <a:gdLst>
                  <a:gd name="connsiteX0" fmla="*/ 97416 w 1228076"/>
                  <a:gd name="connsiteY0" fmla="*/ 886265 h 1249386"/>
                  <a:gd name="connsiteX1" fmla="*/ 158015 w 1228076"/>
                  <a:gd name="connsiteY1" fmla="*/ 914400 h 1249386"/>
                  <a:gd name="connsiteX2" fmla="*/ 158015 w 1228076"/>
                  <a:gd name="connsiteY2" fmla="*/ 911762 h 1249386"/>
                  <a:gd name="connsiteX3" fmla="*/ 185240 w 1228076"/>
                  <a:gd name="connsiteY3" fmla="*/ 911762 h 1249386"/>
                  <a:gd name="connsiteX4" fmla="*/ 220370 w 1228076"/>
                  <a:gd name="connsiteY4" fmla="*/ 903849 h 1249386"/>
                  <a:gd name="connsiteX5" fmla="*/ 220370 w 1228076"/>
                  <a:gd name="connsiteY5" fmla="*/ 917038 h 1249386"/>
                  <a:gd name="connsiteX6" fmla="*/ 245839 w 1228076"/>
                  <a:gd name="connsiteY6" fmla="*/ 1215097 h 1249386"/>
                  <a:gd name="connsiteX7" fmla="*/ 929990 w 1228076"/>
                  <a:gd name="connsiteY7" fmla="*/ 1227406 h 1249386"/>
                  <a:gd name="connsiteX8" fmla="*/ 1035379 w 1228076"/>
                  <a:gd name="connsiteY8" fmla="*/ 1249387 h 1249386"/>
                  <a:gd name="connsiteX9" fmla="*/ 1080169 w 1228076"/>
                  <a:gd name="connsiteY9" fmla="*/ 1227406 h 1249386"/>
                  <a:gd name="connsiteX10" fmla="*/ 1217175 w 1228076"/>
                  <a:gd name="connsiteY10" fmla="*/ 891540 h 1249386"/>
                  <a:gd name="connsiteX11" fmla="*/ 1224201 w 1228076"/>
                  <a:gd name="connsiteY11" fmla="*/ 762293 h 1249386"/>
                  <a:gd name="connsiteX12" fmla="*/ 1153064 w 1228076"/>
                  <a:gd name="connsiteY12" fmla="*/ 324436 h 1249386"/>
                  <a:gd name="connsiteX13" fmla="*/ 785958 w 1228076"/>
                  <a:gd name="connsiteY13" fmla="*/ 0 h 1249386"/>
                  <a:gd name="connsiteX14" fmla="*/ 522485 w 1228076"/>
                  <a:gd name="connsiteY14" fmla="*/ 21981 h 1249386"/>
                  <a:gd name="connsiteX15" fmla="*/ 508433 w 1228076"/>
                  <a:gd name="connsiteY15" fmla="*/ 19343 h 1249386"/>
                  <a:gd name="connsiteX16" fmla="*/ 503164 w 1228076"/>
                  <a:gd name="connsiteY16" fmla="*/ 19343 h 1249386"/>
                  <a:gd name="connsiteX17" fmla="*/ 491747 w 1228076"/>
                  <a:gd name="connsiteY17" fmla="*/ 22860 h 1249386"/>
                  <a:gd name="connsiteX18" fmla="*/ 200170 w 1228076"/>
                  <a:gd name="connsiteY18" fmla="*/ 144194 h 1249386"/>
                  <a:gd name="connsiteX19" fmla="*/ 4322 w 1228076"/>
                  <a:gd name="connsiteY19" fmla="*/ 659423 h 1249386"/>
                  <a:gd name="connsiteX20" fmla="*/ 98294 w 1228076"/>
                  <a:gd name="connsiteY20" fmla="*/ 888023 h 1249386"/>
                  <a:gd name="connsiteX21" fmla="*/ 97416 w 1228076"/>
                  <a:gd name="connsiteY21" fmla="*/ 888023 h 1249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28076" h="1249386">
                    <a:moveTo>
                      <a:pt x="97416" y="886265"/>
                    </a:moveTo>
                    <a:cubicBezTo>
                      <a:pt x="123763" y="901211"/>
                      <a:pt x="127276" y="902970"/>
                      <a:pt x="158015" y="914400"/>
                    </a:cubicBezTo>
                    <a:lnTo>
                      <a:pt x="158015" y="911762"/>
                    </a:lnTo>
                    <a:cubicBezTo>
                      <a:pt x="166797" y="912641"/>
                      <a:pt x="175580" y="912641"/>
                      <a:pt x="185240" y="911762"/>
                    </a:cubicBezTo>
                    <a:cubicBezTo>
                      <a:pt x="197536" y="910004"/>
                      <a:pt x="208953" y="906487"/>
                      <a:pt x="220370" y="903849"/>
                    </a:cubicBezTo>
                    <a:lnTo>
                      <a:pt x="220370" y="917038"/>
                    </a:lnTo>
                    <a:cubicBezTo>
                      <a:pt x="225639" y="1131570"/>
                      <a:pt x="245839" y="1215097"/>
                      <a:pt x="245839" y="1215097"/>
                    </a:cubicBezTo>
                    <a:cubicBezTo>
                      <a:pt x="245839" y="1215097"/>
                      <a:pt x="763124" y="1237957"/>
                      <a:pt x="929990" y="1227406"/>
                    </a:cubicBezTo>
                    <a:lnTo>
                      <a:pt x="1035379" y="1249387"/>
                    </a:lnTo>
                    <a:lnTo>
                      <a:pt x="1080169" y="1227406"/>
                    </a:lnTo>
                    <a:cubicBezTo>
                      <a:pt x="1159211" y="1187841"/>
                      <a:pt x="1182924" y="1014632"/>
                      <a:pt x="1217175" y="891540"/>
                    </a:cubicBezTo>
                    <a:cubicBezTo>
                      <a:pt x="1228592" y="849337"/>
                      <a:pt x="1231227" y="805375"/>
                      <a:pt x="1224201" y="762293"/>
                    </a:cubicBezTo>
                    <a:lnTo>
                      <a:pt x="1153064" y="324436"/>
                    </a:lnTo>
                    <a:cubicBezTo>
                      <a:pt x="1124082" y="86165"/>
                      <a:pt x="785958" y="0"/>
                      <a:pt x="785958" y="0"/>
                    </a:cubicBezTo>
                    <a:cubicBezTo>
                      <a:pt x="680569" y="43962"/>
                      <a:pt x="566398" y="29894"/>
                      <a:pt x="522485" y="21981"/>
                    </a:cubicBezTo>
                    <a:cubicBezTo>
                      <a:pt x="518094" y="20222"/>
                      <a:pt x="512825" y="19343"/>
                      <a:pt x="508433" y="19343"/>
                    </a:cubicBezTo>
                    <a:cubicBezTo>
                      <a:pt x="504042" y="19343"/>
                      <a:pt x="503164" y="19343"/>
                      <a:pt x="503164" y="19343"/>
                    </a:cubicBezTo>
                    <a:lnTo>
                      <a:pt x="491747" y="22860"/>
                    </a:lnTo>
                    <a:cubicBezTo>
                      <a:pt x="431148" y="36049"/>
                      <a:pt x="260769" y="96715"/>
                      <a:pt x="200170" y="144194"/>
                    </a:cubicBezTo>
                    <a:cubicBezTo>
                      <a:pt x="125520" y="202223"/>
                      <a:pt x="45600" y="465113"/>
                      <a:pt x="4322" y="659423"/>
                    </a:cubicBezTo>
                    <a:cubicBezTo>
                      <a:pt x="-13243" y="743829"/>
                      <a:pt x="23644" y="844941"/>
                      <a:pt x="98294" y="888023"/>
                    </a:cubicBezTo>
                    <a:lnTo>
                      <a:pt x="97416" y="88802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E13D7265-65CD-8A65-5E1D-118441CE8F23}"/>
                  </a:ext>
                </a:extLst>
              </p:cNvPr>
              <p:cNvSpPr/>
              <p:nvPr/>
            </p:nvSpPr>
            <p:spPr>
              <a:xfrm>
                <a:off x="-11912333" y="2136257"/>
                <a:ext cx="421914" cy="572934"/>
              </a:xfrm>
              <a:custGeom>
                <a:avLst/>
                <a:gdLst>
                  <a:gd name="connsiteX0" fmla="*/ 35937 w 421914"/>
                  <a:gd name="connsiteY0" fmla="*/ 108407 h 572934"/>
                  <a:gd name="connsiteX1" fmla="*/ 63163 w 421914"/>
                  <a:gd name="connsiteY1" fmla="*/ 60050 h 572934"/>
                  <a:gd name="connsiteX2" fmla="*/ 173821 w 421914"/>
                  <a:gd name="connsiteY2" fmla="*/ 8175 h 572934"/>
                  <a:gd name="connsiteX3" fmla="*/ 288871 w 421914"/>
                  <a:gd name="connsiteY3" fmla="*/ 21364 h 572934"/>
                  <a:gd name="connsiteX4" fmla="*/ 306436 w 421914"/>
                  <a:gd name="connsiteY4" fmla="*/ 73238 h 572934"/>
                  <a:gd name="connsiteX5" fmla="*/ 367913 w 421914"/>
                  <a:gd name="connsiteY5" fmla="*/ 169074 h 572934"/>
                  <a:gd name="connsiteX6" fmla="*/ 421486 w 421914"/>
                  <a:gd name="connsiteY6" fmla="*/ 229741 h 572934"/>
                  <a:gd name="connsiteX7" fmla="*/ 406556 w 421914"/>
                  <a:gd name="connsiteY7" fmla="*/ 255239 h 572934"/>
                  <a:gd name="connsiteX8" fmla="*/ 407434 w 421914"/>
                  <a:gd name="connsiteY8" fmla="*/ 286012 h 572934"/>
                  <a:gd name="connsiteX9" fmla="*/ 389869 w 421914"/>
                  <a:gd name="connsiteY9" fmla="*/ 307113 h 572934"/>
                  <a:gd name="connsiteX10" fmla="*/ 407434 w 421914"/>
                  <a:gd name="connsiteY10" fmla="*/ 304476 h 572934"/>
                  <a:gd name="connsiteX11" fmla="*/ 407434 w 421914"/>
                  <a:gd name="connsiteY11" fmla="*/ 325577 h 572934"/>
                  <a:gd name="connsiteX12" fmla="*/ 411825 w 421914"/>
                  <a:gd name="connsiteY12" fmla="*/ 375693 h 572934"/>
                  <a:gd name="connsiteX13" fmla="*/ 325757 w 421914"/>
                  <a:gd name="connsiteY13" fmla="*/ 407346 h 572934"/>
                  <a:gd name="connsiteX14" fmla="*/ 309949 w 421914"/>
                  <a:gd name="connsiteY14" fmla="*/ 511974 h 572934"/>
                  <a:gd name="connsiteX15" fmla="*/ 350348 w 421914"/>
                  <a:gd name="connsiteY15" fmla="*/ 533955 h 572934"/>
                  <a:gd name="connsiteX16" fmla="*/ 53502 w 421914"/>
                  <a:gd name="connsiteY16" fmla="*/ 555057 h 572934"/>
                  <a:gd name="connsiteX17" fmla="*/ 103562 w 421914"/>
                  <a:gd name="connsiteY17" fmla="*/ 520767 h 572934"/>
                  <a:gd name="connsiteX18" fmla="*/ 128153 w 421914"/>
                  <a:gd name="connsiteY18" fmla="*/ 395916 h 572934"/>
                  <a:gd name="connsiteX19" fmla="*/ 116736 w 421914"/>
                  <a:gd name="connsiteY19" fmla="*/ 384486 h 572934"/>
                  <a:gd name="connsiteX20" fmla="*/ 49111 w 421914"/>
                  <a:gd name="connsiteY20" fmla="*/ 309751 h 572934"/>
                  <a:gd name="connsiteX21" fmla="*/ 35059 w 421914"/>
                  <a:gd name="connsiteY21" fmla="*/ 108407 h 572934"/>
                  <a:gd name="connsiteX22" fmla="*/ 35059 w 421914"/>
                  <a:gd name="connsiteY22" fmla="*/ 108407 h 57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21914" h="572934">
                    <a:moveTo>
                      <a:pt x="35937" y="108407"/>
                    </a:moveTo>
                    <a:cubicBezTo>
                      <a:pt x="41207" y="90823"/>
                      <a:pt x="49989" y="74117"/>
                      <a:pt x="63163" y="60050"/>
                    </a:cubicBezTo>
                    <a:cubicBezTo>
                      <a:pt x="102684" y="16967"/>
                      <a:pt x="173821" y="8175"/>
                      <a:pt x="173821" y="8175"/>
                    </a:cubicBezTo>
                    <a:cubicBezTo>
                      <a:pt x="239689" y="-11168"/>
                      <a:pt x="266037" y="8175"/>
                      <a:pt x="288871" y="21364"/>
                    </a:cubicBezTo>
                    <a:cubicBezTo>
                      <a:pt x="330148" y="47740"/>
                      <a:pt x="312584" y="67084"/>
                      <a:pt x="306436" y="73238"/>
                    </a:cubicBezTo>
                    <a:cubicBezTo>
                      <a:pt x="314340" y="79393"/>
                      <a:pt x="370548" y="126871"/>
                      <a:pt x="367913" y="169074"/>
                    </a:cubicBezTo>
                    <a:cubicBezTo>
                      <a:pt x="367913" y="181383"/>
                      <a:pt x="421486" y="229741"/>
                      <a:pt x="421486" y="229741"/>
                    </a:cubicBezTo>
                    <a:cubicBezTo>
                      <a:pt x="421486" y="229741"/>
                      <a:pt x="425877" y="247326"/>
                      <a:pt x="406556" y="255239"/>
                    </a:cubicBezTo>
                    <a:cubicBezTo>
                      <a:pt x="388112" y="263152"/>
                      <a:pt x="407434" y="286012"/>
                      <a:pt x="407434" y="286012"/>
                    </a:cubicBezTo>
                    <a:cubicBezTo>
                      <a:pt x="407434" y="286012"/>
                      <a:pt x="417094" y="298321"/>
                      <a:pt x="389869" y="307113"/>
                    </a:cubicBezTo>
                    <a:cubicBezTo>
                      <a:pt x="383721" y="308872"/>
                      <a:pt x="402164" y="302717"/>
                      <a:pt x="407434" y="304476"/>
                    </a:cubicBezTo>
                    <a:cubicBezTo>
                      <a:pt x="407434" y="304476"/>
                      <a:pt x="413582" y="315027"/>
                      <a:pt x="407434" y="325577"/>
                    </a:cubicBezTo>
                    <a:cubicBezTo>
                      <a:pt x="401286" y="335249"/>
                      <a:pt x="415338" y="364263"/>
                      <a:pt x="411825" y="375693"/>
                    </a:cubicBezTo>
                    <a:cubicBezTo>
                      <a:pt x="407434" y="392399"/>
                      <a:pt x="360009" y="402070"/>
                      <a:pt x="325757" y="407346"/>
                    </a:cubicBezTo>
                    <a:lnTo>
                      <a:pt x="309949" y="511974"/>
                    </a:lnTo>
                    <a:cubicBezTo>
                      <a:pt x="324879" y="531317"/>
                      <a:pt x="350348" y="533955"/>
                      <a:pt x="350348" y="533955"/>
                    </a:cubicBezTo>
                    <a:cubicBezTo>
                      <a:pt x="264280" y="606931"/>
                      <a:pt x="53502" y="555057"/>
                      <a:pt x="53502" y="555057"/>
                    </a:cubicBezTo>
                    <a:cubicBezTo>
                      <a:pt x="85119" y="548902"/>
                      <a:pt x="98292" y="530438"/>
                      <a:pt x="103562" y="520767"/>
                    </a:cubicBezTo>
                    <a:lnTo>
                      <a:pt x="128153" y="395916"/>
                    </a:lnTo>
                    <a:cubicBezTo>
                      <a:pt x="124640" y="395916"/>
                      <a:pt x="120248" y="391520"/>
                      <a:pt x="116736" y="384486"/>
                    </a:cubicBezTo>
                    <a:cubicBezTo>
                      <a:pt x="109710" y="370418"/>
                      <a:pt x="85997" y="340524"/>
                      <a:pt x="49111" y="309751"/>
                    </a:cubicBezTo>
                    <a:cubicBezTo>
                      <a:pt x="-71" y="268427"/>
                      <a:pt x="-24662" y="198089"/>
                      <a:pt x="35059" y="108407"/>
                    </a:cubicBezTo>
                    <a:lnTo>
                      <a:pt x="35059" y="10840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724238E0-8980-B45D-13AC-6EACCA7948F1}"/>
                  </a:ext>
                </a:extLst>
              </p:cNvPr>
              <p:cNvSpPr/>
              <p:nvPr/>
            </p:nvSpPr>
            <p:spPr>
              <a:xfrm>
                <a:off x="-11908820" y="2136257"/>
                <a:ext cx="419414" cy="414617"/>
              </a:xfrm>
              <a:custGeom>
                <a:avLst/>
                <a:gdLst>
                  <a:gd name="connsiteX0" fmla="*/ 32424 w 419414"/>
                  <a:gd name="connsiteY0" fmla="*/ 108407 h 414617"/>
                  <a:gd name="connsiteX1" fmla="*/ 59650 w 419414"/>
                  <a:gd name="connsiteY1" fmla="*/ 60050 h 414617"/>
                  <a:gd name="connsiteX2" fmla="*/ 170308 w 419414"/>
                  <a:gd name="connsiteY2" fmla="*/ 8175 h 414617"/>
                  <a:gd name="connsiteX3" fmla="*/ 285358 w 419414"/>
                  <a:gd name="connsiteY3" fmla="*/ 21364 h 414617"/>
                  <a:gd name="connsiteX4" fmla="*/ 302923 w 419414"/>
                  <a:gd name="connsiteY4" fmla="*/ 73238 h 414617"/>
                  <a:gd name="connsiteX5" fmla="*/ 302923 w 419414"/>
                  <a:gd name="connsiteY5" fmla="*/ 73238 h 414617"/>
                  <a:gd name="connsiteX6" fmla="*/ 249350 w 419414"/>
                  <a:gd name="connsiteY6" fmla="*/ 122475 h 414617"/>
                  <a:gd name="connsiteX7" fmla="*/ 217733 w 419414"/>
                  <a:gd name="connsiteY7" fmla="*/ 223587 h 414617"/>
                  <a:gd name="connsiteX8" fmla="*/ 325757 w 419414"/>
                  <a:gd name="connsiteY8" fmla="*/ 344920 h 414617"/>
                  <a:gd name="connsiteX9" fmla="*/ 339809 w 419414"/>
                  <a:gd name="connsiteY9" fmla="*/ 290408 h 414617"/>
                  <a:gd name="connsiteX10" fmla="*/ 396017 w 419414"/>
                  <a:gd name="connsiteY10" fmla="*/ 261394 h 414617"/>
                  <a:gd name="connsiteX11" fmla="*/ 403043 w 419414"/>
                  <a:gd name="connsiteY11" fmla="*/ 282495 h 414617"/>
                  <a:gd name="connsiteX12" fmla="*/ 361765 w 419414"/>
                  <a:gd name="connsiteY12" fmla="*/ 304476 h 414617"/>
                  <a:gd name="connsiteX13" fmla="*/ 361765 w 419414"/>
                  <a:gd name="connsiteY13" fmla="*/ 355471 h 414617"/>
                  <a:gd name="connsiteX14" fmla="*/ 410069 w 419414"/>
                  <a:gd name="connsiteY14" fmla="*/ 344920 h 414617"/>
                  <a:gd name="connsiteX15" fmla="*/ 413581 w 419414"/>
                  <a:gd name="connsiteY15" fmla="*/ 395916 h 414617"/>
                  <a:gd name="connsiteX16" fmla="*/ 288871 w 419414"/>
                  <a:gd name="connsiteY16" fmla="*/ 403829 h 414617"/>
                  <a:gd name="connsiteX17" fmla="*/ 217733 w 419414"/>
                  <a:gd name="connsiteY17" fmla="*/ 272823 h 414617"/>
                  <a:gd name="connsiteX18" fmla="*/ 210707 w 419414"/>
                  <a:gd name="connsiteY18" fmla="*/ 263152 h 414617"/>
                  <a:gd name="connsiteX19" fmla="*/ 141326 w 419414"/>
                  <a:gd name="connsiteY19" fmla="*/ 311510 h 414617"/>
                  <a:gd name="connsiteX20" fmla="*/ 162404 w 419414"/>
                  <a:gd name="connsiteY20" fmla="*/ 337887 h 414617"/>
                  <a:gd name="connsiteX21" fmla="*/ 142205 w 419414"/>
                  <a:gd name="connsiteY21" fmla="*/ 383607 h 414617"/>
                  <a:gd name="connsiteX22" fmla="*/ 116735 w 419414"/>
                  <a:gd name="connsiteY22" fmla="*/ 385365 h 414617"/>
                  <a:gd name="connsiteX23" fmla="*/ 49111 w 419414"/>
                  <a:gd name="connsiteY23" fmla="*/ 310630 h 414617"/>
                  <a:gd name="connsiteX24" fmla="*/ 35059 w 419414"/>
                  <a:gd name="connsiteY24" fmla="*/ 109287 h 414617"/>
                  <a:gd name="connsiteX25" fmla="*/ 33302 w 419414"/>
                  <a:gd name="connsiteY25" fmla="*/ 109287 h 41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19414" h="414617">
                    <a:moveTo>
                      <a:pt x="32424" y="108407"/>
                    </a:moveTo>
                    <a:cubicBezTo>
                      <a:pt x="37694" y="90823"/>
                      <a:pt x="46476" y="74117"/>
                      <a:pt x="59650" y="60050"/>
                    </a:cubicBezTo>
                    <a:cubicBezTo>
                      <a:pt x="99171" y="16967"/>
                      <a:pt x="170308" y="8175"/>
                      <a:pt x="170308" y="8175"/>
                    </a:cubicBezTo>
                    <a:cubicBezTo>
                      <a:pt x="236176" y="-11168"/>
                      <a:pt x="262524" y="8175"/>
                      <a:pt x="285358" y="21364"/>
                    </a:cubicBezTo>
                    <a:cubicBezTo>
                      <a:pt x="326636" y="47740"/>
                      <a:pt x="309071" y="67084"/>
                      <a:pt x="302923" y="73238"/>
                    </a:cubicBezTo>
                    <a:lnTo>
                      <a:pt x="302923" y="73238"/>
                    </a:lnTo>
                    <a:cubicBezTo>
                      <a:pt x="302923" y="73238"/>
                      <a:pt x="286236" y="107528"/>
                      <a:pt x="249350" y="122475"/>
                    </a:cubicBezTo>
                    <a:cubicBezTo>
                      <a:pt x="170308" y="153248"/>
                      <a:pt x="214220" y="214794"/>
                      <a:pt x="217733" y="223587"/>
                    </a:cubicBezTo>
                    <a:cubicBezTo>
                      <a:pt x="224759" y="240292"/>
                      <a:pt x="287115" y="322060"/>
                      <a:pt x="325757" y="344920"/>
                    </a:cubicBezTo>
                    <a:cubicBezTo>
                      <a:pt x="327514" y="330853"/>
                      <a:pt x="331905" y="303597"/>
                      <a:pt x="339809" y="290408"/>
                    </a:cubicBezTo>
                    <a:cubicBezTo>
                      <a:pt x="352104" y="270186"/>
                      <a:pt x="396017" y="261394"/>
                      <a:pt x="396017" y="261394"/>
                    </a:cubicBezTo>
                    <a:cubicBezTo>
                      <a:pt x="400408" y="266669"/>
                      <a:pt x="403043" y="276340"/>
                      <a:pt x="403043" y="282495"/>
                    </a:cubicBezTo>
                    <a:cubicBezTo>
                      <a:pt x="403043" y="282495"/>
                      <a:pt x="381087" y="278978"/>
                      <a:pt x="361765" y="304476"/>
                    </a:cubicBezTo>
                    <a:cubicBezTo>
                      <a:pt x="354739" y="313268"/>
                      <a:pt x="358252" y="344920"/>
                      <a:pt x="361765" y="355471"/>
                    </a:cubicBezTo>
                    <a:cubicBezTo>
                      <a:pt x="399530" y="351075"/>
                      <a:pt x="410069" y="344920"/>
                      <a:pt x="410069" y="344920"/>
                    </a:cubicBezTo>
                    <a:cubicBezTo>
                      <a:pt x="410069" y="344920"/>
                      <a:pt x="428512" y="379210"/>
                      <a:pt x="413581" y="395916"/>
                    </a:cubicBezTo>
                    <a:cubicBezTo>
                      <a:pt x="397773" y="412621"/>
                      <a:pt x="311705" y="424051"/>
                      <a:pt x="288871" y="403829"/>
                    </a:cubicBezTo>
                    <a:cubicBezTo>
                      <a:pt x="267793" y="385365"/>
                      <a:pt x="226516" y="292167"/>
                      <a:pt x="217733" y="272823"/>
                    </a:cubicBezTo>
                    <a:cubicBezTo>
                      <a:pt x="215977" y="271065"/>
                      <a:pt x="213342" y="268427"/>
                      <a:pt x="210707" y="263152"/>
                    </a:cubicBezTo>
                    <a:cubicBezTo>
                      <a:pt x="168552" y="192813"/>
                      <a:pt x="96536" y="231500"/>
                      <a:pt x="141326" y="311510"/>
                    </a:cubicBezTo>
                    <a:cubicBezTo>
                      <a:pt x="147474" y="322060"/>
                      <a:pt x="154500" y="330853"/>
                      <a:pt x="162404" y="337887"/>
                    </a:cubicBezTo>
                    <a:cubicBezTo>
                      <a:pt x="150987" y="358109"/>
                      <a:pt x="146596" y="373056"/>
                      <a:pt x="142205" y="383607"/>
                    </a:cubicBezTo>
                    <a:cubicBezTo>
                      <a:pt x="135179" y="400312"/>
                      <a:pt x="124640" y="401191"/>
                      <a:pt x="116735" y="385365"/>
                    </a:cubicBezTo>
                    <a:cubicBezTo>
                      <a:pt x="109709" y="371297"/>
                      <a:pt x="85997" y="341403"/>
                      <a:pt x="49111" y="310630"/>
                    </a:cubicBezTo>
                    <a:cubicBezTo>
                      <a:pt x="-71" y="269307"/>
                      <a:pt x="-24662" y="198968"/>
                      <a:pt x="35059" y="109287"/>
                    </a:cubicBezTo>
                    <a:lnTo>
                      <a:pt x="33302" y="109287"/>
                    </a:lnTo>
                    <a:close/>
                  </a:path>
                </a:pathLst>
              </a:custGeom>
              <a:solidFill>
                <a:srgbClr val="4D260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B56B49E-2B4B-E02A-5E8B-026232AB2D64}"/>
                  </a:ext>
                </a:extLst>
              </p:cNvPr>
              <p:cNvSpPr/>
              <p:nvPr/>
            </p:nvSpPr>
            <p:spPr>
              <a:xfrm>
                <a:off x="-11589492" y="5467924"/>
                <a:ext cx="418819" cy="329711"/>
              </a:xfrm>
              <a:custGeom>
                <a:avLst/>
                <a:gdLst>
                  <a:gd name="connsiteX0" fmla="*/ 32777 w 418819"/>
                  <a:gd name="connsiteY0" fmla="*/ 41324 h 329711"/>
                  <a:gd name="connsiteX1" fmla="*/ 6430 w 418819"/>
                  <a:gd name="connsiteY1" fmla="*/ 35169 h 329711"/>
                  <a:gd name="connsiteX2" fmla="*/ 14334 w 418819"/>
                  <a:gd name="connsiteY2" fmla="*/ 151228 h 329711"/>
                  <a:gd name="connsiteX3" fmla="*/ 282 w 418819"/>
                  <a:gd name="connsiteY3" fmla="*/ 277837 h 329711"/>
                  <a:gd name="connsiteX4" fmla="*/ 282 w 418819"/>
                  <a:gd name="connsiteY4" fmla="*/ 329712 h 329711"/>
                  <a:gd name="connsiteX5" fmla="*/ 129384 w 418819"/>
                  <a:gd name="connsiteY5" fmla="*/ 329712 h 329711"/>
                  <a:gd name="connsiteX6" fmla="*/ 138166 w 418819"/>
                  <a:gd name="connsiteY6" fmla="*/ 291025 h 329711"/>
                  <a:gd name="connsiteX7" fmla="*/ 209304 w 418819"/>
                  <a:gd name="connsiteY7" fmla="*/ 329712 h 329711"/>
                  <a:gd name="connsiteX8" fmla="*/ 413934 w 418819"/>
                  <a:gd name="connsiteY8" fmla="*/ 329712 h 329711"/>
                  <a:gd name="connsiteX9" fmla="*/ 418326 w 418819"/>
                  <a:gd name="connsiteY9" fmla="*/ 277837 h 329711"/>
                  <a:gd name="connsiteX10" fmla="*/ 378805 w 418819"/>
                  <a:gd name="connsiteY10" fmla="*/ 211895 h 329711"/>
                  <a:gd name="connsiteX11" fmla="*/ 204913 w 418819"/>
                  <a:gd name="connsiteY11" fmla="*/ 107266 h 329711"/>
                  <a:gd name="connsiteX12" fmla="*/ 179444 w 418819"/>
                  <a:gd name="connsiteY12" fmla="*/ 0 h 329711"/>
                  <a:gd name="connsiteX13" fmla="*/ 102158 w 418819"/>
                  <a:gd name="connsiteY13" fmla="*/ 21981 h 329711"/>
                  <a:gd name="connsiteX14" fmla="*/ 32777 w 418819"/>
                  <a:gd name="connsiteY14" fmla="*/ 41324 h 329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18819" h="329711">
                    <a:moveTo>
                      <a:pt x="32777" y="41324"/>
                    </a:moveTo>
                    <a:cubicBezTo>
                      <a:pt x="32777" y="41324"/>
                      <a:pt x="-4987" y="10551"/>
                      <a:pt x="6430" y="35169"/>
                    </a:cubicBezTo>
                    <a:cubicBezTo>
                      <a:pt x="17847" y="59788"/>
                      <a:pt x="11699" y="137160"/>
                      <a:pt x="14334" y="151228"/>
                    </a:cubicBezTo>
                    <a:cubicBezTo>
                      <a:pt x="14334" y="151228"/>
                      <a:pt x="-2353" y="225962"/>
                      <a:pt x="282" y="277837"/>
                    </a:cubicBezTo>
                    <a:lnTo>
                      <a:pt x="282" y="329712"/>
                    </a:lnTo>
                    <a:lnTo>
                      <a:pt x="129384" y="329712"/>
                    </a:lnTo>
                    <a:lnTo>
                      <a:pt x="138166" y="291025"/>
                    </a:lnTo>
                    <a:cubicBezTo>
                      <a:pt x="138166" y="291025"/>
                      <a:pt x="179444" y="299818"/>
                      <a:pt x="209304" y="329712"/>
                    </a:cubicBezTo>
                    <a:lnTo>
                      <a:pt x="413934" y="329712"/>
                    </a:lnTo>
                    <a:lnTo>
                      <a:pt x="418326" y="277837"/>
                    </a:lnTo>
                    <a:cubicBezTo>
                      <a:pt x="418326" y="277837"/>
                      <a:pt x="426230" y="240030"/>
                      <a:pt x="378805" y="211895"/>
                    </a:cubicBezTo>
                    <a:cubicBezTo>
                      <a:pt x="356849" y="199585"/>
                      <a:pt x="261120" y="201344"/>
                      <a:pt x="204913" y="107266"/>
                    </a:cubicBezTo>
                    <a:cubicBezTo>
                      <a:pt x="166270" y="42203"/>
                      <a:pt x="179444" y="0"/>
                      <a:pt x="179444" y="0"/>
                    </a:cubicBezTo>
                    <a:cubicBezTo>
                      <a:pt x="179444" y="0"/>
                      <a:pt x="116210" y="0"/>
                      <a:pt x="102158" y="21981"/>
                    </a:cubicBezTo>
                    <a:cubicBezTo>
                      <a:pt x="88106" y="43962"/>
                      <a:pt x="32777" y="41324"/>
                      <a:pt x="32777" y="41324"/>
                    </a:cubicBez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B00B5C8F-3719-FF2E-0BD2-F79CA49F25EE}"/>
                  </a:ext>
                </a:extLst>
              </p:cNvPr>
              <p:cNvSpPr/>
              <p:nvPr/>
            </p:nvSpPr>
            <p:spPr>
              <a:xfrm>
                <a:off x="-12205541" y="5475665"/>
                <a:ext cx="265034" cy="329937"/>
              </a:xfrm>
              <a:custGeom>
                <a:avLst/>
                <a:gdLst>
                  <a:gd name="connsiteX0" fmla="*/ 108707 w 265034"/>
                  <a:gd name="connsiteY0" fmla="*/ 44133 h 329937"/>
                  <a:gd name="connsiteX1" fmla="*/ 55134 w 265034"/>
                  <a:gd name="connsiteY1" fmla="*/ 160192 h 329937"/>
                  <a:gd name="connsiteX2" fmla="*/ 1561 w 265034"/>
                  <a:gd name="connsiteY2" fmla="*/ 241081 h 329937"/>
                  <a:gd name="connsiteX3" fmla="*/ 1561 w 265034"/>
                  <a:gd name="connsiteY3" fmla="*/ 317574 h 329937"/>
                  <a:gd name="connsiteX4" fmla="*/ 245713 w 265034"/>
                  <a:gd name="connsiteY4" fmla="*/ 294714 h 329937"/>
                  <a:gd name="connsiteX5" fmla="*/ 263278 w 265034"/>
                  <a:gd name="connsiteY5" fmla="*/ 154037 h 329937"/>
                  <a:gd name="connsiteX6" fmla="*/ 265034 w 265034"/>
                  <a:gd name="connsiteY6" fmla="*/ 10723 h 329937"/>
                  <a:gd name="connsiteX7" fmla="*/ 125393 w 265034"/>
                  <a:gd name="connsiteY7" fmla="*/ 172 h 329937"/>
                  <a:gd name="connsiteX8" fmla="*/ 108707 w 265034"/>
                  <a:gd name="connsiteY8" fmla="*/ 44133 h 329937"/>
                  <a:gd name="connsiteX9" fmla="*/ 109585 w 265034"/>
                  <a:gd name="connsiteY9" fmla="*/ 44133 h 329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5034" h="329937">
                    <a:moveTo>
                      <a:pt x="108707" y="44133"/>
                    </a:moveTo>
                    <a:cubicBezTo>
                      <a:pt x="108707" y="44133"/>
                      <a:pt x="103437" y="117989"/>
                      <a:pt x="55134" y="160192"/>
                    </a:cubicBezTo>
                    <a:cubicBezTo>
                      <a:pt x="55134" y="160192"/>
                      <a:pt x="5074" y="192723"/>
                      <a:pt x="1561" y="241081"/>
                    </a:cubicBezTo>
                    <a:cubicBezTo>
                      <a:pt x="-1952" y="283284"/>
                      <a:pt x="1561" y="317574"/>
                      <a:pt x="1561" y="317574"/>
                    </a:cubicBezTo>
                    <a:cubicBezTo>
                      <a:pt x="1561" y="317574"/>
                      <a:pt x="200922" y="357140"/>
                      <a:pt x="245713" y="294714"/>
                    </a:cubicBezTo>
                    <a:cubicBezTo>
                      <a:pt x="245713" y="294714"/>
                      <a:pt x="268547" y="204154"/>
                      <a:pt x="263278" y="154037"/>
                    </a:cubicBezTo>
                    <a:cubicBezTo>
                      <a:pt x="258008" y="103921"/>
                      <a:pt x="265034" y="10723"/>
                      <a:pt x="265034" y="10723"/>
                    </a:cubicBezTo>
                    <a:cubicBezTo>
                      <a:pt x="265034" y="10723"/>
                      <a:pt x="133298" y="-1586"/>
                      <a:pt x="125393" y="172"/>
                    </a:cubicBezTo>
                    <a:cubicBezTo>
                      <a:pt x="118368" y="1930"/>
                      <a:pt x="108707" y="44133"/>
                      <a:pt x="108707" y="44133"/>
                    </a:cubicBezTo>
                    <a:lnTo>
                      <a:pt x="109585" y="44133"/>
                    </a:ln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307ED452-A366-C214-D2BB-444760E4E00F}"/>
                  </a:ext>
                </a:extLst>
              </p:cNvPr>
              <p:cNvSpPr/>
              <p:nvPr/>
            </p:nvSpPr>
            <p:spPr>
              <a:xfrm>
                <a:off x="-12144260" y="2715053"/>
                <a:ext cx="329838" cy="862525"/>
              </a:xfrm>
              <a:custGeom>
                <a:avLst/>
                <a:gdLst>
                  <a:gd name="connsiteX0" fmla="*/ 103633 w 329838"/>
                  <a:gd name="connsiteY0" fmla="*/ 31652 h 862525"/>
                  <a:gd name="connsiteX1" fmla="*/ 189700 w 329838"/>
                  <a:gd name="connsiteY1" fmla="*/ 0 h 862525"/>
                  <a:gd name="connsiteX2" fmla="*/ 305628 w 329838"/>
                  <a:gd name="connsiteY2" fmla="*/ 504678 h 862525"/>
                  <a:gd name="connsiteX3" fmla="*/ 0 w 329838"/>
                  <a:gd name="connsiteY3" fmla="*/ 862525 h 862525"/>
                  <a:gd name="connsiteX4" fmla="*/ 103633 w 329838"/>
                  <a:gd name="connsiteY4" fmla="*/ 31652 h 86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838" h="862525">
                    <a:moveTo>
                      <a:pt x="103633" y="31652"/>
                    </a:moveTo>
                    <a:lnTo>
                      <a:pt x="189700" y="0"/>
                    </a:lnTo>
                    <a:cubicBezTo>
                      <a:pt x="189700" y="0"/>
                      <a:pt x="399600" y="269924"/>
                      <a:pt x="305628" y="504678"/>
                    </a:cubicBezTo>
                    <a:cubicBezTo>
                      <a:pt x="211656" y="740312"/>
                      <a:pt x="0" y="862525"/>
                      <a:pt x="0" y="862525"/>
                    </a:cubicBezTo>
                    <a:cubicBezTo>
                      <a:pt x="0" y="862525"/>
                      <a:pt x="454051" y="622495"/>
                      <a:pt x="103633" y="316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29947BE-6071-499B-ED54-7F015B437BEC}"/>
                  </a:ext>
                </a:extLst>
              </p:cNvPr>
              <p:cNvSpPr/>
              <p:nvPr/>
            </p:nvSpPr>
            <p:spPr>
              <a:xfrm>
                <a:off x="-12175876" y="2827120"/>
                <a:ext cx="360797" cy="516625"/>
              </a:xfrm>
              <a:custGeom>
                <a:avLst/>
                <a:gdLst>
                  <a:gd name="connsiteX0" fmla="*/ 302994 w 360797"/>
                  <a:gd name="connsiteY0" fmla="*/ 35643 h 516625"/>
                  <a:gd name="connsiteX1" fmla="*/ 319680 w 360797"/>
                  <a:gd name="connsiteY1" fmla="*/ 8387 h 516625"/>
                  <a:gd name="connsiteX2" fmla="*/ 288942 w 360797"/>
                  <a:gd name="connsiteY2" fmla="*/ 3991 h 516625"/>
                  <a:gd name="connsiteX3" fmla="*/ 214291 w 360797"/>
                  <a:gd name="connsiteY3" fmla="*/ 47073 h 516625"/>
                  <a:gd name="connsiteX4" fmla="*/ 189700 w 360797"/>
                  <a:gd name="connsiteY4" fmla="*/ 149064 h 516625"/>
                  <a:gd name="connsiteX5" fmla="*/ 194970 w 360797"/>
                  <a:gd name="connsiteY5" fmla="*/ 210610 h 516625"/>
                  <a:gd name="connsiteX6" fmla="*/ 0 w 360797"/>
                  <a:gd name="connsiteY6" fmla="*/ 415471 h 516625"/>
                  <a:gd name="connsiteX7" fmla="*/ 132615 w 360797"/>
                  <a:gd name="connsiteY7" fmla="*/ 514824 h 516625"/>
                  <a:gd name="connsiteX8" fmla="*/ 262594 w 360797"/>
                  <a:gd name="connsiteY8" fmla="*/ 328427 h 516625"/>
                  <a:gd name="connsiteX9" fmla="*/ 286307 w 360797"/>
                  <a:gd name="connsiteY9" fmla="*/ 224678 h 516625"/>
                  <a:gd name="connsiteX10" fmla="*/ 309141 w 360797"/>
                  <a:gd name="connsiteY10" fmla="*/ 186871 h 516625"/>
                  <a:gd name="connsiteX11" fmla="*/ 355688 w 360797"/>
                  <a:gd name="connsiteY11" fmla="*/ 127083 h 516625"/>
                  <a:gd name="connsiteX12" fmla="*/ 339880 w 360797"/>
                  <a:gd name="connsiteY12" fmla="*/ 98069 h 516625"/>
                  <a:gd name="connsiteX13" fmla="*/ 279281 w 360797"/>
                  <a:gd name="connsiteY13" fmla="*/ 153460 h 516625"/>
                  <a:gd name="connsiteX14" fmla="*/ 346028 w 360797"/>
                  <a:gd name="connsiteY14" fmla="*/ 91914 h 516625"/>
                  <a:gd name="connsiteX15" fmla="*/ 335489 w 360797"/>
                  <a:gd name="connsiteY15" fmla="*/ 61141 h 516625"/>
                  <a:gd name="connsiteX16" fmla="*/ 262594 w 360797"/>
                  <a:gd name="connsiteY16" fmla="*/ 113016 h 516625"/>
                  <a:gd name="connsiteX17" fmla="*/ 329341 w 360797"/>
                  <a:gd name="connsiteY17" fmla="*/ 56745 h 516625"/>
                  <a:gd name="connsiteX18" fmla="*/ 302115 w 360797"/>
                  <a:gd name="connsiteY18" fmla="*/ 35643 h 516625"/>
                  <a:gd name="connsiteX19" fmla="*/ 247664 w 360797"/>
                  <a:gd name="connsiteY19" fmla="*/ 73450 h 516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60797" h="516625">
                    <a:moveTo>
                      <a:pt x="302994" y="35643"/>
                    </a:moveTo>
                    <a:cubicBezTo>
                      <a:pt x="302994" y="35643"/>
                      <a:pt x="328463" y="24213"/>
                      <a:pt x="319680" y="8387"/>
                    </a:cubicBezTo>
                    <a:cubicBezTo>
                      <a:pt x="311776" y="-7439"/>
                      <a:pt x="288942" y="3991"/>
                      <a:pt x="288942" y="3991"/>
                    </a:cubicBezTo>
                    <a:cubicBezTo>
                      <a:pt x="288942" y="3991"/>
                      <a:pt x="230978" y="35643"/>
                      <a:pt x="214291" y="47073"/>
                    </a:cubicBezTo>
                    <a:cubicBezTo>
                      <a:pt x="197605" y="58503"/>
                      <a:pt x="180918" y="84880"/>
                      <a:pt x="189700" y="149064"/>
                    </a:cubicBezTo>
                    <a:cubicBezTo>
                      <a:pt x="191457" y="180716"/>
                      <a:pt x="194970" y="210610"/>
                      <a:pt x="194970" y="210610"/>
                    </a:cubicBezTo>
                    <a:cubicBezTo>
                      <a:pt x="194970" y="232591"/>
                      <a:pt x="0" y="415471"/>
                      <a:pt x="0" y="415471"/>
                    </a:cubicBezTo>
                    <a:cubicBezTo>
                      <a:pt x="0" y="415471"/>
                      <a:pt x="26347" y="532409"/>
                      <a:pt x="132615" y="514824"/>
                    </a:cubicBezTo>
                    <a:lnTo>
                      <a:pt x="262594" y="328427"/>
                    </a:lnTo>
                    <a:cubicBezTo>
                      <a:pt x="283672" y="294137"/>
                      <a:pt x="285429" y="263364"/>
                      <a:pt x="286307" y="224678"/>
                    </a:cubicBezTo>
                    <a:cubicBezTo>
                      <a:pt x="290698" y="207973"/>
                      <a:pt x="304750" y="193026"/>
                      <a:pt x="309141" y="186871"/>
                    </a:cubicBezTo>
                    <a:cubicBezTo>
                      <a:pt x="309141" y="186871"/>
                      <a:pt x="344271" y="140272"/>
                      <a:pt x="355688" y="127083"/>
                    </a:cubicBezTo>
                    <a:cubicBezTo>
                      <a:pt x="367105" y="113895"/>
                      <a:pt x="358323" y="89276"/>
                      <a:pt x="339880" y="98069"/>
                    </a:cubicBezTo>
                    <a:cubicBezTo>
                      <a:pt x="329341" y="103344"/>
                      <a:pt x="279281" y="153460"/>
                      <a:pt x="279281" y="153460"/>
                    </a:cubicBezTo>
                    <a:lnTo>
                      <a:pt x="346028" y="91914"/>
                    </a:lnTo>
                    <a:cubicBezTo>
                      <a:pt x="353053" y="85759"/>
                      <a:pt x="352175" y="55866"/>
                      <a:pt x="335489" y="61141"/>
                    </a:cubicBezTo>
                    <a:cubicBezTo>
                      <a:pt x="324071" y="64658"/>
                      <a:pt x="262594" y="113016"/>
                      <a:pt x="262594" y="113016"/>
                    </a:cubicBezTo>
                    <a:lnTo>
                      <a:pt x="329341" y="56745"/>
                    </a:lnTo>
                    <a:cubicBezTo>
                      <a:pt x="339880" y="45315"/>
                      <a:pt x="329341" y="18059"/>
                      <a:pt x="302115" y="35643"/>
                    </a:cubicBezTo>
                    <a:cubicBezTo>
                      <a:pt x="274890" y="53228"/>
                      <a:pt x="272255" y="53228"/>
                      <a:pt x="247664" y="73450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1677C6ED-74ED-B71C-DD88-E31E60837823}"/>
                  </a:ext>
                </a:extLst>
              </p:cNvPr>
              <p:cNvSpPr/>
              <p:nvPr/>
            </p:nvSpPr>
            <p:spPr>
              <a:xfrm>
                <a:off x="-11478552" y="3895859"/>
                <a:ext cx="167744" cy="84406"/>
              </a:xfrm>
              <a:custGeom>
                <a:avLst/>
                <a:gdLst>
                  <a:gd name="connsiteX0" fmla="*/ 123832 w 167744"/>
                  <a:gd name="connsiteY0" fmla="*/ 84406 h 84406"/>
                  <a:gd name="connsiteX1" fmla="*/ 167744 w 167744"/>
                  <a:gd name="connsiteY1" fmla="*/ 21981 h 84406"/>
                  <a:gd name="connsiteX2" fmla="*/ 62355 w 167744"/>
                  <a:gd name="connsiteY2" fmla="*/ 0 h 84406"/>
                  <a:gd name="connsiteX3" fmla="*/ 0 w 167744"/>
                  <a:gd name="connsiteY3" fmla="*/ 2638 h 84406"/>
                  <a:gd name="connsiteX4" fmla="*/ 123832 w 167744"/>
                  <a:gd name="connsiteY4" fmla="*/ 83527 h 84406"/>
                  <a:gd name="connsiteX5" fmla="*/ 123832 w 167744"/>
                  <a:gd name="connsiteY5" fmla="*/ 83527 h 8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744" h="84406">
                    <a:moveTo>
                      <a:pt x="123832" y="84406"/>
                    </a:moveTo>
                    <a:lnTo>
                      <a:pt x="167744" y="21981"/>
                    </a:lnTo>
                    <a:lnTo>
                      <a:pt x="62355" y="0"/>
                    </a:lnTo>
                    <a:cubicBezTo>
                      <a:pt x="62355" y="0"/>
                      <a:pt x="26347" y="2638"/>
                      <a:pt x="0" y="2638"/>
                    </a:cubicBezTo>
                    <a:cubicBezTo>
                      <a:pt x="50938" y="60667"/>
                      <a:pt x="123832" y="83527"/>
                      <a:pt x="123832" y="83527"/>
                    </a:cubicBezTo>
                    <a:lnTo>
                      <a:pt x="123832" y="8352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5399889D-4ABE-A104-9C74-6C76977C2058}"/>
                </a:ext>
              </a:extLst>
            </p:cNvPr>
            <p:cNvSpPr/>
            <p:nvPr/>
          </p:nvSpPr>
          <p:spPr>
            <a:xfrm>
              <a:off x="-11431157" y="3442176"/>
              <a:ext cx="73802" cy="454562"/>
            </a:xfrm>
            <a:custGeom>
              <a:avLst/>
              <a:gdLst>
                <a:gd name="connsiteX0" fmla="*/ 14960 w 73802"/>
                <a:gd name="connsiteY0" fmla="*/ 454562 h 454562"/>
                <a:gd name="connsiteX1" fmla="*/ 30 w 73802"/>
                <a:gd name="connsiteY1" fmla="*/ 398291 h 454562"/>
                <a:gd name="connsiteX2" fmla="*/ 73802 w 73802"/>
                <a:gd name="connsiteY2" fmla="*/ 0 h 45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802" h="454562">
                  <a:moveTo>
                    <a:pt x="14960" y="454562"/>
                  </a:moveTo>
                  <a:cubicBezTo>
                    <a:pt x="30" y="437857"/>
                    <a:pt x="30" y="430823"/>
                    <a:pt x="30" y="398291"/>
                  </a:cubicBezTo>
                  <a:cubicBezTo>
                    <a:pt x="-1726" y="251460"/>
                    <a:pt x="73802" y="134522"/>
                    <a:pt x="73802" y="0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8A87C95-C1B8-F74B-A894-7052D4E0E3C5}"/>
                </a:ext>
              </a:extLst>
            </p:cNvPr>
            <p:cNvSpPr/>
            <p:nvPr/>
          </p:nvSpPr>
          <p:spPr>
            <a:xfrm>
              <a:off x="-12279509" y="3211427"/>
              <a:ext cx="132614" cy="54023"/>
            </a:xfrm>
            <a:custGeom>
              <a:avLst/>
              <a:gdLst>
                <a:gd name="connsiteX0" fmla="*/ 132615 w 132614"/>
                <a:gd name="connsiteY0" fmla="*/ 3908 h 54023"/>
                <a:gd name="connsiteX1" fmla="*/ 92215 w 132614"/>
                <a:gd name="connsiteY1" fmla="*/ 3908 h 54023"/>
                <a:gd name="connsiteX2" fmla="*/ 0 w 132614"/>
                <a:gd name="connsiteY2" fmla="*/ 54024 h 54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2614" h="54023">
                  <a:moveTo>
                    <a:pt x="132615" y="3908"/>
                  </a:moveTo>
                  <a:cubicBezTo>
                    <a:pt x="132615" y="3908"/>
                    <a:pt x="118563" y="-4885"/>
                    <a:pt x="92215" y="3908"/>
                  </a:cubicBezTo>
                  <a:cubicBezTo>
                    <a:pt x="74651" y="9183"/>
                    <a:pt x="0" y="54024"/>
                    <a:pt x="0" y="54024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5604761-EAD5-20C4-9BF0-3CB5FFF3C7D1}"/>
                </a:ext>
              </a:extLst>
            </p:cNvPr>
            <p:cNvSpPr/>
            <p:nvPr/>
          </p:nvSpPr>
          <p:spPr>
            <a:xfrm>
              <a:off x="-12031845" y="3319084"/>
              <a:ext cx="21923" cy="111662"/>
            </a:xfrm>
            <a:custGeom>
              <a:avLst/>
              <a:gdLst>
                <a:gd name="connsiteX0" fmla="*/ 5270 w 21923"/>
                <a:gd name="connsiteY0" fmla="*/ 0 h 111662"/>
                <a:gd name="connsiteX1" fmla="*/ 21078 w 21923"/>
                <a:gd name="connsiteY1" fmla="*/ 50116 h 111662"/>
                <a:gd name="connsiteX2" fmla="*/ 0 w 21923"/>
                <a:gd name="connsiteY2" fmla="*/ 111662 h 11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23" h="111662">
                  <a:moveTo>
                    <a:pt x="5270" y="0"/>
                  </a:moveTo>
                  <a:cubicBezTo>
                    <a:pt x="5270" y="0"/>
                    <a:pt x="26347" y="28135"/>
                    <a:pt x="21078" y="50116"/>
                  </a:cubicBezTo>
                  <a:cubicBezTo>
                    <a:pt x="15808" y="72976"/>
                    <a:pt x="0" y="111662"/>
                    <a:pt x="0" y="11166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aphic 6">
            <a:extLst>
              <a:ext uri="{FF2B5EF4-FFF2-40B4-BE49-F238E27FC236}">
                <a16:creationId xmlns:a16="http://schemas.microsoft.com/office/drawing/2014/main" id="{3CA7EC87-FF3E-BEC8-FC77-3F3ABB62EE10}"/>
              </a:ext>
            </a:extLst>
          </p:cNvPr>
          <p:cNvGrpSpPr/>
          <p:nvPr/>
        </p:nvGrpSpPr>
        <p:grpSpPr>
          <a:xfrm>
            <a:off x="-13480067" y="1704817"/>
            <a:ext cx="6848491" cy="4096335"/>
            <a:chOff x="-13480067" y="1704817"/>
            <a:chExt cx="6848491" cy="4096335"/>
          </a:xfrm>
        </p:grpSpPr>
        <p:grpSp>
          <p:nvGrpSpPr>
            <p:cNvPr id="28" name="Graphic 6">
              <a:extLst>
                <a:ext uri="{FF2B5EF4-FFF2-40B4-BE49-F238E27FC236}">
                  <a16:creationId xmlns:a16="http://schemas.microsoft.com/office/drawing/2014/main" id="{87C8F1F2-22A1-EFB7-8759-C80042903FF1}"/>
                </a:ext>
              </a:extLst>
            </p:cNvPr>
            <p:cNvGrpSpPr/>
            <p:nvPr/>
          </p:nvGrpSpPr>
          <p:grpSpPr>
            <a:xfrm>
              <a:off x="-11320983" y="2416072"/>
              <a:ext cx="2648676" cy="3385079"/>
              <a:chOff x="-11320983" y="2416072"/>
              <a:chExt cx="2648676" cy="3385079"/>
            </a:xfrm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2192FDD5-8B07-E830-CF59-290113EA5574}"/>
                  </a:ext>
                </a:extLst>
              </p:cNvPr>
              <p:cNvSpPr/>
              <p:nvPr/>
            </p:nvSpPr>
            <p:spPr>
              <a:xfrm>
                <a:off x="-11054367" y="2416072"/>
                <a:ext cx="548029" cy="562749"/>
              </a:xfrm>
              <a:custGeom>
                <a:avLst/>
                <a:gdLst>
                  <a:gd name="connsiteX0" fmla="*/ 498848 w 548029"/>
                  <a:gd name="connsiteY0" fmla="*/ 203144 h 562749"/>
                  <a:gd name="connsiteX1" fmla="*/ 468109 w 548029"/>
                  <a:gd name="connsiteY1" fmla="*/ 58950 h 562749"/>
                  <a:gd name="connsiteX2" fmla="*/ 364477 w 548029"/>
                  <a:gd name="connsiteY2" fmla="*/ 7075 h 562749"/>
                  <a:gd name="connsiteX3" fmla="*/ 335495 w 548029"/>
                  <a:gd name="connsiteY3" fmla="*/ 1800 h 562749"/>
                  <a:gd name="connsiteX4" fmla="*/ 277531 w 548029"/>
                  <a:gd name="connsiteY4" fmla="*/ 3559 h 562749"/>
                  <a:gd name="connsiteX5" fmla="*/ 164237 w 548029"/>
                  <a:gd name="connsiteY5" fmla="*/ 77414 h 562749"/>
                  <a:gd name="connsiteX6" fmla="*/ 6 w 548029"/>
                  <a:gd name="connsiteY6" fmla="*/ 562749 h 562749"/>
                  <a:gd name="connsiteX7" fmla="*/ 289826 w 548029"/>
                  <a:gd name="connsiteY7" fmla="*/ 562749 h 562749"/>
                  <a:gd name="connsiteX8" fmla="*/ 272261 w 548029"/>
                  <a:gd name="connsiteY8" fmla="*/ 490652 h 562749"/>
                  <a:gd name="connsiteX9" fmla="*/ 403120 w 548029"/>
                  <a:gd name="connsiteY9" fmla="*/ 492411 h 562749"/>
                  <a:gd name="connsiteX10" fmla="*/ 548030 w 548029"/>
                  <a:gd name="connsiteY10" fmla="*/ 524063 h 562749"/>
                  <a:gd name="connsiteX11" fmla="*/ 498848 w 548029"/>
                  <a:gd name="connsiteY11" fmla="*/ 203144 h 562749"/>
                  <a:gd name="connsiteX12" fmla="*/ 498848 w 548029"/>
                  <a:gd name="connsiteY12" fmla="*/ 203144 h 56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8029" h="562749">
                    <a:moveTo>
                      <a:pt x="498848" y="203144"/>
                    </a:moveTo>
                    <a:cubicBezTo>
                      <a:pt x="504996" y="163579"/>
                      <a:pt x="507630" y="93240"/>
                      <a:pt x="468109" y="58950"/>
                    </a:cubicBezTo>
                    <a:cubicBezTo>
                      <a:pt x="426832" y="22902"/>
                      <a:pt x="384676" y="10592"/>
                      <a:pt x="364477" y="7075"/>
                    </a:cubicBezTo>
                    <a:cubicBezTo>
                      <a:pt x="354816" y="4438"/>
                      <a:pt x="345155" y="2679"/>
                      <a:pt x="335495" y="1800"/>
                    </a:cubicBezTo>
                    <a:cubicBezTo>
                      <a:pt x="317052" y="-838"/>
                      <a:pt x="296852" y="-838"/>
                      <a:pt x="277531" y="3559"/>
                    </a:cubicBezTo>
                    <a:cubicBezTo>
                      <a:pt x="231862" y="11472"/>
                      <a:pt x="190585" y="36090"/>
                      <a:pt x="164237" y="77414"/>
                    </a:cubicBezTo>
                    <a:cubicBezTo>
                      <a:pt x="91343" y="189955"/>
                      <a:pt x="-872" y="451087"/>
                      <a:pt x="6" y="562749"/>
                    </a:cubicBezTo>
                    <a:lnTo>
                      <a:pt x="289826" y="562749"/>
                    </a:lnTo>
                    <a:cubicBezTo>
                      <a:pt x="278409" y="546923"/>
                      <a:pt x="274018" y="521425"/>
                      <a:pt x="272261" y="490652"/>
                    </a:cubicBezTo>
                    <a:cubicBezTo>
                      <a:pt x="337251" y="494169"/>
                      <a:pt x="397850" y="490652"/>
                      <a:pt x="403120" y="492411"/>
                    </a:cubicBezTo>
                    <a:cubicBezTo>
                      <a:pt x="456692" y="501203"/>
                      <a:pt x="544517" y="537252"/>
                      <a:pt x="548030" y="524063"/>
                    </a:cubicBezTo>
                    <a:cubicBezTo>
                      <a:pt x="505874" y="412401"/>
                      <a:pt x="512900" y="300739"/>
                      <a:pt x="498848" y="203144"/>
                    </a:cubicBezTo>
                    <a:lnTo>
                      <a:pt x="498848" y="203144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69D8ACA1-1DC9-3C2A-FBB5-068882EB8000}"/>
                  </a:ext>
                </a:extLst>
              </p:cNvPr>
              <p:cNvSpPr/>
              <p:nvPr/>
            </p:nvSpPr>
            <p:spPr>
              <a:xfrm>
                <a:off x="-10853243" y="2453042"/>
                <a:ext cx="330414" cy="535451"/>
              </a:xfrm>
              <a:custGeom>
                <a:avLst/>
                <a:gdLst>
                  <a:gd name="connsiteX0" fmla="*/ 328463 w 330414"/>
                  <a:gd name="connsiteY0" fmla="*/ 203982 h 535451"/>
                  <a:gd name="connsiteX1" fmla="*/ 328463 w 330414"/>
                  <a:gd name="connsiteY1" fmla="*/ 189035 h 535451"/>
                  <a:gd name="connsiteX2" fmla="*/ 288942 w 330414"/>
                  <a:gd name="connsiteY2" fmla="*/ 144194 h 535451"/>
                  <a:gd name="connsiteX3" fmla="*/ 287185 w 330414"/>
                  <a:gd name="connsiteY3" fmla="*/ 138918 h 535451"/>
                  <a:gd name="connsiteX4" fmla="*/ 229221 w 330414"/>
                  <a:gd name="connsiteY4" fmla="*/ 22860 h 535451"/>
                  <a:gd name="connsiteX5" fmla="*/ 193213 w 330414"/>
                  <a:gd name="connsiteY5" fmla="*/ 0 h 535451"/>
                  <a:gd name="connsiteX6" fmla="*/ 188822 w 330414"/>
                  <a:gd name="connsiteY6" fmla="*/ 1759 h 535451"/>
                  <a:gd name="connsiteX7" fmla="*/ 143153 w 330414"/>
                  <a:gd name="connsiteY7" fmla="*/ 187276 h 535451"/>
                  <a:gd name="connsiteX8" fmla="*/ 90459 w 330414"/>
                  <a:gd name="connsiteY8" fmla="*/ 154745 h 535451"/>
                  <a:gd name="connsiteX9" fmla="*/ 87824 w 330414"/>
                  <a:gd name="connsiteY9" fmla="*/ 243547 h 535451"/>
                  <a:gd name="connsiteX10" fmla="*/ 92215 w 330414"/>
                  <a:gd name="connsiteY10" fmla="*/ 248822 h 535451"/>
                  <a:gd name="connsiteX11" fmla="*/ 0 w 330414"/>
                  <a:gd name="connsiteY11" fmla="*/ 451925 h 535451"/>
                  <a:gd name="connsiteX12" fmla="*/ 191457 w 330414"/>
                  <a:gd name="connsiteY12" fmla="*/ 535452 h 535451"/>
                  <a:gd name="connsiteX13" fmla="*/ 223074 w 330414"/>
                  <a:gd name="connsiteY13" fmla="*/ 326195 h 535451"/>
                  <a:gd name="connsiteX14" fmla="*/ 234491 w 330414"/>
                  <a:gd name="connsiteY14" fmla="*/ 327074 h 535451"/>
                  <a:gd name="connsiteX15" fmla="*/ 295090 w 330414"/>
                  <a:gd name="connsiteY15" fmla="*/ 330591 h 535451"/>
                  <a:gd name="connsiteX16" fmla="*/ 316167 w 330414"/>
                  <a:gd name="connsiteY16" fmla="*/ 283112 h 535451"/>
                  <a:gd name="connsiteX17" fmla="*/ 327584 w 330414"/>
                  <a:gd name="connsiteY17" fmla="*/ 272562 h 535451"/>
                  <a:gd name="connsiteX18" fmla="*/ 307385 w 330414"/>
                  <a:gd name="connsiteY18" fmla="*/ 255856 h 535451"/>
                  <a:gd name="connsiteX19" fmla="*/ 326706 w 330414"/>
                  <a:gd name="connsiteY19" fmla="*/ 233875 h 535451"/>
                  <a:gd name="connsiteX20" fmla="*/ 317046 w 330414"/>
                  <a:gd name="connsiteY20" fmla="*/ 220687 h 535451"/>
                  <a:gd name="connsiteX21" fmla="*/ 317924 w 330414"/>
                  <a:gd name="connsiteY21" fmla="*/ 211015 h 535451"/>
                  <a:gd name="connsiteX22" fmla="*/ 328463 w 330414"/>
                  <a:gd name="connsiteY22" fmla="*/ 202223 h 535451"/>
                  <a:gd name="connsiteX23" fmla="*/ 328463 w 330414"/>
                  <a:gd name="connsiteY23" fmla="*/ 202223 h 535451"/>
                  <a:gd name="connsiteX24" fmla="*/ 328463 w 330414"/>
                  <a:gd name="connsiteY24" fmla="*/ 203982 h 535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0414" h="535451">
                    <a:moveTo>
                      <a:pt x="328463" y="203982"/>
                    </a:moveTo>
                    <a:cubicBezTo>
                      <a:pt x="328463" y="203982"/>
                      <a:pt x="332854" y="196068"/>
                      <a:pt x="328463" y="189035"/>
                    </a:cubicBezTo>
                    <a:lnTo>
                      <a:pt x="288942" y="144194"/>
                    </a:lnTo>
                    <a:cubicBezTo>
                      <a:pt x="288063" y="142435"/>
                      <a:pt x="287185" y="140677"/>
                      <a:pt x="287185" y="138918"/>
                    </a:cubicBezTo>
                    <a:cubicBezTo>
                      <a:pt x="281916" y="63305"/>
                      <a:pt x="229221" y="22860"/>
                      <a:pt x="229221" y="22860"/>
                    </a:cubicBezTo>
                    <a:cubicBezTo>
                      <a:pt x="214291" y="11430"/>
                      <a:pt x="200239" y="3517"/>
                      <a:pt x="193213" y="0"/>
                    </a:cubicBezTo>
                    <a:cubicBezTo>
                      <a:pt x="191457" y="0"/>
                      <a:pt x="190578" y="0"/>
                      <a:pt x="188822" y="1759"/>
                    </a:cubicBezTo>
                    <a:cubicBezTo>
                      <a:pt x="156327" y="80889"/>
                      <a:pt x="143153" y="187276"/>
                      <a:pt x="143153" y="187276"/>
                    </a:cubicBezTo>
                    <a:cubicBezTo>
                      <a:pt x="143153" y="187276"/>
                      <a:pt x="123832" y="136281"/>
                      <a:pt x="90459" y="154745"/>
                    </a:cubicBezTo>
                    <a:cubicBezTo>
                      <a:pt x="65868" y="167933"/>
                      <a:pt x="62355" y="210136"/>
                      <a:pt x="87824" y="243547"/>
                    </a:cubicBezTo>
                    <a:cubicBezTo>
                      <a:pt x="89581" y="245305"/>
                      <a:pt x="91337" y="247064"/>
                      <a:pt x="92215" y="248822"/>
                    </a:cubicBezTo>
                    <a:cubicBezTo>
                      <a:pt x="86068" y="286629"/>
                      <a:pt x="64112" y="383345"/>
                      <a:pt x="0" y="451925"/>
                    </a:cubicBezTo>
                    <a:cubicBezTo>
                      <a:pt x="23712" y="506437"/>
                      <a:pt x="104511" y="523142"/>
                      <a:pt x="191457" y="535452"/>
                    </a:cubicBezTo>
                    <a:cubicBezTo>
                      <a:pt x="191457" y="535452"/>
                      <a:pt x="214291" y="389499"/>
                      <a:pt x="223074" y="326195"/>
                    </a:cubicBezTo>
                    <a:cubicBezTo>
                      <a:pt x="230099" y="326195"/>
                      <a:pt x="234491" y="327074"/>
                      <a:pt x="234491" y="327074"/>
                    </a:cubicBezTo>
                    <a:cubicBezTo>
                      <a:pt x="254690" y="329712"/>
                      <a:pt x="275768" y="331470"/>
                      <a:pt x="295090" y="330591"/>
                    </a:cubicBezTo>
                    <a:cubicBezTo>
                      <a:pt x="295090" y="330591"/>
                      <a:pt x="338123" y="328832"/>
                      <a:pt x="316167" y="283112"/>
                    </a:cubicBezTo>
                    <a:lnTo>
                      <a:pt x="327584" y="272562"/>
                    </a:lnTo>
                    <a:cubicBezTo>
                      <a:pt x="327584" y="272562"/>
                      <a:pt x="331097" y="262011"/>
                      <a:pt x="307385" y="255856"/>
                    </a:cubicBezTo>
                    <a:cubicBezTo>
                      <a:pt x="307385" y="255856"/>
                      <a:pt x="332854" y="246185"/>
                      <a:pt x="326706" y="233875"/>
                    </a:cubicBezTo>
                    <a:lnTo>
                      <a:pt x="317046" y="220687"/>
                    </a:lnTo>
                    <a:cubicBezTo>
                      <a:pt x="315289" y="218049"/>
                      <a:pt x="315289" y="213653"/>
                      <a:pt x="317924" y="211015"/>
                    </a:cubicBezTo>
                    <a:lnTo>
                      <a:pt x="328463" y="202223"/>
                    </a:lnTo>
                    <a:lnTo>
                      <a:pt x="328463" y="202223"/>
                    </a:lnTo>
                    <a:lnTo>
                      <a:pt x="328463" y="203982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887A6B2D-C598-9536-9D00-842D84FBE488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8D0F6A89-6E26-F3DA-2D28-0F9EEEC5DB6D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91DE33A6-7F2F-DF78-97BA-F261BAD873CD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0F398EA-F39C-EE9E-EDBF-7458FF834A92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FC4E7B99-CD43-1A77-2B44-4625FAFB45CE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65EAF2A-672B-DFCE-545B-B6CE8F1EDB30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26AAEF3C-384C-5273-AAA1-3103843B0768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B8BC15A9-B73A-1686-4932-A9D4B988B16B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90B6BF9D-A681-ED35-AF14-69CFE8252E6D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7D122BE3-6673-D331-6E8E-FB01334F1D4A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D06E2B6F-6409-434F-49D1-A09FDB2D6C45}"/>
                  </a:ext>
                </a:extLst>
              </p:cNvPr>
              <p:cNvSpPr/>
              <p:nvPr/>
            </p:nvSpPr>
            <p:spPr>
              <a:xfrm>
                <a:off x="-10164051" y="2785601"/>
                <a:ext cx="173697" cy="310719"/>
              </a:xfrm>
              <a:custGeom>
                <a:avLst/>
                <a:gdLst>
                  <a:gd name="connsiteX0" fmla="*/ 170607 w 173697"/>
                  <a:gd name="connsiteY0" fmla="*/ 68370 h 310719"/>
                  <a:gd name="connsiteX1" fmla="*/ 155677 w 173697"/>
                  <a:gd name="connsiteY1" fmla="*/ 77162 h 310719"/>
                  <a:gd name="connsiteX2" fmla="*/ 137234 w 173697"/>
                  <a:gd name="connsiteY2" fmla="*/ 135192 h 310719"/>
                  <a:gd name="connsiteX3" fmla="*/ 139869 w 173697"/>
                  <a:gd name="connsiteY3" fmla="*/ 28805 h 310719"/>
                  <a:gd name="connsiteX4" fmla="*/ 124061 w 173697"/>
                  <a:gd name="connsiteY4" fmla="*/ 42873 h 310719"/>
                  <a:gd name="connsiteX5" fmla="*/ 115278 w 173697"/>
                  <a:gd name="connsiteY5" fmla="*/ 100902 h 310719"/>
                  <a:gd name="connsiteX6" fmla="*/ 110887 w 173697"/>
                  <a:gd name="connsiteY6" fmla="*/ 119366 h 310719"/>
                  <a:gd name="connsiteX7" fmla="*/ 101226 w 173697"/>
                  <a:gd name="connsiteY7" fmla="*/ 2428 h 310719"/>
                  <a:gd name="connsiteX8" fmla="*/ 84540 w 173697"/>
                  <a:gd name="connsiteY8" fmla="*/ 34080 h 310719"/>
                  <a:gd name="connsiteX9" fmla="*/ 84540 w 173697"/>
                  <a:gd name="connsiteY9" fmla="*/ 100902 h 310719"/>
                  <a:gd name="connsiteX10" fmla="*/ 81905 w 173697"/>
                  <a:gd name="connsiteY10" fmla="*/ 105298 h 310719"/>
                  <a:gd name="connsiteX11" fmla="*/ 65218 w 173697"/>
                  <a:gd name="connsiteY11" fmla="*/ 25288 h 310719"/>
                  <a:gd name="connsiteX12" fmla="*/ 49410 w 173697"/>
                  <a:gd name="connsiteY12" fmla="*/ 25288 h 310719"/>
                  <a:gd name="connsiteX13" fmla="*/ 47654 w 173697"/>
                  <a:gd name="connsiteY13" fmla="*/ 133433 h 310719"/>
                  <a:gd name="connsiteX14" fmla="*/ 37993 w 173697"/>
                  <a:gd name="connsiteY14" fmla="*/ 156293 h 310719"/>
                  <a:gd name="connsiteX15" fmla="*/ 29210 w 173697"/>
                  <a:gd name="connsiteY15" fmla="*/ 119366 h 310719"/>
                  <a:gd name="connsiteX16" fmla="*/ 3741 w 173697"/>
                  <a:gd name="connsiteY16" fmla="*/ 84196 h 310719"/>
                  <a:gd name="connsiteX17" fmla="*/ 228 w 173697"/>
                  <a:gd name="connsiteY17" fmla="*/ 88592 h 310719"/>
                  <a:gd name="connsiteX18" fmla="*/ 1985 w 173697"/>
                  <a:gd name="connsiteY18" fmla="*/ 151897 h 310719"/>
                  <a:gd name="connsiteX19" fmla="*/ 1985 w 173697"/>
                  <a:gd name="connsiteY19" fmla="*/ 151897 h 310719"/>
                  <a:gd name="connsiteX20" fmla="*/ 7254 w 173697"/>
                  <a:gd name="connsiteY20" fmla="*/ 185308 h 310719"/>
                  <a:gd name="connsiteX21" fmla="*/ 35358 w 173697"/>
                  <a:gd name="connsiteY21" fmla="*/ 294332 h 310719"/>
                  <a:gd name="connsiteX22" fmla="*/ 37993 w 173697"/>
                  <a:gd name="connsiteY22" fmla="*/ 296970 h 310719"/>
                  <a:gd name="connsiteX23" fmla="*/ 108252 w 173697"/>
                  <a:gd name="connsiteY23" fmla="*/ 310159 h 310719"/>
                  <a:gd name="connsiteX24" fmla="*/ 132843 w 173697"/>
                  <a:gd name="connsiteY24" fmla="*/ 251250 h 310719"/>
                  <a:gd name="connsiteX25" fmla="*/ 155677 w 173697"/>
                  <a:gd name="connsiteY25" fmla="*/ 182670 h 310719"/>
                  <a:gd name="connsiteX26" fmla="*/ 161825 w 173697"/>
                  <a:gd name="connsiteY26" fmla="*/ 159810 h 310719"/>
                  <a:gd name="connsiteX27" fmla="*/ 169729 w 173697"/>
                  <a:gd name="connsiteY27" fmla="*/ 70129 h 310719"/>
                  <a:gd name="connsiteX28" fmla="*/ 169729 w 173697"/>
                  <a:gd name="connsiteY28" fmla="*/ 70129 h 310719"/>
                  <a:gd name="connsiteX29" fmla="*/ 169729 w 173697"/>
                  <a:gd name="connsiteY29" fmla="*/ 68370 h 310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73697" h="310719">
                    <a:moveTo>
                      <a:pt x="170607" y="68370"/>
                    </a:moveTo>
                    <a:cubicBezTo>
                      <a:pt x="158312" y="56940"/>
                      <a:pt x="155677" y="77162"/>
                      <a:pt x="155677" y="77162"/>
                    </a:cubicBezTo>
                    <a:cubicBezTo>
                      <a:pt x="155677" y="77162"/>
                      <a:pt x="145138" y="125520"/>
                      <a:pt x="137234" y="135192"/>
                    </a:cubicBezTo>
                    <a:cubicBezTo>
                      <a:pt x="138112" y="129037"/>
                      <a:pt x="155677" y="56061"/>
                      <a:pt x="139869" y="28805"/>
                    </a:cubicBezTo>
                    <a:cubicBezTo>
                      <a:pt x="139869" y="28805"/>
                      <a:pt x="124061" y="13858"/>
                      <a:pt x="124061" y="42873"/>
                    </a:cubicBezTo>
                    <a:cubicBezTo>
                      <a:pt x="124061" y="71887"/>
                      <a:pt x="115278" y="100902"/>
                      <a:pt x="115278" y="100902"/>
                    </a:cubicBezTo>
                    <a:lnTo>
                      <a:pt x="110887" y="119366"/>
                    </a:lnTo>
                    <a:cubicBezTo>
                      <a:pt x="110887" y="119366"/>
                      <a:pt x="118791" y="15616"/>
                      <a:pt x="101226" y="2428"/>
                    </a:cubicBezTo>
                    <a:cubicBezTo>
                      <a:pt x="83662" y="-10761"/>
                      <a:pt x="84540" y="34080"/>
                      <a:pt x="84540" y="34080"/>
                    </a:cubicBezTo>
                    <a:cubicBezTo>
                      <a:pt x="84540" y="34080"/>
                      <a:pt x="87174" y="86834"/>
                      <a:pt x="84540" y="100902"/>
                    </a:cubicBezTo>
                    <a:lnTo>
                      <a:pt x="81905" y="105298"/>
                    </a:lnTo>
                    <a:cubicBezTo>
                      <a:pt x="81905" y="105298"/>
                      <a:pt x="76635" y="40235"/>
                      <a:pt x="65218" y="25288"/>
                    </a:cubicBezTo>
                    <a:cubicBezTo>
                      <a:pt x="54679" y="10341"/>
                      <a:pt x="49410" y="13858"/>
                      <a:pt x="49410" y="25288"/>
                    </a:cubicBezTo>
                    <a:cubicBezTo>
                      <a:pt x="49410" y="36718"/>
                      <a:pt x="52923" y="120245"/>
                      <a:pt x="47654" y="133433"/>
                    </a:cubicBezTo>
                    <a:cubicBezTo>
                      <a:pt x="46775" y="136071"/>
                      <a:pt x="42384" y="148380"/>
                      <a:pt x="37993" y="156293"/>
                    </a:cubicBezTo>
                    <a:cubicBezTo>
                      <a:pt x="33602" y="144863"/>
                      <a:pt x="30089" y="128158"/>
                      <a:pt x="29210" y="119366"/>
                    </a:cubicBezTo>
                    <a:cubicBezTo>
                      <a:pt x="29210" y="92109"/>
                      <a:pt x="12524" y="85955"/>
                      <a:pt x="3741" y="84196"/>
                    </a:cubicBezTo>
                    <a:cubicBezTo>
                      <a:pt x="1107" y="84196"/>
                      <a:pt x="-650" y="85955"/>
                      <a:pt x="228" y="88592"/>
                    </a:cubicBezTo>
                    <a:cubicBezTo>
                      <a:pt x="6376" y="107056"/>
                      <a:pt x="3741" y="129916"/>
                      <a:pt x="1985" y="151897"/>
                    </a:cubicBezTo>
                    <a:lnTo>
                      <a:pt x="1985" y="151897"/>
                    </a:lnTo>
                    <a:cubicBezTo>
                      <a:pt x="1985" y="153656"/>
                      <a:pt x="1985" y="171240"/>
                      <a:pt x="7254" y="185308"/>
                    </a:cubicBezTo>
                    <a:cubicBezTo>
                      <a:pt x="11646" y="198496"/>
                      <a:pt x="32723" y="281144"/>
                      <a:pt x="35358" y="294332"/>
                    </a:cubicBezTo>
                    <a:cubicBezTo>
                      <a:pt x="35358" y="295212"/>
                      <a:pt x="36236" y="296091"/>
                      <a:pt x="37993" y="296970"/>
                    </a:cubicBezTo>
                    <a:cubicBezTo>
                      <a:pt x="48532" y="299608"/>
                      <a:pt x="102983" y="313676"/>
                      <a:pt x="108252" y="310159"/>
                    </a:cubicBezTo>
                    <a:cubicBezTo>
                      <a:pt x="117913" y="304004"/>
                      <a:pt x="122304" y="275869"/>
                      <a:pt x="132843" y="251250"/>
                    </a:cubicBezTo>
                    <a:cubicBezTo>
                      <a:pt x="150408" y="205530"/>
                      <a:pt x="154799" y="183549"/>
                      <a:pt x="155677" y="182670"/>
                    </a:cubicBezTo>
                    <a:lnTo>
                      <a:pt x="161825" y="159810"/>
                    </a:lnTo>
                    <a:cubicBezTo>
                      <a:pt x="161825" y="157173"/>
                      <a:pt x="182025" y="81559"/>
                      <a:pt x="169729" y="70129"/>
                    </a:cubicBezTo>
                    <a:lnTo>
                      <a:pt x="169729" y="70129"/>
                    </a:lnTo>
                    <a:lnTo>
                      <a:pt x="169729" y="68370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5C4547AB-6221-640A-3047-B5BABA5750BB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solidFill>
                <a:srgbClr val="F9C1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6CFBE817-DBDE-5CB8-8B52-5BAAC746E0E4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15A5FB3B-20D5-A55E-357E-7D4D886EADA3}"/>
                  </a:ext>
                </a:extLst>
              </p:cNvPr>
              <p:cNvSpPr/>
              <p:nvPr/>
            </p:nvSpPr>
            <p:spPr>
              <a:xfrm>
                <a:off x="-11320983" y="2913759"/>
                <a:ext cx="1280114" cy="783067"/>
              </a:xfrm>
              <a:custGeom>
                <a:avLst/>
                <a:gdLst>
                  <a:gd name="connsiteX0" fmla="*/ 376403 w 1280114"/>
                  <a:gd name="connsiteY0" fmla="*/ 725365 h 783067"/>
                  <a:gd name="connsiteX1" fmla="*/ 861193 w 1280114"/>
                  <a:gd name="connsiteY1" fmla="*/ 701626 h 783067"/>
                  <a:gd name="connsiteX2" fmla="*/ 848897 w 1280114"/>
                  <a:gd name="connsiteY2" fmla="*/ 524022 h 783067"/>
                  <a:gd name="connsiteX3" fmla="*/ 956921 w 1280114"/>
                  <a:gd name="connsiteY3" fmla="*/ 707781 h 783067"/>
                  <a:gd name="connsiteX4" fmla="*/ 1126422 w 1280114"/>
                  <a:gd name="connsiteY4" fmla="*/ 610186 h 783067"/>
                  <a:gd name="connsiteX5" fmla="*/ 1280115 w 1280114"/>
                  <a:gd name="connsiteY5" fmla="*/ 168812 h 783067"/>
                  <a:gd name="connsiteX6" fmla="*/ 1184386 w 1280114"/>
                  <a:gd name="connsiteY6" fmla="*/ 145952 h 783067"/>
                  <a:gd name="connsiteX7" fmla="*/ 1184386 w 1280114"/>
                  <a:gd name="connsiteY7" fmla="*/ 145952 h 783067"/>
                  <a:gd name="connsiteX8" fmla="*/ 1021033 w 1280114"/>
                  <a:gd name="connsiteY8" fmla="*/ 406205 h 783067"/>
                  <a:gd name="connsiteX9" fmla="*/ 989416 w 1280114"/>
                  <a:gd name="connsiteY9" fmla="*/ 291905 h 783067"/>
                  <a:gd name="connsiteX10" fmla="*/ 933209 w 1280114"/>
                  <a:gd name="connsiteY10" fmla="*/ 124851 h 783067"/>
                  <a:gd name="connsiteX11" fmla="*/ 858558 w 1280114"/>
                  <a:gd name="connsiteY11" fmla="*/ 50995 h 783067"/>
                  <a:gd name="connsiteX12" fmla="*/ 807620 w 1280114"/>
                  <a:gd name="connsiteY12" fmla="*/ 30773 h 783067"/>
                  <a:gd name="connsiteX13" fmla="*/ 670614 w 1280114"/>
                  <a:gd name="connsiteY13" fmla="*/ 0 h 783067"/>
                  <a:gd name="connsiteX14" fmla="*/ 457201 w 1280114"/>
                  <a:gd name="connsiteY14" fmla="*/ 0 h 783067"/>
                  <a:gd name="connsiteX15" fmla="*/ 307900 w 1280114"/>
                  <a:gd name="connsiteY15" fmla="*/ 54512 h 783067"/>
                  <a:gd name="connsiteX16" fmla="*/ 204267 w 1280114"/>
                  <a:gd name="connsiteY16" fmla="*/ 139798 h 783067"/>
                  <a:gd name="connsiteX17" fmla="*/ 1393 w 1280114"/>
                  <a:gd name="connsiteY17" fmla="*/ 654148 h 783067"/>
                  <a:gd name="connsiteX18" fmla="*/ 572251 w 1280114"/>
                  <a:gd name="connsiteY18" fmla="*/ 640080 h 783067"/>
                  <a:gd name="connsiteX19" fmla="*/ 536243 w 1280114"/>
                  <a:gd name="connsiteY19" fmla="*/ 545123 h 783067"/>
                  <a:gd name="connsiteX20" fmla="*/ 244667 w 1280114"/>
                  <a:gd name="connsiteY20" fmla="*/ 589964 h 783067"/>
                  <a:gd name="connsiteX21" fmla="*/ 328978 w 1280114"/>
                  <a:gd name="connsiteY21" fmla="*/ 436098 h 783067"/>
                  <a:gd name="connsiteX22" fmla="*/ 339517 w 1280114"/>
                  <a:gd name="connsiteY22" fmla="*/ 552157 h 783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80114" h="783067">
                    <a:moveTo>
                      <a:pt x="376403" y="725365"/>
                    </a:moveTo>
                    <a:lnTo>
                      <a:pt x="861193" y="701626"/>
                    </a:lnTo>
                    <a:lnTo>
                      <a:pt x="848897" y="524022"/>
                    </a:lnTo>
                    <a:cubicBezTo>
                      <a:pt x="867341" y="559191"/>
                      <a:pt x="905105" y="648872"/>
                      <a:pt x="956921" y="707781"/>
                    </a:cubicBezTo>
                    <a:cubicBezTo>
                      <a:pt x="1024546" y="785153"/>
                      <a:pt x="1107101" y="643597"/>
                      <a:pt x="1126422" y="610186"/>
                    </a:cubicBezTo>
                    <a:cubicBezTo>
                      <a:pt x="1209855" y="465113"/>
                      <a:pt x="1280115" y="168812"/>
                      <a:pt x="1280115" y="168812"/>
                    </a:cubicBezTo>
                    <a:lnTo>
                      <a:pt x="1184386" y="145952"/>
                    </a:lnTo>
                    <a:lnTo>
                      <a:pt x="1184386" y="145952"/>
                    </a:lnTo>
                    <a:lnTo>
                      <a:pt x="1021033" y="406205"/>
                    </a:lnTo>
                    <a:cubicBezTo>
                      <a:pt x="1011372" y="368398"/>
                      <a:pt x="1000833" y="329712"/>
                      <a:pt x="989416" y="291905"/>
                    </a:cubicBezTo>
                    <a:cubicBezTo>
                      <a:pt x="972730" y="226842"/>
                      <a:pt x="953408" y="166175"/>
                      <a:pt x="933209" y="124851"/>
                    </a:cubicBezTo>
                    <a:cubicBezTo>
                      <a:pt x="913887" y="85285"/>
                      <a:pt x="885784" y="65063"/>
                      <a:pt x="858558" y="50995"/>
                    </a:cubicBezTo>
                    <a:cubicBezTo>
                      <a:pt x="831333" y="36928"/>
                      <a:pt x="824307" y="35169"/>
                      <a:pt x="807620" y="30773"/>
                    </a:cubicBezTo>
                    <a:lnTo>
                      <a:pt x="670614" y="0"/>
                    </a:lnTo>
                    <a:cubicBezTo>
                      <a:pt x="657441" y="70338"/>
                      <a:pt x="516922" y="53633"/>
                      <a:pt x="457201" y="0"/>
                    </a:cubicBezTo>
                    <a:lnTo>
                      <a:pt x="307900" y="54512"/>
                    </a:lnTo>
                    <a:cubicBezTo>
                      <a:pt x="275405" y="58908"/>
                      <a:pt x="237641" y="79131"/>
                      <a:pt x="204267" y="139798"/>
                    </a:cubicBezTo>
                    <a:cubicBezTo>
                      <a:pt x="47940" y="427306"/>
                      <a:pt x="-10024" y="596118"/>
                      <a:pt x="1393" y="654148"/>
                    </a:cubicBezTo>
                    <a:cubicBezTo>
                      <a:pt x="57601" y="952207"/>
                      <a:pt x="572251" y="640080"/>
                      <a:pt x="572251" y="640080"/>
                    </a:cubicBezTo>
                    <a:lnTo>
                      <a:pt x="536243" y="545123"/>
                    </a:lnTo>
                    <a:cubicBezTo>
                      <a:pt x="536243" y="545123"/>
                      <a:pt x="250814" y="601394"/>
                      <a:pt x="244667" y="589964"/>
                    </a:cubicBezTo>
                    <a:lnTo>
                      <a:pt x="328978" y="436098"/>
                    </a:lnTo>
                    <a:cubicBezTo>
                      <a:pt x="328978" y="441374"/>
                      <a:pt x="333369" y="493248"/>
                      <a:pt x="339517" y="55215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7E7F8DF6-C0BC-EC07-AB31-5FE46125B11A}"/>
                  </a:ext>
                </a:extLst>
              </p:cNvPr>
              <p:cNvSpPr/>
              <p:nvPr/>
            </p:nvSpPr>
            <p:spPr>
              <a:xfrm>
                <a:off x="-10720884" y="2450565"/>
                <a:ext cx="89252" cy="179202"/>
              </a:xfrm>
              <a:custGeom>
                <a:avLst/>
                <a:gdLst>
                  <a:gd name="connsiteX0" fmla="*/ 18698 w 89252"/>
                  <a:gd name="connsiteY0" fmla="*/ 178323 h 179202"/>
                  <a:gd name="connsiteX1" fmla="*/ 88080 w 89252"/>
                  <a:gd name="connsiteY1" fmla="*/ 20941 h 179202"/>
                  <a:gd name="connsiteX2" fmla="*/ 27481 w 89252"/>
                  <a:gd name="connsiteY2" fmla="*/ 719 h 179202"/>
                  <a:gd name="connsiteX3" fmla="*/ 18698 w 89252"/>
                  <a:gd name="connsiteY3" fmla="*/ 179202 h 179202"/>
                  <a:gd name="connsiteX4" fmla="*/ 18698 w 89252"/>
                  <a:gd name="connsiteY4" fmla="*/ 179202 h 179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252" h="179202">
                    <a:moveTo>
                      <a:pt x="18698" y="178323"/>
                    </a:moveTo>
                    <a:cubicBezTo>
                      <a:pt x="23968" y="120294"/>
                      <a:pt x="99497" y="83366"/>
                      <a:pt x="88080" y="20941"/>
                    </a:cubicBezTo>
                    <a:cubicBezTo>
                      <a:pt x="88080" y="20941"/>
                      <a:pt x="83688" y="-4557"/>
                      <a:pt x="27481" y="719"/>
                    </a:cubicBezTo>
                    <a:cubicBezTo>
                      <a:pt x="-28727" y="5994"/>
                      <a:pt x="18698" y="179202"/>
                      <a:pt x="18698" y="179202"/>
                    </a:cubicBezTo>
                    <a:lnTo>
                      <a:pt x="18698" y="179202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F43FEA91-0B76-F2A5-195C-072EA2637CBA}"/>
                  </a:ext>
                </a:extLst>
              </p:cNvPr>
              <p:cNvSpPr/>
              <p:nvPr/>
            </p:nvSpPr>
            <p:spPr>
              <a:xfrm>
                <a:off x="-11045578" y="2762531"/>
                <a:ext cx="272255" cy="216290"/>
              </a:xfrm>
              <a:custGeom>
                <a:avLst/>
                <a:gdLst>
                  <a:gd name="connsiteX0" fmla="*/ 272255 w 272255"/>
                  <a:gd name="connsiteY0" fmla="*/ 879 h 216290"/>
                  <a:gd name="connsiteX1" fmla="*/ 259960 w 272255"/>
                  <a:gd name="connsiteY1" fmla="*/ 216291 h 216290"/>
                  <a:gd name="connsiteX2" fmla="*/ 0 w 272255"/>
                  <a:gd name="connsiteY2" fmla="*/ 216291 h 216290"/>
                  <a:gd name="connsiteX3" fmla="*/ 62355 w 272255"/>
                  <a:gd name="connsiteY3" fmla="*/ 0 h 216290"/>
                  <a:gd name="connsiteX4" fmla="*/ 272255 w 272255"/>
                  <a:gd name="connsiteY4" fmla="*/ 0 h 21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255" h="216290">
                    <a:moveTo>
                      <a:pt x="272255" y="879"/>
                    </a:moveTo>
                    <a:cubicBezTo>
                      <a:pt x="272255" y="879"/>
                      <a:pt x="221317" y="162658"/>
                      <a:pt x="259960" y="216291"/>
                    </a:cubicBezTo>
                    <a:lnTo>
                      <a:pt x="0" y="216291"/>
                    </a:lnTo>
                    <a:lnTo>
                      <a:pt x="62355" y="0"/>
                    </a:lnTo>
                    <a:lnTo>
                      <a:pt x="272255" y="0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C8CF460-28D0-4733-E83F-525C7A4B613B}"/>
                </a:ext>
              </a:extLst>
            </p:cNvPr>
            <p:cNvSpPr/>
            <p:nvPr/>
          </p:nvSpPr>
          <p:spPr>
            <a:xfrm>
              <a:off x="-10873775" y="3549442"/>
              <a:ext cx="180674" cy="261131"/>
            </a:xfrm>
            <a:custGeom>
              <a:avLst/>
              <a:gdLst>
                <a:gd name="connsiteX0" fmla="*/ 180372 w 180674"/>
                <a:gd name="connsiteY0" fmla="*/ 220687 h 261131"/>
                <a:gd name="connsiteX1" fmla="*/ 149633 w 180674"/>
                <a:gd name="connsiteY1" fmla="*/ 182001 h 261131"/>
                <a:gd name="connsiteX2" fmla="*/ 93426 w 180674"/>
                <a:gd name="connsiteY2" fmla="*/ 149469 h 261131"/>
                <a:gd name="connsiteX3" fmla="*/ 122408 w 180674"/>
                <a:gd name="connsiteY3" fmla="*/ 0 h 261131"/>
                <a:gd name="connsiteX4" fmla="*/ 37218 w 180674"/>
                <a:gd name="connsiteY4" fmla="*/ 0 h 261131"/>
                <a:gd name="connsiteX5" fmla="*/ 18775 w 180674"/>
                <a:gd name="connsiteY5" fmla="*/ 135401 h 261131"/>
                <a:gd name="connsiteX6" fmla="*/ 3845 w 180674"/>
                <a:gd name="connsiteY6" fmla="*/ 186397 h 261131"/>
                <a:gd name="connsiteX7" fmla="*/ 86400 w 180674"/>
                <a:gd name="connsiteY7" fmla="*/ 232117 h 261131"/>
                <a:gd name="connsiteX8" fmla="*/ 136460 w 180674"/>
                <a:gd name="connsiteY8" fmla="*/ 249701 h 261131"/>
                <a:gd name="connsiteX9" fmla="*/ 166320 w 180674"/>
                <a:gd name="connsiteY9" fmla="*/ 261131 h 261131"/>
                <a:gd name="connsiteX10" fmla="*/ 179494 w 180674"/>
                <a:gd name="connsiteY10" fmla="*/ 220687 h 261131"/>
                <a:gd name="connsiteX11" fmla="*/ 180372 w 180674"/>
                <a:gd name="connsiteY11" fmla="*/ 220687 h 261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674" h="261131">
                  <a:moveTo>
                    <a:pt x="180372" y="220687"/>
                  </a:moveTo>
                  <a:cubicBezTo>
                    <a:pt x="183007" y="188155"/>
                    <a:pt x="168076" y="188155"/>
                    <a:pt x="149633" y="182001"/>
                  </a:cubicBezTo>
                  <a:cubicBezTo>
                    <a:pt x="123286" y="172329"/>
                    <a:pt x="93426" y="149469"/>
                    <a:pt x="93426" y="149469"/>
                  </a:cubicBezTo>
                  <a:lnTo>
                    <a:pt x="122408" y="0"/>
                  </a:lnTo>
                  <a:lnTo>
                    <a:pt x="37218" y="0"/>
                  </a:lnTo>
                  <a:lnTo>
                    <a:pt x="18775" y="135401"/>
                  </a:lnTo>
                  <a:cubicBezTo>
                    <a:pt x="18775" y="135401"/>
                    <a:pt x="-10207" y="163537"/>
                    <a:pt x="3845" y="186397"/>
                  </a:cubicBezTo>
                  <a:cubicBezTo>
                    <a:pt x="17019" y="209257"/>
                    <a:pt x="53905" y="201344"/>
                    <a:pt x="86400" y="232117"/>
                  </a:cubicBezTo>
                  <a:cubicBezTo>
                    <a:pt x="103087" y="247943"/>
                    <a:pt x="112747" y="246185"/>
                    <a:pt x="136460" y="249701"/>
                  </a:cubicBezTo>
                  <a:cubicBezTo>
                    <a:pt x="143486" y="250581"/>
                    <a:pt x="146999" y="261131"/>
                    <a:pt x="166320" y="261131"/>
                  </a:cubicBezTo>
                  <a:cubicBezTo>
                    <a:pt x="185641" y="261131"/>
                    <a:pt x="178616" y="235634"/>
                    <a:pt x="179494" y="220687"/>
                  </a:cubicBezTo>
                  <a:lnTo>
                    <a:pt x="180372" y="220687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C4E3D177-2EA3-41FF-5141-46BA1A813087}"/>
                </a:ext>
              </a:extLst>
            </p:cNvPr>
            <p:cNvSpPr/>
            <p:nvPr/>
          </p:nvSpPr>
          <p:spPr>
            <a:xfrm>
              <a:off x="-11018818" y="3375937"/>
              <a:ext cx="366021" cy="167529"/>
            </a:xfrm>
            <a:custGeom>
              <a:avLst/>
              <a:gdLst>
                <a:gd name="connsiteX0" fmla="*/ 3979 w 366021"/>
                <a:gd name="connsiteY0" fmla="*/ 97012 h 167529"/>
                <a:gd name="connsiteX1" fmla="*/ 206853 w 366021"/>
                <a:gd name="connsiteY1" fmla="*/ 125148 h 167529"/>
                <a:gd name="connsiteX2" fmla="*/ 364058 w 366021"/>
                <a:gd name="connsiteY2" fmla="*/ 154162 h 167529"/>
                <a:gd name="connsiteX3" fmla="*/ 311364 w 366021"/>
                <a:gd name="connsiteY3" fmla="*/ 52171 h 167529"/>
                <a:gd name="connsiteX4" fmla="*/ 154158 w 366021"/>
                <a:gd name="connsiteY4" fmla="*/ 297 h 167529"/>
                <a:gd name="connsiteX5" fmla="*/ 3101 w 366021"/>
                <a:gd name="connsiteY5" fmla="*/ 96133 h 167529"/>
                <a:gd name="connsiteX6" fmla="*/ 3101 w 366021"/>
                <a:gd name="connsiteY6" fmla="*/ 96133 h 1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6021" h="167529">
                  <a:moveTo>
                    <a:pt x="3979" y="97012"/>
                  </a:moveTo>
                  <a:cubicBezTo>
                    <a:pt x="21544" y="145370"/>
                    <a:pt x="206853" y="125148"/>
                    <a:pt x="206853" y="125148"/>
                  </a:cubicBezTo>
                  <a:cubicBezTo>
                    <a:pt x="206853" y="125148"/>
                    <a:pt x="357910" y="196365"/>
                    <a:pt x="364058" y="154162"/>
                  </a:cubicBezTo>
                  <a:cubicBezTo>
                    <a:pt x="371084" y="111959"/>
                    <a:pt x="360545" y="62722"/>
                    <a:pt x="311364" y="52171"/>
                  </a:cubicBezTo>
                  <a:cubicBezTo>
                    <a:pt x="262182" y="41621"/>
                    <a:pt x="211244" y="-4099"/>
                    <a:pt x="154158" y="297"/>
                  </a:cubicBezTo>
                  <a:cubicBezTo>
                    <a:pt x="43500" y="11727"/>
                    <a:pt x="-14464" y="47775"/>
                    <a:pt x="3101" y="96133"/>
                  </a:cubicBezTo>
                  <a:lnTo>
                    <a:pt x="3101" y="96133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3045FA59-B2E9-4820-9E18-749D4BB1F8F5}"/>
                </a:ext>
              </a:extLst>
            </p:cNvPr>
            <p:cNvSpPr/>
            <p:nvPr/>
          </p:nvSpPr>
          <p:spPr>
            <a:xfrm>
              <a:off x="-11008880" y="3582853"/>
              <a:ext cx="212722" cy="304647"/>
            </a:xfrm>
            <a:custGeom>
              <a:avLst/>
              <a:gdLst>
                <a:gd name="connsiteX0" fmla="*/ 147733 w 212722"/>
                <a:gd name="connsiteY0" fmla="*/ 229479 h 304647"/>
                <a:gd name="connsiteX1" fmla="*/ 105577 w 212722"/>
                <a:gd name="connsiteY1" fmla="*/ 181121 h 304647"/>
                <a:gd name="connsiteX2" fmla="*/ 212723 w 212722"/>
                <a:gd name="connsiteY2" fmla="*/ 0 h 304647"/>
                <a:gd name="connsiteX3" fmla="*/ 89769 w 212722"/>
                <a:gd name="connsiteY3" fmla="*/ 3517 h 304647"/>
                <a:gd name="connsiteX4" fmla="*/ 31805 w 212722"/>
                <a:gd name="connsiteY4" fmla="*/ 146831 h 304647"/>
                <a:gd name="connsiteX5" fmla="*/ 1066 w 212722"/>
                <a:gd name="connsiteY5" fmla="*/ 197827 h 304647"/>
                <a:gd name="connsiteX6" fmla="*/ 48491 w 212722"/>
                <a:gd name="connsiteY6" fmla="*/ 252339 h 304647"/>
                <a:gd name="connsiteX7" fmla="*/ 90647 w 212722"/>
                <a:gd name="connsiteY7" fmla="*/ 293663 h 304647"/>
                <a:gd name="connsiteX8" fmla="*/ 113481 w 212722"/>
                <a:gd name="connsiteY8" fmla="*/ 290146 h 304647"/>
                <a:gd name="connsiteX9" fmla="*/ 134559 w 212722"/>
                <a:gd name="connsiteY9" fmla="*/ 290146 h 304647"/>
                <a:gd name="connsiteX10" fmla="*/ 156515 w 212722"/>
                <a:gd name="connsiteY10" fmla="*/ 286629 h 304647"/>
                <a:gd name="connsiteX11" fmla="*/ 169689 w 212722"/>
                <a:gd name="connsiteY11" fmla="*/ 275199 h 304647"/>
                <a:gd name="connsiteX12" fmla="*/ 146854 w 212722"/>
                <a:gd name="connsiteY12" fmla="*/ 227721 h 304647"/>
                <a:gd name="connsiteX13" fmla="*/ 146854 w 212722"/>
                <a:gd name="connsiteY13" fmla="*/ 229479 h 30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722" h="304647">
                  <a:moveTo>
                    <a:pt x="147733" y="229479"/>
                  </a:moveTo>
                  <a:cubicBezTo>
                    <a:pt x="124898" y="213653"/>
                    <a:pt x="105577" y="181121"/>
                    <a:pt x="105577" y="181121"/>
                  </a:cubicBezTo>
                  <a:cubicBezTo>
                    <a:pt x="120507" y="123971"/>
                    <a:pt x="212723" y="0"/>
                    <a:pt x="212723" y="0"/>
                  </a:cubicBezTo>
                  <a:lnTo>
                    <a:pt x="89769" y="3517"/>
                  </a:lnTo>
                  <a:lnTo>
                    <a:pt x="31805" y="146831"/>
                  </a:lnTo>
                  <a:cubicBezTo>
                    <a:pt x="31805" y="146831"/>
                    <a:pt x="-6838" y="172329"/>
                    <a:pt x="1066" y="197827"/>
                  </a:cubicBezTo>
                  <a:cubicBezTo>
                    <a:pt x="8970" y="223325"/>
                    <a:pt x="22144" y="215412"/>
                    <a:pt x="48491" y="252339"/>
                  </a:cubicBezTo>
                  <a:cubicBezTo>
                    <a:pt x="62543" y="273441"/>
                    <a:pt x="67813" y="288388"/>
                    <a:pt x="90647" y="293663"/>
                  </a:cubicBezTo>
                  <a:cubicBezTo>
                    <a:pt x="100307" y="311248"/>
                    <a:pt x="117872" y="305972"/>
                    <a:pt x="113481" y="290146"/>
                  </a:cubicBezTo>
                  <a:cubicBezTo>
                    <a:pt x="116994" y="303335"/>
                    <a:pt x="139828" y="305972"/>
                    <a:pt x="134559" y="290146"/>
                  </a:cubicBezTo>
                  <a:cubicBezTo>
                    <a:pt x="138072" y="302455"/>
                    <a:pt x="158271" y="294542"/>
                    <a:pt x="156515" y="286629"/>
                  </a:cubicBezTo>
                  <a:cubicBezTo>
                    <a:pt x="161784" y="294542"/>
                    <a:pt x="181106" y="286629"/>
                    <a:pt x="169689" y="275199"/>
                  </a:cubicBezTo>
                  <a:cubicBezTo>
                    <a:pt x="197792" y="262011"/>
                    <a:pt x="179349" y="248822"/>
                    <a:pt x="146854" y="227721"/>
                  </a:cubicBezTo>
                  <a:lnTo>
                    <a:pt x="146854" y="22947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E237B0F7-1E89-DFB2-28FF-D8C6D2623D5F}"/>
                </a:ext>
              </a:extLst>
            </p:cNvPr>
            <p:cNvSpPr/>
            <p:nvPr/>
          </p:nvSpPr>
          <p:spPr>
            <a:xfrm>
              <a:off x="-10950752" y="2820159"/>
              <a:ext cx="273395" cy="309206"/>
            </a:xfrm>
            <a:custGeom>
              <a:avLst/>
              <a:gdLst>
                <a:gd name="connsiteX0" fmla="*/ 158986 w 273395"/>
                <a:gd name="connsiteY0" fmla="*/ 250103 h 309206"/>
                <a:gd name="connsiteX1" fmla="*/ 218707 w 273395"/>
                <a:gd name="connsiteY1" fmla="*/ 260653 h 309206"/>
                <a:gd name="connsiteX2" fmla="*/ 241541 w 273395"/>
                <a:gd name="connsiteY2" fmla="*/ 232518 h 309206"/>
                <a:gd name="connsiteX3" fmla="*/ 249445 w 273395"/>
                <a:gd name="connsiteY3" fmla="*/ 211417 h 309206"/>
                <a:gd name="connsiteX4" fmla="*/ 239784 w 273395"/>
                <a:gd name="connsiteY4" fmla="*/ 207900 h 309206"/>
                <a:gd name="connsiteX5" fmla="*/ 258228 w 273395"/>
                <a:gd name="connsiteY5" fmla="*/ 211417 h 309206"/>
                <a:gd name="connsiteX6" fmla="*/ 256471 w 273395"/>
                <a:gd name="connsiteY6" fmla="*/ 185919 h 309206"/>
                <a:gd name="connsiteX7" fmla="*/ 267888 w 273395"/>
                <a:gd name="connsiteY7" fmla="*/ 181523 h 309206"/>
                <a:gd name="connsiteX8" fmla="*/ 270523 w 273395"/>
                <a:gd name="connsiteY8" fmla="*/ 162180 h 309206"/>
                <a:gd name="connsiteX9" fmla="*/ 255593 w 273395"/>
                <a:gd name="connsiteY9" fmla="*/ 135803 h 309206"/>
                <a:gd name="connsiteX10" fmla="*/ 263497 w 273395"/>
                <a:gd name="connsiteY10" fmla="*/ 112064 h 309206"/>
                <a:gd name="connsiteX11" fmla="*/ 91361 w 273395"/>
                <a:gd name="connsiteY11" fmla="*/ 401 h 309206"/>
                <a:gd name="connsiteX12" fmla="*/ 24 w 273395"/>
                <a:gd name="connsiteY12" fmla="*/ 131407 h 309206"/>
                <a:gd name="connsiteX13" fmla="*/ 38667 w 273395"/>
                <a:gd name="connsiteY13" fmla="*/ 233397 h 309206"/>
                <a:gd name="connsiteX14" fmla="*/ 7928 w 273395"/>
                <a:gd name="connsiteY14" fmla="*/ 300219 h 309206"/>
                <a:gd name="connsiteX15" fmla="*/ 154595 w 273395"/>
                <a:gd name="connsiteY15" fmla="*/ 300219 h 309206"/>
                <a:gd name="connsiteX16" fmla="*/ 158108 w 273395"/>
                <a:gd name="connsiteY16" fmla="*/ 250982 h 30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3395" h="309206">
                  <a:moveTo>
                    <a:pt x="158986" y="250103"/>
                  </a:moveTo>
                  <a:cubicBezTo>
                    <a:pt x="195872" y="258895"/>
                    <a:pt x="205533" y="260653"/>
                    <a:pt x="218707" y="260653"/>
                  </a:cubicBezTo>
                  <a:cubicBezTo>
                    <a:pt x="231880" y="260653"/>
                    <a:pt x="236271" y="243948"/>
                    <a:pt x="241541" y="232518"/>
                  </a:cubicBezTo>
                  <a:cubicBezTo>
                    <a:pt x="254715" y="231639"/>
                    <a:pt x="258228" y="214934"/>
                    <a:pt x="249445" y="211417"/>
                  </a:cubicBezTo>
                  <a:cubicBezTo>
                    <a:pt x="240663" y="207900"/>
                    <a:pt x="244176" y="210537"/>
                    <a:pt x="239784" y="207900"/>
                  </a:cubicBezTo>
                  <a:cubicBezTo>
                    <a:pt x="248567" y="211417"/>
                    <a:pt x="252958" y="214054"/>
                    <a:pt x="258228" y="211417"/>
                  </a:cubicBezTo>
                  <a:cubicBezTo>
                    <a:pt x="263497" y="202624"/>
                    <a:pt x="256471" y="191194"/>
                    <a:pt x="256471" y="185919"/>
                  </a:cubicBezTo>
                  <a:cubicBezTo>
                    <a:pt x="256471" y="185919"/>
                    <a:pt x="260862" y="184160"/>
                    <a:pt x="267888" y="181523"/>
                  </a:cubicBezTo>
                  <a:cubicBezTo>
                    <a:pt x="273158" y="178885"/>
                    <a:pt x="275792" y="170093"/>
                    <a:pt x="270523" y="162180"/>
                  </a:cubicBezTo>
                  <a:cubicBezTo>
                    <a:pt x="265254" y="154267"/>
                    <a:pt x="258228" y="147233"/>
                    <a:pt x="255593" y="135803"/>
                  </a:cubicBezTo>
                  <a:cubicBezTo>
                    <a:pt x="259984" y="126131"/>
                    <a:pt x="263497" y="112064"/>
                    <a:pt x="263497" y="112064"/>
                  </a:cubicBezTo>
                  <a:cubicBezTo>
                    <a:pt x="292479" y="-12787"/>
                    <a:pt x="91361" y="401"/>
                    <a:pt x="91361" y="401"/>
                  </a:cubicBezTo>
                  <a:cubicBezTo>
                    <a:pt x="21980" y="10952"/>
                    <a:pt x="-854" y="80411"/>
                    <a:pt x="24" y="131407"/>
                  </a:cubicBezTo>
                  <a:cubicBezTo>
                    <a:pt x="903" y="182402"/>
                    <a:pt x="38667" y="233397"/>
                    <a:pt x="38667" y="233397"/>
                  </a:cubicBezTo>
                  <a:cubicBezTo>
                    <a:pt x="38667" y="233397"/>
                    <a:pt x="14954" y="279997"/>
                    <a:pt x="7928" y="300219"/>
                  </a:cubicBezTo>
                  <a:cubicBezTo>
                    <a:pt x="903" y="320441"/>
                    <a:pt x="154595" y="300219"/>
                    <a:pt x="154595" y="300219"/>
                  </a:cubicBezTo>
                  <a:lnTo>
                    <a:pt x="158108" y="250982"/>
                  </a:lnTo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04505CD3-05AC-4C0A-04F4-DE814F517A5C}"/>
                </a:ext>
              </a:extLst>
            </p:cNvPr>
            <p:cNvSpPr/>
            <p:nvPr/>
          </p:nvSpPr>
          <p:spPr>
            <a:xfrm>
              <a:off x="-10796157" y="3405134"/>
              <a:ext cx="209436" cy="177361"/>
            </a:xfrm>
            <a:custGeom>
              <a:avLst/>
              <a:gdLst>
                <a:gd name="connsiteX0" fmla="*/ 75529 w 209436"/>
                <a:gd name="connsiteY0" fmla="*/ 33525 h 177361"/>
                <a:gd name="connsiteX1" fmla="*/ 0 w 209436"/>
                <a:gd name="connsiteY1" fmla="*/ 107380 h 177361"/>
                <a:gd name="connsiteX2" fmla="*/ 11417 w 209436"/>
                <a:gd name="connsiteY2" fmla="*/ 168047 h 177361"/>
                <a:gd name="connsiteX3" fmla="*/ 155449 w 209436"/>
                <a:gd name="connsiteY3" fmla="*/ 172444 h 177361"/>
                <a:gd name="connsiteX4" fmla="*/ 196726 w 209436"/>
                <a:gd name="connsiteY4" fmla="*/ 152221 h 177361"/>
                <a:gd name="connsiteX5" fmla="*/ 196726 w 209436"/>
                <a:gd name="connsiteY5" fmla="*/ 124965 h 177361"/>
                <a:gd name="connsiteX6" fmla="*/ 167744 w 209436"/>
                <a:gd name="connsiteY6" fmla="*/ 138154 h 177361"/>
                <a:gd name="connsiteX7" fmla="*/ 196726 w 209436"/>
                <a:gd name="connsiteY7" fmla="*/ 124965 h 177361"/>
                <a:gd name="connsiteX8" fmla="*/ 202874 w 209436"/>
                <a:gd name="connsiteY8" fmla="*/ 91554 h 177361"/>
                <a:gd name="connsiteX9" fmla="*/ 165109 w 209436"/>
                <a:gd name="connsiteY9" fmla="*/ 110018 h 177361"/>
                <a:gd name="connsiteX10" fmla="*/ 202874 w 209436"/>
                <a:gd name="connsiteY10" fmla="*/ 90675 h 177361"/>
                <a:gd name="connsiteX11" fmla="*/ 194970 w 209436"/>
                <a:gd name="connsiteY11" fmla="*/ 51110 h 177361"/>
                <a:gd name="connsiteX12" fmla="*/ 160718 w 209436"/>
                <a:gd name="connsiteY12" fmla="*/ 81883 h 177361"/>
                <a:gd name="connsiteX13" fmla="*/ 187944 w 209436"/>
                <a:gd name="connsiteY13" fmla="*/ 68694 h 177361"/>
                <a:gd name="connsiteX14" fmla="*/ 185309 w 209436"/>
                <a:gd name="connsiteY14" fmla="*/ 30887 h 177361"/>
                <a:gd name="connsiteX15" fmla="*/ 136128 w 209436"/>
                <a:gd name="connsiteY15" fmla="*/ 30008 h 177361"/>
                <a:gd name="connsiteX16" fmla="*/ 159840 w 209436"/>
                <a:gd name="connsiteY16" fmla="*/ 48472 h 177361"/>
                <a:gd name="connsiteX17" fmla="*/ 140519 w 209436"/>
                <a:gd name="connsiteY17" fmla="*/ 55506 h 177361"/>
                <a:gd name="connsiteX18" fmla="*/ 108024 w 209436"/>
                <a:gd name="connsiteY18" fmla="*/ 56385 h 177361"/>
                <a:gd name="connsiteX19" fmla="*/ 144032 w 209436"/>
                <a:gd name="connsiteY19" fmla="*/ 4510 h 177361"/>
                <a:gd name="connsiteX20" fmla="*/ 75529 w 209436"/>
                <a:gd name="connsiteY20" fmla="*/ 33525 h 177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436" h="177361">
                  <a:moveTo>
                    <a:pt x="75529" y="33525"/>
                  </a:moveTo>
                  <a:cubicBezTo>
                    <a:pt x="64112" y="43197"/>
                    <a:pt x="0" y="107380"/>
                    <a:pt x="0" y="107380"/>
                  </a:cubicBezTo>
                  <a:cubicBezTo>
                    <a:pt x="0" y="107380"/>
                    <a:pt x="7904" y="151342"/>
                    <a:pt x="11417" y="168047"/>
                  </a:cubicBezTo>
                  <a:cubicBezTo>
                    <a:pt x="20199" y="174202"/>
                    <a:pt x="120319" y="182994"/>
                    <a:pt x="155449" y="172444"/>
                  </a:cubicBezTo>
                  <a:cubicBezTo>
                    <a:pt x="187066" y="162772"/>
                    <a:pt x="190578" y="159255"/>
                    <a:pt x="196726" y="152221"/>
                  </a:cubicBezTo>
                  <a:cubicBezTo>
                    <a:pt x="202874" y="145187"/>
                    <a:pt x="206387" y="118810"/>
                    <a:pt x="196726" y="124965"/>
                  </a:cubicBezTo>
                  <a:cubicBezTo>
                    <a:pt x="186187" y="136395"/>
                    <a:pt x="167744" y="138154"/>
                    <a:pt x="167744" y="138154"/>
                  </a:cubicBezTo>
                  <a:cubicBezTo>
                    <a:pt x="167744" y="138154"/>
                    <a:pt x="178283" y="138154"/>
                    <a:pt x="196726" y="124965"/>
                  </a:cubicBezTo>
                  <a:cubicBezTo>
                    <a:pt x="209900" y="114414"/>
                    <a:pt x="214291" y="98588"/>
                    <a:pt x="202874" y="91554"/>
                  </a:cubicBezTo>
                  <a:cubicBezTo>
                    <a:pt x="183553" y="110897"/>
                    <a:pt x="165109" y="110018"/>
                    <a:pt x="165109" y="110018"/>
                  </a:cubicBezTo>
                  <a:cubicBezTo>
                    <a:pt x="165109" y="110018"/>
                    <a:pt x="193213" y="104743"/>
                    <a:pt x="202874" y="90675"/>
                  </a:cubicBezTo>
                  <a:cubicBezTo>
                    <a:pt x="215169" y="73090"/>
                    <a:pt x="194970" y="44955"/>
                    <a:pt x="194970" y="51110"/>
                  </a:cubicBezTo>
                  <a:cubicBezTo>
                    <a:pt x="194970" y="65177"/>
                    <a:pt x="187066" y="72211"/>
                    <a:pt x="160718" y="81883"/>
                  </a:cubicBezTo>
                  <a:cubicBezTo>
                    <a:pt x="160718" y="81883"/>
                    <a:pt x="176527" y="81883"/>
                    <a:pt x="187944" y="68694"/>
                  </a:cubicBezTo>
                  <a:cubicBezTo>
                    <a:pt x="199361" y="55506"/>
                    <a:pt x="196726" y="40559"/>
                    <a:pt x="185309" y="30887"/>
                  </a:cubicBezTo>
                  <a:cubicBezTo>
                    <a:pt x="174770" y="21216"/>
                    <a:pt x="137884" y="23854"/>
                    <a:pt x="136128" y="30008"/>
                  </a:cubicBezTo>
                  <a:cubicBezTo>
                    <a:pt x="122076" y="69574"/>
                    <a:pt x="163353" y="45834"/>
                    <a:pt x="159840" y="48472"/>
                  </a:cubicBezTo>
                  <a:cubicBezTo>
                    <a:pt x="149301" y="54627"/>
                    <a:pt x="147545" y="53747"/>
                    <a:pt x="140519" y="55506"/>
                  </a:cubicBezTo>
                  <a:cubicBezTo>
                    <a:pt x="133493" y="57264"/>
                    <a:pt x="117684" y="57264"/>
                    <a:pt x="108024" y="56385"/>
                  </a:cubicBezTo>
                  <a:cubicBezTo>
                    <a:pt x="105389" y="53747"/>
                    <a:pt x="156327" y="22974"/>
                    <a:pt x="144032" y="4510"/>
                  </a:cubicBezTo>
                  <a:cubicBezTo>
                    <a:pt x="131736" y="-13953"/>
                    <a:pt x="79920" y="30008"/>
                    <a:pt x="75529" y="33525"/>
                  </a:cubicBezTo>
                  <a:close/>
                </a:path>
              </a:pathLst>
            </a:custGeom>
            <a:solidFill>
              <a:srgbClr val="F9C174"/>
            </a:solidFill>
            <a:ln w="6764" cap="flat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D2F57DF2-1238-DE25-40C7-B9C99B8F56DB}"/>
                </a:ext>
              </a:extLst>
            </p:cNvPr>
            <p:cNvSpPr/>
            <p:nvPr/>
          </p:nvSpPr>
          <p:spPr>
            <a:xfrm>
              <a:off x="-10852365" y="3844864"/>
              <a:ext cx="13173" cy="14947"/>
            </a:xfrm>
            <a:custGeom>
              <a:avLst/>
              <a:gdLst>
                <a:gd name="connsiteX0" fmla="*/ 0 w 13173"/>
                <a:gd name="connsiteY0" fmla="*/ 0 h 14947"/>
                <a:gd name="connsiteX1" fmla="*/ 13174 w 13173"/>
                <a:gd name="connsiteY1" fmla="*/ 14947 h 1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73" h="14947">
                  <a:moveTo>
                    <a:pt x="0" y="0"/>
                  </a:moveTo>
                  <a:cubicBezTo>
                    <a:pt x="0" y="0"/>
                    <a:pt x="9660" y="7034"/>
                    <a:pt x="13174" y="14947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08FC0FD-AF4E-65D5-6933-A86F98DC9295}"/>
                </a:ext>
              </a:extLst>
            </p:cNvPr>
            <p:cNvSpPr/>
            <p:nvPr/>
          </p:nvSpPr>
          <p:spPr>
            <a:xfrm>
              <a:off x="-10864660" y="3857173"/>
              <a:ext cx="12295" cy="13188"/>
            </a:xfrm>
            <a:custGeom>
              <a:avLst/>
              <a:gdLst>
                <a:gd name="connsiteX0" fmla="*/ 0 w 12295"/>
                <a:gd name="connsiteY0" fmla="*/ 0 h 13188"/>
                <a:gd name="connsiteX1" fmla="*/ 12296 w 12295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95" h="13188">
                  <a:moveTo>
                    <a:pt x="0" y="0"/>
                  </a:moveTo>
                  <a:cubicBezTo>
                    <a:pt x="0" y="0"/>
                    <a:pt x="7904" y="5275"/>
                    <a:pt x="12296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42975230-47B1-9522-3151-5D187BA99506}"/>
                </a:ext>
              </a:extLst>
            </p:cNvPr>
            <p:cNvSpPr/>
            <p:nvPr/>
          </p:nvSpPr>
          <p:spPr>
            <a:xfrm>
              <a:off x="-10881347" y="3861569"/>
              <a:ext cx="7904" cy="13188"/>
            </a:xfrm>
            <a:custGeom>
              <a:avLst/>
              <a:gdLst>
                <a:gd name="connsiteX0" fmla="*/ 0 w 7904"/>
                <a:gd name="connsiteY0" fmla="*/ 0 h 13188"/>
                <a:gd name="connsiteX1" fmla="*/ 7904 w 7904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4" h="13188">
                  <a:moveTo>
                    <a:pt x="0" y="0"/>
                  </a:moveTo>
                  <a:cubicBezTo>
                    <a:pt x="0" y="0"/>
                    <a:pt x="4391" y="3517"/>
                    <a:pt x="7904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D8AB5918-3176-DFAE-5B87-22467570F5AC}"/>
                </a:ext>
              </a:extLst>
            </p:cNvPr>
            <p:cNvSpPr/>
            <p:nvPr/>
          </p:nvSpPr>
          <p:spPr>
            <a:xfrm>
              <a:off x="-10903303" y="3862448"/>
              <a:ext cx="8782" cy="12309"/>
            </a:xfrm>
            <a:custGeom>
              <a:avLst/>
              <a:gdLst>
                <a:gd name="connsiteX0" fmla="*/ 0 w 8782"/>
                <a:gd name="connsiteY0" fmla="*/ 0 h 12309"/>
                <a:gd name="connsiteX1" fmla="*/ 8782 w 8782"/>
                <a:gd name="connsiteY1" fmla="*/ 12309 h 1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82" h="12309">
                  <a:moveTo>
                    <a:pt x="0" y="0"/>
                  </a:moveTo>
                  <a:cubicBezTo>
                    <a:pt x="0" y="0"/>
                    <a:pt x="5270" y="2638"/>
                    <a:pt x="8782" y="12309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241A03FC-35E7-AD26-59C7-29F2536F7ACD}"/>
                </a:ext>
              </a:extLst>
            </p:cNvPr>
            <p:cNvSpPr/>
            <p:nvPr/>
          </p:nvSpPr>
          <p:spPr>
            <a:xfrm>
              <a:off x="-10717115" y="3779801"/>
              <a:ext cx="25468" cy="20222"/>
            </a:xfrm>
            <a:custGeom>
              <a:avLst/>
              <a:gdLst>
                <a:gd name="connsiteX0" fmla="*/ 0 w 25468"/>
                <a:gd name="connsiteY0" fmla="*/ 0 h 20222"/>
                <a:gd name="connsiteX1" fmla="*/ 25469 w 25468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68" h="20222">
                  <a:moveTo>
                    <a:pt x="0" y="0"/>
                  </a:moveTo>
                  <a:cubicBezTo>
                    <a:pt x="0" y="0"/>
                    <a:pt x="25469" y="4396"/>
                    <a:pt x="25469" y="20222"/>
                  </a:cubicBezTo>
                </a:path>
              </a:pathLst>
            </a:custGeom>
            <a:solidFill>
              <a:srgbClr val="FA69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35F98ED6-0E1A-5E3E-D9BF-CEB488B77FC3}"/>
                </a:ext>
              </a:extLst>
            </p:cNvPr>
            <p:cNvSpPr/>
            <p:nvPr/>
          </p:nvSpPr>
          <p:spPr>
            <a:xfrm>
              <a:off x="-10712724" y="3765733"/>
              <a:ext cx="20199" cy="17584"/>
            </a:xfrm>
            <a:custGeom>
              <a:avLst/>
              <a:gdLst>
                <a:gd name="connsiteX0" fmla="*/ 0 w 20199"/>
                <a:gd name="connsiteY0" fmla="*/ 0 h 17584"/>
                <a:gd name="connsiteX1" fmla="*/ 20199 w 20199"/>
                <a:gd name="connsiteY1" fmla="*/ 17585 h 1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99" h="17584">
                  <a:moveTo>
                    <a:pt x="0" y="0"/>
                  </a:moveTo>
                  <a:cubicBezTo>
                    <a:pt x="0" y="0"/>
                    <a:pt x="19321" y="0"/>
                    <a:pt x="20199" y="17585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7385C70A-F1FC-140F-7EC7-1B496AFC8D66}"/>
                </a:ext>
              </a:extLst>
            </p:cNvPr>
            <p:cNvSpPr/>
            <p:nvPr/>
          </p:nvSpPr>
          <p:spPr>
            <a:xfrm>
              <a:off x="-10709211" y="3752545"/>
              <a:ext cx="18815" cy="20222"/>
            </a:xfrm>
            <a:custGeom>
              <a:avLst/>
              <a:gdLst>
                <a:gd name="connsiteX0" fmla="*/ 0 w 18815"/>
                <a:gd name="connsiteY0" fmla="*/ 0 h 20222"/>
                <a:gd name="connsiteX1" fmla="*/ 16687 w 18815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5" h="20222">
                  <a:moveTo>
                    <a:pt x="0" y="0"/>
                  </a:moveTo>
                  <a:cubicBezTo>
                    <a:pt x="0" y="0"/>
                    <a:pt x="26347" y="2638"/>
                    <a:pt x="16687" y="2022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9513285E-E53D-88DA-746F-FA14F28BC278}"/>
                </a:ext>
              </a:extLst>
            </p:cNvPr>
            <p:cNvSpPr/>
            <p:nvPr/>
          </p:nvSpPr>
          <p:spPr>
            <a:xfrm>
              <a:off x="-10873076" y="3190858"/>
              <a:ext cx="325400" cy="137155"/>
            </a:xfrm>
            <a:custGeom>
              <a:avLst/>
              <a:gdLst>
                <a:gd name="connsiteX0" fmla="*/ 23346 w 325400"/>
                <a:gd name="connsiteY0" fmla="*/ 55249 h 137155"/>
                <a:gd name="connsiteX1" fmla="*/ 10173 w 325400"/>
                <a:gd name="connsiteY1" fmla="*/ 137018 h 137155"/>
                <a:gd name="connsiteX2" fmla="*/ 184065 w 325400"/>
                <a:gd name="connsiteY2" fmla="*/ 103607 h 137155"/>
                <a:gd name="connsiteX3" fmla="*/ 262228 w 325400"/>
                <a:gd name="connsiteY3" fmla="*/ 107124 h 137155"/>
                <a:gd name="connsiteX4" fmla="*/ 306141 w 325400"/>
                <a:gd name="connsiteY4" fmla="*/ 90419 h 137155"/>
                <a:gd name="connsiteX5" fmla="*/ 306141 w 325400"/>
                <a:gd name="connsiteY5" fmla="*/ 70196 h 137155"/>
                <a:gd name="connsiteX6" fmla="*/ 275402 w 325400"/>
                <a:gd name="connsiteY6" fmla="*/ 85143 h 137155"/>
                <a:gd name="connsiteX7" fmla="*/ 312288 w 325400"/>
                <a:gd name="connsiteY7" fmla="*/ 65800 h 137155"/>
                <a:gd name="connsiteX8" fmla="*/ 306141 w 325400"/>
                <a:gd name="connsiteY8" fmla="*/ 47336 h 137155"/>
                <a:gd name="connsiteX9" fmla="*/ 271011 w 325400"/>
                <a:gd name="connsiteY9" fmla="*/ 64921 h 137155"/>
                <a:gd name="connsiteX10" fmla="*/ 313166 w 325400"/>
                <a:gd name="connsiteY10" fmla="*/ 41182 h 137155"/>
                <a:gd name="connsiteX11" fmla="*/ 306141 w 325400"/>
                <a:gd name="connsiteY11" fmla="*/ 23597 h 137155"/>
                <a:gd name="connsiteX12" fmla="*/ 269254 w 325400"/>
                <a:gd name="connsiteY12" fmla="*/ 46457 h 137155"/>
                <a:gd name="connsiteX13" fmla="*/ 295601 w 325400"/>
                <a:gd name="connsiteY13" fmla="*/ 31510 h 137155"/>
                <a:gd name="connsiteX14" fmla="*/ 293845 w 325400"/>
                <a:gd name="connsiteY14" fmla="*/ 10409 h 137155"/>
                <a:gd name="connsiteX15" fmla="*/ 265741 w 325400"/>
                <a:gd name="connsiteY15" fmla="*/ 29752 h 137155"/>
                <a:gd name="connsiteX16" fmla="*/ 243785 w 325400"/>
                <a:gd name="connsiteY16" fmla="*/ 35027 h 137155"/>
                <a:gd name="connsiteX17" fmla="*/ 260472 w 325400"/>
                <a:gd name="connsiteY17" fmla="*/ 2496 h 137155"/>
                <a:gd name="connsiteX18" fmla="*/ 219194 w 325400"/>
                <a:gd name="connsiteY18" fmla="*/ 30631 h 137155"/>
                <a:gd name="connsiteX19" fmla="*/ 180552 w 325400"/>
                <a:gd name="connsiteY19" fmla="*/ 60525 h 137155"/>
                <a:gd name="connsiteX20" fmla="*/ 22468 w 325400"/>
                <a:gd name="connsiteY20" fmla="*/ 57008 h 137155"/>
                <a:gd name="connsiteX21" fmla="*/ 22468 w 325400"/>
                <a:gd name="connsiteY21" fmla="*/ 55249 h 137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5400" h="137155">
                  <a:moveTo>
                    <a:pt x="23346" y="55249"/>
                  </a:moveTo>
                  <a:cubicBezTo>
                    <a:pt x="23346" y="59646"/>
                    <a:pt x="-18809" y="134380"/>
                    <a:pt x="10173" y="137018"/>
                  </a:cubicBezTo>
                  <a:cubicBezTo>
                    <a:pt x="39155" y="139656"/>
                    <a:pt x="184065" y="103607"/>
                    <a:pt x="184065" y="103607"/>
                  </a:cubicBezTo>
                  <a:cubicBezTo>
                    <a:pt x="188456" y="108003"/>
                    <a:pt x="235881" y="111520"/>
                    <a:pt x="262228" y="107124"/>
                  </a:cubicBezTo>
                  <a:cubicBezTo>
                    <a:pt x="288576" y="102728"/>
                    <a:pt x="294723" y="95694"/>
                    <a:pt x="306141" y="90419"/>
                  </a:cubicBezTo>
                  <a:cubicBezTo>
                    <a:pt x="323705" y="81626"/>
                    <a:pt x="317558" y="63162"/>
                    <a:pt x="306141" y="70196"/>
                  </a:cubicBezTo>
                  <a:cubicBezTo>
                    <a:pt x="294723" y="77230"/>
                    <a:pt x="275402" y="85143"/>
                    <a:pt x="275402" y="85143"/>
                  </a:cubicBezTo>
                  <a:cubicBezTo>
                    <a:pt x="275402" y="85143"/>
                    <a:pt x="302627" y="75472"/>
                    <a:pt x="312288" y="65800"/>
                  </a:cubicBezTo>
                  <a:cubicBezTo>
                    <a:pt x="326340" y="53491"/>
                    <a:pt x="324583" y="33269"/>
                    <a:pt x="306141" y="47336"/>
                  </a:cubicBezTo>
                  <a:cubicBezTo>
                    <a:pt x="289454" y="57887"/>
                    <a:pt x="271011" y="64921"/>
                    <a:pt x="271011" y="64921"/>
                  </a:cubicBezTo>
                  <a:cubicBezTo>
                    <a:pt x="271011" y="64921"/>
                    <a:pt x="299114" y="53491"/>
                    <a:pt x="313166" y="41182"/>
                  </a:cubicBezTo>
                  <a:cubicBezTo>
                    <a:pt x="339514" y="18322"/>
                    <a:pt x="316679" y="13046"/>
                    <a:pt x="306141" y="23597"/>
                  </a:cubicBezTo>
                  <a:cubicBezTo>
                    <a:pt x="295601" y="34148"/>
                    <a:pt x="283306" y="40303"/>
                    <a:pt x="269254" y="46457"/>
                  </a:cubicBezTo>
                  <a:cubicBezTo>
                    <a:pt x="269254" y="46457"/>
                    <a:pt x="282428" y="41182"/>
                    <a:pt x="295601" y="31510"/>
                  </a:cubicBezTo>
                  <a:cubicBezTo>
                    <a:pt x="308775" y="21839"/>
                    <a:pt x="303506" y="3375"/>
                    <a:pt x="293845" y="10409"/>
                  </a:cubicBezTo>
                  <a:cubicBezTo>
                    <a:pt x="284184" y="17443"/>
                    <a:pt x="273645" y="27114"/>
                    <a:pt x="265741" y="29752"/>
                  </a:cubicBezTo>
                  <a:cubicBezTo>
                    <a:pt x="257837" y="32389"/>
                    <a:pt x="249055" y="35906"/>
                    <a:pt x="243785" y="35027"/>
                  </a:cubicBezTo>
                  <a:cubicBezTo>
                    <a:pt x="242029" y="33269"/>
                    <a:pt x="268376" y="13046"/>
                    <a:pt x="260472" y="2496"/>
                  </a:cubicBezTo>
                  <a:cubicBezTo>
                    <a:pt x="252568" y="-8055"/>
                    <a:pt x="228855" y="17443"/>
                    <a:pt x="219194" y="30631"/>
                  </a:cubicBezTo>
                  <a:cubicBezTo>
                    <a:pt x="209534" y="43819"/>
                    <a:pt x="180552" y="60525"/>
                    <a:pt x="180552" y="60525"/>
                  </a:cubicBezTo>
                  <a:cubicBezTo>
                    <a:pt x="180552" y="60525"/>
                    <a:pt x="21590" y="53491"/>
                    <a:pt x="22468" y="57008"/>
                  </a:cubicBezTo>
                  <a:lnTo>
                    <a:pt x="22468" y="5524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AEB76F12-5B18-7EE5-6A8F-3158A425CC25}"/>
                </a:ext>
              </a:extLst>
            </p:cNvPr>
            <p:cNvSpPr/>
            <p:nvPr/>
          </p:nvSpPr>
          <p:spPr>
            <a:xfrm>
              <a:off x="-11123877" y="3076153"/>
              <a:ext cx="353347" cy="527140"/>
            </a:xfrm>
            <a:custGeom>
              <a:avLst/>
              <a:gdLst>
                <a:gd name="connsiteX0" fmla="*/ 347041 w 353347"/>
                <a:gd name="connsiteY0" fmla="*/ 59171 h 527140"/>
                <a:gd name="connsiteX1" fmla="*/ 124846 w 353347"/>
                <a:gd name="connsiteY1" fmla="*/ 41587 h 527140"/>
                <a:gd name="connsiteX2" fmla="*/ 1013 w 353347"/>
                <a:gd name="connsiteY2" fmla="*/ 360748 h 527140"/>
                <a:gd name="connsiteX3" fmla="*/ 195983 w 353347"/>
                <a:gd name="connsiteY3" fmla="*/ 474168 h 527140"/>
                <a:gd name="connsiteX4" fmla="*/ 318937 w 353347"/>
                <a:gd name="connsiteY4" fmla="*/ 518130 h 527140"/>
                <a:gd name="connsiteX5" fmla="*/ 306642 w 353347"/>
                <a:gd name="connsiteY5" fmla="*/ 409985 h 527140"/>
                <a:gd name="connsiteX6" fmla="*/ 243408 w 353347"/>
                <a:gd name="connsiteY6" fmla="*/ 346680 h 527140"/>
                <a:gd name="connsiteX7" fmla="*/ 346163 w 353347"/>
                <a:gd name="connsiteY7" fmla="*/ 59171 h 527140"/>
                <a:gd name="connsiteX8" fmla="*/ 347041 w 353347"/>
                <a:gd name="connsiteY8" fmla="*/ 59171 h 52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347" h="527140">
                  <a:moveTo>
                    <a:pt x="347041" y="59171"/>
                  </a:moveTo>
                  <a:cubicBezTo>
                    <a:pt x="306642" y="-15563"/>
                    <a:pt x="172271" y="-17322"/>
                    <a:pt x="124846" y="41587"/>
                  </a:cubicBezTo>
                  <a:cubicBezTo>
                    <a:pt x="77421" y="100495"/>
                    <a:pt x="-10404" y="242052"/>
                    <a:pt x="1013" y="360748"/>
                  </a:cubicBezTo>
                  <a:cubicBezTo>
                    <a:pt x="12431" y="479444"/>
                    <a:pt x="195983" y="474168"/>
                    <a:pt x="195983" y="474168"/>
                  </a:cubicBezTo>
                  <a:cubicBezTo>
                    <a:pt x="195983" y="474168"/>
                    <a:pt x="294346" y="553299"/>
                    <a:pt x="318937" y="518130"/>
                  </a:cubicBezTo>
                  <a:cubicBezTo>
                    <a:pt x="341772" y="486478"/>
                    <a:pt x="336502" y="450429"/>
                    <a:pt x="306642" y="409985"/>
                  </a:cubicBezTo>
                  <a:cubicBezTo>
                    <a:pt x="282929" y="377453"/>
                    <a:pt x="243408" y="346680"/>
                    <a:pt x="243408" y="346680"/>
                  </a:cubicBezTo>
                  <a:cubicBezTo>
                    <a:pt x="243408" y="346680"/>
                    <a:pt x="386562" y="133906"/>
                    <a:pt x="346163" y="59171"/>
                  </a:cubicBezTo>
                  <a:lnTo>
                    <a:pt x="347041" y="59171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BFACC9B8-4AEC-FE0D-7A65-C5EC106AA8C9}"/>
                </a:ext>
              </a:extLst>
            </p:cNvPr>
            <p:cNvSpPr/>
            <p:nvPr/>
          </p:nvSpPr>
          <p:spPr>
            <a:xfrm>
              <a:off x="-11149211" y="3460640"/>
              <a:ext cx="378522" cy="220686"/>
            </a:xfrm>
            <a:custGeom>
              <a:avLst/>
              <a:gdLst>
                <a:gd name="connsiteX0" fmla="*/ 0 w 378522"/>
                <a:gd name="connsiteY0" fmla="*/ 0 h 220686"/>
                <a:gd name="connsiteX1" fmla="*/ 361836 w 378522"/>
                <a:gd name="connsiteY1" fmla="*/ 34290 h 220686"/>
                <a:gd name="connsiteX2" fmla="*/ 378523 w 378522"/>
                <a:gd name="connsiteY2" fmla="*/ 119575 h 220686"/>
                <a:gd name="connsiteX3" fmla="*/ 82555 w 378522"/>
                <a:gd name="connsiteY3" fmla="*/ 220687 h 22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522" h="220686">
                  <a:moveTo>
                    <a:pt x="0" y="0"/>
                  </a:moveTo>
                  <a:lnTo>
                    <a:pt x="361836" y="34290"/>
                  </a:lnTo>
                  <a:lnTo>
                    <a:pt x="378523" y="119575"/>
                  </a:lnTo>
                  <a:cubicBezTo>
                    <a:pt x="378523" y="119575"/>
                    <a:pt x="201996" y="198706"/>
                    <a:pt x="82555" y="220687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133240B8-6998-955C-40C4-8E953C72EFA9}"/>
                </a:ext>
              </a:extLst>
            </p:cNvPr>
            <p:cNvSpPr/>
            <p:nvPr/>
          </p:nvSpPr>
          <p:spPr>
            <a:xfrm>
              <a:off x="-13480067" y="1704817"/>
              <a:ext cx="8782" cy="8792"/>
            </a:xfrm>
            <a:custGeom>
              <a:avLst/>
              <a:gdLst/>
              <a:ahLst/>
              <a:cxnLst/>
              <a:rect l="l" t="t" r="r" b="b"/>
              <a:pathLst>
                <a:path w="8782" h="8792"/>
              </a:pathLst>
            </a:custGeom>
            <a:solidFill>
              <a:srgbClr val="DD9C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B7472EB4-D3F6-58AD-C7BB-8933D5DCA74D}"/>
                </a:ext>
              </a:extLst>
            </p:cNvPr>
            <p:cNvSpPr/>
            <p:nvPr/>
          </p:nvSpPr>
          <p:spPr>
            <a:xfrm>
              <a:off x="-10950752" y="2817590"/>
              <a:ext cx="263053" cy="235087"/>
            </a:xfrm>
            <a:custGeom>
              <a:avLst/>
              <a:gdLst>
                <a:gd name="connsiteX0" fmla="*/ 39545 w 263053"/>
                <a:gd name="connsiteY0" fmla="*/ 235087 h 235087"/>
                <a:gd name="connsiteX1" fmla="*/ 24 w 263053"/>
                <a:gd name="connsiteY1" fmla="*/ 133096 h 235087"/>
                <a:gd name="connsiteX2" fmla="*/ 91361 w 263053"/>
                <a:gd name="connsiteY2" fmla="*/ 2091 h 235087"/>
                <a:gd name="connsiteX3" fmla="*/ 259984 w 263053"/>
                <a:gd name="connsiteY3" fmla="*/ 51328 h 235087"/>
                <a:gd name="connsiteX4" fmla="*/ 189725 w 263053"/>
                <a:gd name="connsiteY4" fmla="*/ 82980 h 235087"/>
                <a:gd name="connsiteX5" fmla="*/ 173916 w 263053"/>
                <a:gd name="connsiteY5" fmla="*/ 125183 h 235087"/>
                <a:gd name="connsiteX6" fmla="*/ 144056 w 263053"/>
                <a:gd name="connsiteY6" fmla="*/ 148043 h 235087"/>
                <a:gd name="connsiteX7" fmla="*/ 122978 w 263053"/>
                <a:gd name="connsiteY7" fmla="*/ 107599 h 235087"/>
                <a:gd name="connsiteX8" fmla="*/ 124735 w 263053"/>
                <a:gd name="connsiteY8" fmla="*/ 172662 h 235087"/>
                <a:gd name="connsiteX9" fmla="*/ 82579 w 263053"/>
                <a:gd name="connsiteY9" fmla="*/ 228053 h 235087"/>
                <a:gd name="connsiteX10" fmla="*/ 37789 w 263053"/>
                <a:gd name="connsiteY10" fmla="*/ 232449 h 235087"/>
                <a:gd name="connsiteX11" fmla="*/ 39545 w 263053"/>
                <a:gd name="connsiteY11" fmla="*/ 235087 h 23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3053" h="235087">
                  <a:moveTo>
                    <a:pt x="39545" y="235087"/>
                  </a:moveTo>
                  <a:cubicBezTo>
                    <a:pt x="39545" y="235087"/>
                    <a:pt x="1781" y="184092"/>
                    <a:pt x="24" y="133096"/>
                  </a:cubicBezTo>
                  <a:cubicBezTo>
                    <a:pt x="-854" y="82101"/>
                    <a:pt x="21980" y="13521"/>
                    <a:pt x="91361" y="2091"/>
                  </a:cubicBezTo>
                  <a:cubicBezTo>
                    <a:pt x="91361" y="2091"/>
                    <a:pt x="226611" y="-15494"/>
                    <a:pt x="259984" y="51328"/>
                  </a:cubicBezTo>
                  <a:cubicBezTo>
                    <a:pt x="276671" y="86497"/>
                    <a:pt x="221341" y="61879"/>
                    <a:pt x="189725" y="82980"/>
                  </a:cubicBezTo>
                  <a:cubicBezTo>
                    <a:pt x="172160" y="95289"/>
                    <a:pt x="173916" y="117270"/>
                    <a:pt x="173916" y="125183"/>
                  </a:cubicBezTo>
                  <a:cubicBezTo>
                    <a:pt x="173916" y="146285"/>
                    <a:pt x="158108" y="159473"/>
                    <a:pt x="144056" y="148043"/>
                  </a:cubicBezTo>
                  <a:cubicBezTo>
                    <a:pt x="137030" y="141889"/>
                    <a:pt x="155473" y="119908"/>
                    <a:pt x="122978" y="107599"/>
                  </a:cubicBezTo>
                  <a:cubicBezTo>
                    <a:pt x="81701" y="100565"/>
                    <a:pt x="90483" y="162990"/>
                    <a:pt x="124735" y="172662"/>
                  </a:cubicBezTo>
                  <a:cubicBezTo>
                    <a:pt x="104535" y="183212"/>
                    <a:pt x="105413" y="227174"/>
                    <a:pt x="82579" y="228053"/>
                  </a:cubicBezTo>
                  <a:lnTo>
                    <a:pt x="37789" y="232449"/>
                  </a:lnTo>
                  <a:lnTo>
                    <a:pt x="39545" y="235087"/>
                  </a:lnTo>
                  <a:close/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0F92708F-5FFB-47D0-D03A-458DE49B6A73}"/>
                </a:ext>
              </a:extLst>
            </p:cNvPr>
            <p:cNvSpPr/>
            <p:nvPr/>
          </p:nvSpPr>
          <p:spPr>
            <a:xfrm>
              <a:off x="-11051904" y="2954985"/>
              <a:ext cx="132793" cy="93781"/>
            </a:xfrm>
            <a:custGeom>
              <a:avLst/>
              <a:gdLst>
                <a:gd name="connsiteX0" fmla="*/ 122254 w 132793"/>
                <a:gd name="connsiteY0" fmla="*/ 10648 h 93781"/>
                <a:gd name="connsiteX1" fmla="*/ 39699 w 132793"/>
                <a:gd name="connsiteY1" fmla="*/ 22957 h 93781"/>
                <a:gd name="connsiteX2" fmla="*/ 13352 w 132793"/>
                <a:gd name="connsiteY2" fmla="*/ 73074 h 93781"/>
                <a:gd name="connsiteX3" fmla="*/ 44091 w 132793"/>
                <a:gd name="connsiteY3" fmla="*/ 91537 h 93781"/>
                <a:gd name="connsiteX4" fmla="*/ 132793 w 132793"/>
                <a:gd name="connsiteY4" fmla="*/ 37904 h 9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793" h="93781">
                  <a:moveTo>
                    <a:pt x="122254" y="10648"/>
                  </a:moveTo>
                  <a:cubicBezTo>
                    <a:pt x="122254" y="10648"/>
                    <a:pt x="49360" y="-20125"/>
                    <a:pt x="39699" y="22957"/>
                  </a:cubicBezTo>
                  <a:cubicBezTo>
                    <a:pt x="30039" y="66040"/>
                    <a:pt x="29160" y="65161"/>
                    <a:pt x="13352" y="73074"/>
                  </a:cubicBezTo>
                  <a:cubicBezTo>
                    <a:pt x="-2456" y="80987"/>
                    <a:pt x="-15630" y="100330"/>
                    <a:pt x="44091" y="91537"/>
                  </a:cubicBezTo>
                  <a:cubicBezTo>
                    <a:pt x="103811" y="82745"/>
                    <a:pt x="132793" y="37904"/>
                    <a:pt x="132793" y="37904"/>
                  </a:cubicBezTo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CC2B76CC-3E56-6617-02E7-61C95B427743}"/>
                </a:ext>
              </a:extLst>
            </p:cNvPr>
            <p:cNvSpPr/>
            <p:nvPr/>
          </p:nvSpPr>
          <p:spPr>
            <a:xfrm>
              <a:off x="-11003024" y="3268022"/>
              <a:ext cx="361090" cy="247097"/>
            </a:xfrm>
            <a:custGeom>
              <a:avLst/>
              <a:gdLst>
                <a:gd name="connsiteX0" fmla="*/ 256048 w 361090"/>
                <a:gd name="connsiteY0" fmla="*/ 231304 h 247097"/>
                <a:gd name="connsiteX1" fmla="*/ 296447 w 361090"/>
                <a:gd name="connsiteY1" fmla="*/ 246251 h 247097"/>
                <a:gd name="connsiteX2" fmla="*/ 321916 w 361090"/>
                <a:gd name="connsiteY2" fmla="*/ 230425 h 247097"/>
                <a:gd name="connsiteX3" fmla="*/ 287665 w 361090"/>
                <a:gd name="connsiteY3" fmla="*/ 224270 h 247097"/>
                <a:gd name="connsiteX4" fmla="*/ 312256 w 361090"/>
                <a:gd name="connsiteY4" fmla="*/ 231304 h 247097"/>
                <a:gd name="connsiteX5" fmla="*/ 335090 w 361090"/>
                <a:gd name="connsiteY5" fmla="*/ 208444 h 247097"/>
                <a:gd name="connsiteX6" fmla="*/ 295569 w 361090"/>
                <a:gd name="connsiteY6" fmla="*/ 205807 h 247097"/>
                <a:gd name="connsiteX7" fmla="*/ 343873 w 361090"/>
                <a:gd name="connsiteY7" fmla="*/ 205807 h 247097"/>
                <a:gd name="connsiteX8" fmla="*/ 346507 w 361090"/>
                <a:gd name="connsiteY8" fmla="*/ 188222 h 247097"/>
                <a:gd name="connsiteX9" fmla="*/ 309621 w 361090"/>
                <a:gd name="connsiteY9" fmla="*/ 188222 h 247097"/>
                <a:gd name="connsiteX10" fmla="*/ 337725 w 361090"/>
                <a:gd name="connsiteY10" fmla="*/ 190860 h 247097"/>
                <a:gd name="connsiteX11" fmla="*/ 357046 w 361090"/>
                <a:gd name="connsiteY11" fmla="*/ 169758 h 247097"/>
                <a:gd name="connsiteX12" fmla="*/ 314890 w 361090"/>
                <a:gd name="connsiteY12" fmla="*/ 166241 h 247097"/>
                <a:gd name="connsiteX13" fmla="*/ 298204 w 361090"/>
                <a:gd name="connsiteY13" fmla="*/ 154811 h 247097"/>
                <a:gd name="connsiteX14" fmla="*/ 335968 w 361090"/>
                <a:gd name="connsiteY14" fmla="*/ 130193 h 247097"/>
                <a:gd name="connsiteX15" fmla="*/ 290300 w 361090"/>
                <a:gd name="connsiteY15" fmla="*/ 132830 h 247097"/>
                <a:gd name="connsiteX16" fmla="*/ 221797 w 361090"/>
                <a:gd name="connsiteY16" fmla="*/ 143381 h 247097"/>
                <a:gd name="connsiteX17" fmla="*/ 117286 w 361090"/>
                <a:gd name="connsiteY17" fmla="*/ 52821 h 247097"/>
                <a:gd name="connsiteX18" fmla="*/ 1358 w 361090"/>
                <a:gd name="connsiteY18" fmla="*/ 1825 h 247097"/>
                <a:gd name="connsiteX19" fmla="*/ 31218 w 361090"/>
                <a:gd name="connsiteY19" fmla="*/ 117004 h 247097"/>
                <a:gd name="connsiteX20" fmla="*/ 205110 w 361090"/>
                <a:gd name="connsiteY20" fmla="*/ 197894 h 247097"/>
                <a:gd name="connsiteX21" fmla="*/ 257805 w 361090"/>
                <a:gd name="connsiteY21" fmla="*/ 233942 h 247097"/>
                <a:gd name="connsiteX22" fmla="*/ 256048 w 361090"/>
                <a:gd name="connsiteY22" fmla="*/ 231304 h 24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090" h="247097">
                  <a:moveTo>
                    <a:pt x="256048" y="231304"/>
                  </a:moveTo>
                  <a:cubicBezTo>
                    <a:pt x="277126" y="242734"/>
                    <a:pt x="288543" y="244493"/>
                    <a:pt x="296447" y="246251"/>
                  </a:cubicBezTo>
                  <a:cubicBezTo>
                    <a:pt x="314890" y="251527"/>
                    <a:pt x="323673" y="230425"/>
                    <a:pt x="321916" y="230425"/>
                  </a:cubicBezTo>
                  <a:cubicBezTo>
                    <a:pt x="302595" y="233063"/>
                    <a:pt x="287665" y="224270"/>
                    <a:pt x="287665" y="224270"/>
                  </a:cubicBezTo>
                  <a:cubicBezTo>
                    <a:pt x="287665" y="224270"/>
                    <a:pt x="296447" y="230425"/>
                    <a:pt x="312256" y="231304"/>
                  </a:cubicBezTo>
                  <a:cubicBezTo>
                    <a:pt x="331577" y="233942"/>
                    <a:pt x="350020" y="216357"/>
                    <a:pt x="335090" y="208444"/>
                  </a:cubicBezTo>
                  <a:cubicBezTo>
                    <a:pt x="315769" y="211082"/>
                    <a:pt x="295569" y="205807"/>
                    <a:pt x="295569" y="205807"/>
                  </a:cubicBezTo>
                  <a:cubicBezTo>
                    <a:pt x="295569" y="205807"/>
                    <a:pt x="330699" y="214599"/>
                    <a:pt x="343873" y="205807"/>
                  </a:cubicBezTo>
                  <a:cubicBezTo>
                    <a:pt x="356168" y="196135"/>
                    <a:pt x="350898" y="186464"/>
                    <a:pt x="346507" y="188222"/>
                  </a:cubicBezTo>
                  <a:cubicBezTo>
                    <a:pt x="342116" y="189980"/>
                    <a:pt x="327186" y="196135"/>
                    <a:pt x="309621" y="188222"/>
                  </a:cubicBezTo>
                  <a:cubicBezTo>
                    <a:pt x="309621" y="188222"/>
                    <a:pt x="324551" y="192618"/>
                    <a:pt x="337725" y="190860"/>
                  </a:cubicBezTo>
                  <a:cubicBezTo>
                    <a:pt x="350898" y="189101"/>
                    <a:pt x="369342" y="175913"/>
                    <a:pt x="357046" y="169758"/>
                  </a:cubicBezTo>
                  <a:cubicBezTo>
                    <a:pt x="344751" y="163603"/>
                    <a:pt x="327186" y="172396"/>
                    <a:pt x="314890" y="166241"/>
                  </a:cubicBezTo>
                  <a:cubicBezTo>
                    <a:pt x="313134" y="165362"/>
                    <a:pt x="302595" y="158328"/>
                    <a:pt x="298204" y="154811"/>
                  </a:cubicBezTo>
                  <a:cubicBezTo>
                    <a:pt x="298204" y="152174"/>
                    <a:pt x="333334" y="145140"/>
                    <a:pt x="335968" y="130193"/>
                  </a:cubicBezTo>
                  <a:cubicBezTo>
                    <a:pt x="338603" y="115246"/>
                    <a:pt x="294691" y="132830"/>
                    <a:pt x="290300" y="132830"/>
                  </a:cubicBezTo>
                  <a:cubicBezTo>
                    <a:pt x="279761" y="133710"/>
                    <a:pt x="221797" y="143381"/>
                    <a:pt x="221797" y="143381"/>
                  </a:cubicBezTo>
                  <a:cubicBezTo>
                    <a:pt x="221797" y="143381"/>
                    <a:pt x="121677" y="45787"/>
                    <a:pt x="117286" y="52821"/>
                  </a:cubicBezTo>
                  <a:cubicBezTo>
                    <a:pt x="112895" y="59854"/>
                    <a:pt x="-14451" y="-12243"/>
                    <a:pt x="1358" y="1825"/>
                  </a:cubicBezTo>
                  <a:cubicBezTo>
                    <a:pt x="17166" y="15893"/>
                    <a:pt x="-13572" y="94144"/>
                    <a:pt x="31218" y="117004"/>
                  </a:cubicBezTo>
                  <a:cubicBezTo>
                    <a:pt x="76009" y="139864"/>
                    <a:pt x="206867" y="195256"/>
                    <a:pt x="205110" y="197894"/>
                  </a:cubicBezTo>
                  <a:cubicBezTo>
                    <a:pt x="205110" y="197894"/>
                    <a:pt x="236727" y="222512"/>
                    <a:pt x="257805" y="233942"/>
                  </a:cubicBezTo>
                  <a:lnTo>
                    <a:pt x="256048" y="231304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EA7EDAA0-661F-D28F-F125-1EF20195A1F7}"/>
                </a:ext>
              </a:extLst>
            </p:cNvPr>
            <p:cNvSpPr/>
            <p:nvPr/>
          </p:nvSpPr>
          <p:spPr>
            <a:xfrm>
              <a:off x="-11006568" y="3174890"/>
              <a:ext cx="157715" cy="150238"/>
            </a:xfrm>
            <a:custGeom>
              <a:avLst/>
              <a:gdLst>
                <a:gd name="connsiteX0" fmla="*/ 157716 w 157715"/>
                <a:gd name="connsiteY0" fmla="*/ 29894 h 150238"/>
                <a:gd name="connsiteX1" fmla="*/ 134003 w 157715"/>
                <a:gd name="connsiteY1" fmla="*/ 126609 h 150238"/>
                <a:gd name="connsiteX2" fmla="*/ 1389 w 157715"/>
                <a:gd name="connsiteY2" fmla="*/ 123092 h 150238"/>
                <a:gd name="connsiteX3" fmla="*/ 35640 w 157715"/>
                <a:gd name="connsiteY3" fmla="*/ 0 h 15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715" h="150238">
                  <a:moveTo>
                    <a:pt x="157716" y="29894"/>
                  </a:moveTo>
                  <a:cubicBezTo>
                    <a:pt x="157716" y="29894"/>
                    <a:pt x="149812" y="96715"/>
                    <a:pt x="134003" y="126609"/>
                  </a:cubicBezTo>
                  <a:cubicBezTo>
                    <a:pt x="116438" y="167054"/>
                    <a:pt x="22467" y="148590"/>
                    <a:pt x="1389" y="123092"/>
                  </a:cubicBezTo>
                  <a:cubicBezTo>
                    <a:pt x="-8272" y="57150"/>
                    <a:pt x="35640" y="0"/>
                    <a:pt x="35640" y="0"/>
                  </a:cubicBezTo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5" name="Graphic 6">
            <a:extLst>
              <a:ext uri="{FF2B5EF4-FFF2-40B4-BE49-F238E27FC236}">
                <a16:creationId xmlns:a16="http://schemas.microsoft.com/office/drawing/2014/main" id="{C20F609D-EB3C-55D3-A12E-E07FE7417985}"/>
              </a:ext>
            </a:extLst>
          </p:cNvPr>
          <p:cNvGrpSpPr/>
          <p:nvPr/>
        </p:nvGrpSpPr>
        <p:grpSpPr>
          <a:xfrm>
            <a:off x="-10159651" y="3689492"/>
            <a:ext cx="1772053" cy="2111660"/>
            <a:chOff x="-10159651" y="3689492"/>
            <a:chExt cx="1772053" cy="2111660"/>
          </a:xfrm>
        </p:grpSpPr>
        <p:grpSp>
          <p:nvGrpSpPr>
            <p:cNvPr id="116" name="Graphic 6">
              <a:extLst>
                <a:ext uri="{FF2B5EF4-FFF2-40B4-BE49-F238E27FC236}">
                  <a16:creationId xmlns:a16="http://schemas.microsoft.com/office/drawing/2014/main" id="{B65F25C4-09B2-4716-0AA3-B9593F61BCA2}"/>
                </a:ext>
              </a:extLst>
            </p:cNvPr>
            <p:cNvGrpSpPr/>
            <p:nvPr/>
          </p:nvGrpSpPr>
          <p:grpSpPr>
            <a:xfrm>
              <a:off x="-10145379" y="3689492"/>
              <a:ext cx="1583761" cy="2111660"/>
              <a:chOff x="-10145379" y="3689492"/>
              <a:chExt cx="1583761" cy="2111660"/>
            </a:xfrm>
          </p:grpSpPr>
          <p:sp>
            <p:nvSpPr>
              <p:cNvPr id="117" name="Freeform 116">
                <a:extLst>
                  <a:ext uri="{FF2B5EF4-FFF2-40B4-BE49-F238E27FC236}">
                    <a16:creationId xmlns:a16="http://schemas.microsoft.com/office/drawing/2014/main" id="{AF22DE33-13CC-B6F0-E65A-361A5BE05DDF}"/>
                  </a:ext>
                </a:extLst>
              </p:cNvPr>
              <p:cNvSpPr/>
              <p:nvPr/>
            </p:nvSpPr>
            <p:spPr>
              <a:xfrm>
                <a:off x="-9701867" y="5162831"/>
                <a:ext cx="224829" cy="623972"/>
              </a:xfrm>
              <a:custGeom>
                <a:avLst/>
                <a:gdLst>
                  <a:gd name="connsiteX0" fmla="*/ 103633 w 224829"/>
                  <a:gd name="connsiteY0" fmla="*/ 612824 h 623972"/>
                  <a:gd name="connsiteX1" fmla="*/ 90459 w 224829"/>
                  <a:gd name="connsiteY1" fmla="*/ 563587 h 623972"/>
                  <a:gd name="connsiteX2" fmla="*/ 96607 w 224829"/>
                  <a:gd name="connsiteY2" fmla="*/ 496765 h 623972"/>
                  <a:gd name="connsiteX3" fmla="*/ 28104 w 224829"/>
                  <a:gd name="connsiteY3" fmla="*/ 125730 h 623972"/>
                  <a:gd name="connsiteX4" fmla="*/ 0 w 224829"/>
                  <a:gd name="connsiteY4" fmla="*/ 4396 h 623972"/>
                  <a:gd name="connsiteX5" fmla="*/ 180040 w 224829"/>
                  <a:gd name="connsiteY5" fmla="*/ 0 h 623972"/>
                  <a:gd name="connsiteX6" fmla="*/ 185309 w 224829"/>
                  <a:gd name="connsiteY6" fmla="*/ 118696 h 623972"/>
                  <a:gd name="connsiteX7" fmla="*/ 194970 w 224829"/>
                  <a:gd name="connsiteY7" fmla="*/ 517867 h 623972"/>
                  <a:gd name="connsiteX8" fmla="*/ 224830 w 224829"/>
                  <a:gd name="connsiteY8" fmla="*/ 556553 h 623972"/>
                  <a:gd name="connsiteX9" fmla="*/ 103633 w 224829"/>
                  <a:gd name="connsiteY9" fmla="*/ 612824 h 623972"/>
                  <a:gd name="connsiteX10" fmla="*/ 103633 w 224829"/>
                  <a:gd name="connsiteY10" fmla="*/ 612824 h 6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4829" h="623972">
                    <a:moveTo>
                      <a:pt x="103633" y="612824"/>
                    </a:moveTo>
                    <a:cubicBezTo>
                      <a:pt x="103633" y="612824"/>
                      <a:pt x="83433" y="589964"/>
                      <a:pt x="90459" y="563587"/>
                    </a:cubicBezTo>
                    <a:cubicBezTo>
                      <a:pt x="97485" y="537210"/>
                      <a:pt x="108024" y="528418"/>
                      <a:pt x="96607" y="496765"/>
                    </a:cubicBezTo>
                    <a:cubicBezTo>
                      <a:pt x="96607" y="496765"/>
                      <a:pt x="10539" y="196069"/>
                      <a:pt x="28104" y="125730"/>
                    </a:cubicBezTo>
                    <a:cubicBezTo>
                      <a:pt x="18443" y="85285"/>
                      <a:pt x="0" y="4396"/>
                      <a:pt x="0" y="4396"/>
                    </a:cubicBezTo>
                    <a:lnTo>
                      <a:pt x="180040" y="0"/>
                    </a:lnTo>
                    <a:lnTo>
                      <a:pt x="185309" y="118696"/>
                    </a:lnTo>
                    <a:lnTo>
                      <a:pt x="194970" y="517867"/>
                    </a:lnTo>
                    <a:lnTo>
                      <a:pt x="224830" y="556553"/>
                    </a:lnTo>
                    <a:cubicBezTo>
                      <a:pt x="224830" y="556553"/>
                      <a:pt x="134371" y="656785"/>
                      <a:pt x="103633" y="612824"/>
                    </a:cubicBezTo>
                    <a:lnTo>
                      <a:pt x="103633" y="612824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eform 117">
                <a:extLst>
                  <a:ext uri="{FF2B5EF4-FFF2-40B4-BE49-F238E27FC236}">
                    <a16:creationId xmlns:a16="http://schemas.microsoft.com/office/drawing/2014/main" id="{260B7E18-1F9E-1C84-0C9B-F3488A3F334B}"/>
                  </a:ext>
                </a:extLst>
              </p:cNvPr>
              <p:cNvSpPr/>
              <p:nvPr/>
            </p:nvSpPr>
            <p:spPr>
              <a:xfrm>
                <a:off x="-9620519" y="5684214"/>
                <a:ext cx="289335" cy="116937"/>
              </a:xfrm>
              <a:custGeom>
                <a:avLst/>
                <a:gdLst>
                  <a:gd name="connsiteX0" fmla="*/ 276096 w 289335"/>
                  <a:gd name="connsiteY0" fmla="*/ 61546 h 116937"/>
                  <a:gd name="connsiteX1" fmla="*/ 129430 w 289335"/>
                  <a:gd name="connsiteY1" fmla="*/ 0 h 116937"/>
                  <a:gd name="connsiteX2" fmla="*/ 99569 w 289335"/>
                  <a:gd name="connsiteY2" fmla="*/ 76493 h 116937"/>
                  <a:gd name="connsiteX3" fmla="*/ 328 w 289335"/>
                  <a:gd name="connsiteY3" fmla="*/ 76493 h 116937"/>
                  <a:gd name="connsiteX4" fmla="*/ 7354 w 289335"/>
                  <a:gd name="connsiteY4" fmla="*/ 114300 h 116937"/>
                  <a:gd name="connsiteX5" fmla="*/ 264679 w 289335"/>
                  <a:gd name="connsiteY5" fmla="*/ 116938 h 116937"/>
                  <a:gd name="connsiteX6" fmla="*/ 276096 w 289335"/>
                  <a:gd name="connsiteY6" fmla="*/ 60667 h 116937"/>
                  <a:gd name="connsiteX7" fmla="*/ 276096 w 289335"/>
                  <a:gd name="connsiteY7" fmla="*/ 60667 h 116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9335" h="116937">
                    <a:moveTo>
                      <a:pt x="276096" y="61546"/>
                    </a:moveTo>
                    <a:cubicBezTo>
                      <a:pt x="246236" y="36049"/>
                      <a:pt x="129430" y="0"/>
                      <a:pt x="129430" y="0"/>
                    </a:cubicBezTo>
                    <a:cubicBezTo>
                      <a:pt x="129430" y="0"/>
                      <a:pt x="125039" y="72097"/>
                      <a:pt x="99569" y="76493"/>
                    </a:cubicBezTo>
                    <a:cubicBezTo>
                      <a:pt x="74101" y="80889"/>
                      <a:pt x="328" y="76493"/>
                      <a:pt x="328" y="76493"/>
                    </a:cubicBezTo>
                    <a:cubicBezTo>
                      <a:pt x="328" y="76493"/>
                      <a:pt x="-2306" y="109904"/>
                      <a:pt x="7354" y="114300"/>
                    </a:cubicBezTo>
                    <a:cubicBezTo>
                      <a:pt x="14380" y="116938"/>
                      <a:pt x="249749" y="116938"/>
                      <a:pt x="264679" y="116938"/>
                    </a:cubicBezTo>
                    <a:cubicBezTo>
                      <a:pt x="279609" y="116938"/>
                      <a:pt x="305078" y="86164"/>
                      <a:pt x="276096" y="60667"/>
                    </a:cubicBezTo>
                    <a:lnTo>
                      <a:pt x="276096" y="606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9" name="Graphic 6">
                <a:extLst>
                  <a:ext uri="{FF2B5EF4-FFF2-40B4-BE49-F238E27FC236}">
                    <a16:creationId xmlns:a16="http://schemas.microsoft.com/office/drawing/2014/main" id="{88AC4BE3-4F7D-2CDE-2F2C-49198863B08D}"/>
                  </a:ext>
                </a:extLst>
              </p:cNvPr>
              <p:cNvGrpSpPr/>
              <p:nvPr/>
            </p:nvGrpSpPr>
            <p:grpSpPr>
              <a:xfrm>
                <a:off x="-10000469" y="4565833"/>
                <a:ext cx="972045" cy="1224518"/>
                <a:chOff x="-10000469" y="4565833"/>
                <a:chExt cx="972045" cy="1224518"/>
              </a:xfrm>
            </p:grpSpPr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8F5DF71F-7939-3B3E-EDD0-60D10E080848}"/>
                    </a:ext>
                  </a:extLst>
                </p:cNvPr>
                <p:cNvSpPr/>
                <p:nvPr/>
              </p:nvSpPr>
              <p:spPr>
                <a:xfrm>
                  <a:off x="-9967975" y="5144367"/>
                  <a:ext cx="182674" cy="645984"/>
                </a:xfrm>
                <a:custGeom>
                  <a:avLst/>
                  <a:gdLst>
                    <a:gd name="connsiteX0" fmla="*/ 113293 w 182674"/>
                    <a:gd name="connsiteY0" fmla="*/ 605790 h 645984"/>
                    <a:gd name="connsiteX1" fmla="*/ 106267 w 182674"/>
                    <a:gd name="connsiteY1" fmla="*/ 513471 h 645984"/>
                    <a:gd name="connsiteX2" fmla="*/ 182675 w 182674"/>
                    <a:gd name="connsiteY2" fmla="*/ 7034 h 645984"/>
                    <a:gd name="connsiteX3" fmla="*/ 0 w 182674"/>
                    <a:gd name="connsiteY3" fmla="*/ 0 h 645984"/>
                    <a:gd name="connsiteX4" fmla="*/ 20200 w 182674"/>
                    <a:gd name="connsiteY4" fmla="*/ 512591 h 645984"/>
                    <a:gd name="connsiteX5" fmla="*/ 2635 w 182674"/>
                    <a:gd name="connsiteY5" fmla="*/ 622495 h 645984"/>
                    <a:gd name="connsiteX6" fmla="*/ 113293 w 182674"/>
                    <a:gd name="connsiteY6" fmla="*/ 606669 h 645984"/>
                    <a:gd name="connsiteX7" fmla="*/ 113293 w 182674"/>
                    <a:gd name="connsiteY7" fmla="*/ 606669 h 64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2674" h="645984">
                      <a:moveTo>
                        <a:pt x="113293" y="605790"/>
                      </a:moveTo>
                      <a:cubicBezTo>
                        <a:pt x="113293" y="605790"/>
                        <a:pt x="94850" y="545123"/>
                        <a:pt x="106267" y="513471"/>
                      </a:cubicBezTo>
                      <a:lnTo>
                        <a:pt x="182675" y="7034"/>
                      </a:lnTo>
                      <a:lnTo>
                        <a:pt x="0" y="0"/>
                      </a:lnTo>
                      <a:lnTo>
                        <a:pt x="20200" y="512591"/>
                      </a:lnTo>
                      <a:cubicBezTo>
                        <a:pt x="20200" y="512591"/>
                        <a:pt x="-6148" y="584688"/>
                        <a:pt x="2635" y="622495"/>
                      </a:cubicBezTo>
                      <a:cubicBezTo>
                        <a:pt x="10539" y="660302"/>
                        <a:pt x="83433" y="650631"/>
                        <a:pt x="113293" y="606669"/>
                      </a:cubicBezTo>
                      <a:lnTo>
                        <a:pt x="113293" y="606669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5C5C81AD-70BE-AF4E-D077-161A16A46970}"/>
                    </a:ext>
                  </a:extLst>
                </p:cNvPr>
                <p:cNvSpPr/>
                <p:nvPr/>
              </p:nvSpPr>
              <p:spPr>
                <a:xfrm>
                  <a:off x="-10000469" y="4565833"/>
                  <a:ext cx="499719" cy="602272"/>
                </a:xfrm>
                <a:custGeom>
                  <a:avLst/>
                  <a:gdLst>
                    <a:gd name="connsiteX0" fmla="*/ 233612 w 499719"/>
                    <a:gd name="connsiteY0" fmla="*/ 601394 h 602272"/>
                    <a:gd name="connsiteX1" fmla="*/ 0 w 499719"/>
                    <a:gd name="connsiteY1" fmla="*/ 601394 h 602272"/>
                    <a:gd name="connsiteX2" fmla="*/ 20199 w 499719"/>
                    <a:gd name="connsiteY2" fmla="*/ 135401 h 602272"/>
                    <a:gd name="connsiteX3" fmla="*/ 44790 w 499719"/>
                    <a:gd name="connsiteY3" fmla="*/ 45720 h 602272"/>
                    <a:gd name="connsiteX4" fmla="*/ 388183 w 499719"/>
                    <a:gd name="connsiteY4" fmla="*/ 0 h 602272"/>
                    <a:gd name="connsiteX5" fmla="*/ 449660 w 499719"/>
                    <a:gd name="connsiteY5" fmla="*/ 124851 h 602272"/>
                    <a:gd name="connsiteX6" fmla="*/ 499720 w 499719"/>
                    <a:gd name="connsiteY6" fmla="*/ 596998 h 602272"/>
                    <a:gd name="connsiteX7" fmla="*/ 274890 w 499719"/>
                    <a:gd name="connsiteY7" fmla="*/ 602273 h 602272"/>
                    <a:gd name="connsiteX8" fmla="*/ 259960 w 499719"/>
                    <a:gd name="connsiteY8" fmla="*/ 366639 h 602272"/>
                    <a:gd name="connsiteX9" fmla="*/ 238882 w 499719"/>
                    <a:gd name="connsiteY9" fmla="*/ 371915 h 602272"/>
                    <a:gd name="connsiteX10" fmla="*/ 233612 w 499719"/>
                    <a:gd name="connsiteY10" fmla="*/ 602273 h 602272"/>
                    <a:gd name="connsiteX11" fmla="*/ 233612 w 499719"/>
                    <a:gd name="connsiteY11" fmla="*/ 602273 h 602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99719" h="602272">
                      <a:moveTo>
                        <a:pt x="233612" y="601394"/>
                      </a:moveTo>
                      <a:lnTo>
                        <a:pt x="0" y="601394"/>
                      </a:lnTo>
                      <a:lnTo>
                        <a:pt x="20199" y="135401"/>
                      </a:lnTo>
                      <a:lnTo>
                        <a:pt x="44790" y="45720"/>
                      </a:lnTo>
                      <a:lnTo>
                        <a:pt x="388183" y="0"/>
                      </a:lnTo>
                      <a:lnTo>
                        <a:pt x="449660" y="124851"/>
                      </a:lnTo>
                      <a:cubicBezTo>
                        <a:pt x="462834" y="160020"/>
                        <a:pt x="499720" y="596998"/>
                        <a:pt x="499720" y="596998"/>
                      </a:cubicBezTo>
                      <a:lnTo>
                        <a:pt x="274890" y="602273"/>
                      </a:lnTo>
                      <a:lnTo>
                        <a:pt x="259960" y="366639"/>
                      </a:lnTo>
                      <a:lnTo>
                        <a:pt x="238882" y="371915"/>
                      </a:lnTo>
                      <a:lnTo>
                        <a:pt x="233612" y="602273"/>
                      </a:lnTo>
                      <a:lnTo>
                        <a:pt x="233612" y="60227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2" name="Freeform 121">
                <a:extLst>
                  <a:ext uri="{FF2B5EF4-FFF2-40B4-BE49-F238E27FC236}">
                    <a16:creationId xmlns:a16="http://schemas.microsoft.com/office/drawing/2014/main" id="{EEE1AB20-F874-A315-17E2-6068BE0260A3}"/>
                  </a:ext>
                </a:extLst>
              </p:cNvPr>
              <p:cNvSpPr/>
              <p:nvPr/>
            </p:nvSpPr>
            <p:spPr>
              <a:xfrm>
                <a:off x="-10145379" y="4042691"/>
                <a:ext cx="736845" cy="653268"/>
              </a:xfrm>
              <a:custGeom>
                <a:avLst/>
                <a:gdLst>
                  <a:gd name="connsiteX0" fmla="*/ 95728 w 736845"/>
                  <a:gd name="connsiteY0" fmla="*/ 109025 h 653268"/>
                  <a:gd name="connsiteX1" fmla="*/ 230978 w 736845"/>
                  <a:gd name="connsiteY1" fmla="*/ 19343 h 653268"/>
                  <a:gd name="connsiteX2" fmla="*/ 413652 w 736845"/>
                  <a:gd name="connsiteY2" fmla="*/ 0 h 653268"/>
                  <a:gd name="connsiteX3" fmla="*/ 555049 w 736845"/>
                  <a:gd name="connsiteY3" fmla="*/ 23739 h 653268"/>
                  <a:gd name="connsiteX4" fmla="*/ 663951 w 736845"/>
                  <a:gd name="connsiteY4" fmla="*/ 91440 h 653268"/>
                  <a:gd name="connsiteX5" fmla="*/ 736845 w 736845"/>
                  <a:gd name="connsiteY5" fmla="*/ 383345 h 653268"/>
                  <a:gd name="connsiteX6" fmla="*/ 610379 w 736845"/>
                  <a:gd name="connsiteY6" fmla="*/ 413238 h 653268"/>
                  <a:gd name="connsiteX7" fmla="*/ 613892 w 736845"/>
                  <a:gd name="connsiteY7" fmla="*/ 302455 h 653268"/>
                  <a:gd name="connsiteX8" fmla="*/ 603352 w 736845"/>
                  <a:gd name="connsiteY8" fmla="*/ 648872 h 653268"/>
                  <a:gd name="connsiteX9" fmla="*/ 152814 w 736845"/>
                  <a:gd name="connsiteY9" fmla="*/ 653269 h 653268"/>
                  <a:gd name="connsiteX10" fmla="*/ 172135 w 736845"/>
                  <a:gd name="connsiteY10" fmla="*/ 314765 h 653268"/>
                  <a:gd name="connsiteX11" fmla="*/ 133493 w 736845"/>
                  <a:gd name="connsiteY11" fmla="*/ 414997 h 653268"/>
                  <a:gd name="connsiteX12" fmla="*/ 0 w 736845"/>
                  <a:gd name="connsiteY12" fmla="*/ 327074 h 653268"/>
                  <a:gd name="connsiteX13" fmla="*/ 96607 w 736845"/>
                  <a:gd name="connsiteY13" fmla="*/ 110783 h 653268"/>
                  <a:gd name="connsiteX14" fmla="*/ 96607 w 736845"/>
                  <a:gd name="connsiteY14" fmla="*/ 109025 h 653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36845" h="653268">
                    <a:moveTo>
                      <a:pt x="95728" y="109025"/>
                    </a:moveTo>
                    <a:cubicBezTo>
                      <a:pt x="137006" y="36049"/>
                      <a:pt x="230978" y="19343"/>
                      <a:pt x="230978" y="19343"/>
                    </a:cubicBezTo>
                    <a:cubicBezTo>
                      <a:pt x="230978" y="19343"/>
                      <a:pt x="310898" y="2638"/>
                      <a:pt x="413652" y="0"/>
                    </a:cubicBezTo>
                    <a:cubicBezTo>
                      <a:pt x="518163" y="4396"/>
                      <a:pt x="555049" y="23739"/>
                      <a:pt x="555049" y="23739"/>
                    </a:cubicBezTo>
                    <a:cubicBezTo>
                      <a:pt x="598083" y="38686"/>
                      <a:pt x="645508" y="63305"/>
                      <a:pt x="663951" y="91440"/>
                    </a:cubicBezTo>
                    <a:cubicBezTo>
                      <a:pt x="685029" y="122213"/>
                      <a:pt x="716646" y="252339"/>
                      <a:pt x="736845" y="383345"/>
                    </a:cubicBezTo>
                    <a:lnTo>
                      <a:pt x="610379" y="413238"/>
                    </a:lnTo>
                    <a:lnTo>
                      <a:pt x="613892" y="302455"/>
                    </a:lnTo>
                    <a:lnTo>
                      <a:pt x="603352" y="648872"/>
                    </a:lnTo>
                    <a:lnTo>
                      <a:pt x="152814" y="653269"/>
                    </a:lnTo>
                    <a:cubicBezTo>
                      <a:pt x="152814" y="653269"/>
                      <a:pt x="170379" y="452804"/>
                      <a:pt x="172135" y="314765"/>
                    </a:cubicBezTo>
                    <a:lnTo>
                      <a:pt x="133493" y="414997"/>
                    </a:lnTo>
                    <a:cubicBezTo>
                      <a:pt x="133493" y="414997"/>
                      <a:pt x="36008" y="371915"/>
                      <a:pt x="0" y="327074"/>
                    </a:cubicBezTo>
                    <a:cubicBezTo>
                      <a:pt x="12295" y="284871"/>
                      <a:pt x="55329" y="182880"/>
                      <a:pt x="96607" y="110783"/>
                    </a:cubicBezTo>
                    <a:lnTo>
                      <a:pt x="96607" y="109025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1F680ECB-2612-CFE5-7399-C1EDAE04C65C}"/>
                  </a:ext>
                </a:extLst>
              </p:cNvPr>
              <p:cNvSpPr/>
              <p:nvPr/>
            </p:nvSpPr>
            <p:spPr>
              <a:xfrm>
                <a:off x="-9872246" y="3894980"/>
                <a:ext cx="243273" cy="239150"/>
              </a:xfrm>
              <a:custGeom>
                <a:avLst/>
                <a:gdLst>
                  <a:gd name="connsiteX0" fmla="*/ 0 w 243273"/>
                  <a:gd name="connsiteY0" fmla="*/ 160899 h 239150"/>
                  <a:gd name="connsiteX1" fmla="*/ 58842 w 243273"/>
                  <a:gd name="connsiteY1" fmla="*/ 152107 h 239150"/>
                  <a:gd name="connsiteX2" fmla="*/ 65868 w 243273"/>
                  <a:gd name="connsiteY2" fmla="*/ 0 h 239150"/>
                  <a:gd name="connsiteX3" fmla="*/ 195848 w 243273"/>
                  <a:gd name="connsiteY3" fmla="*/ 43962 h 239150"/>
                  <a:gd name="connsiteX4" fmla="*/ 191457 w 243273"/>
                  <a:gd name="connsiteY4" fmla="*/ 150349 h 239150"/>
                  <a:gd name="connsiteX5" fmla="*/ 243273 w 243273"/>
                  <a:gd name="connsiteY5" fmla="*/ 159141 h 239150"/>
                  <a:gd name="connsiteX6" fmla="*/ 122076 w 243273"/>
                  <a:gd name="connsiteY6" fmla="*/ 239151 h 239150"/>
                  <a:gd name="connsiteX7" fmla="*/ 0 w 243273"/>
                  <a:gd name="connsiteY7" fmla="*/ 160899 h 239150"/>
                  <a:gd name="connsiteX8" fmla="*/ 0 w 243273"/>
                  <a:gd name="connsiteY8" fmla="*/ 160899 h 23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3273" h="239150">
                    <a:moveTo>
                      <a:pt x="0" y="160899"/>
                    </a:moveTo>
                    <a:lnTo>
                      <a:pt x="58842" y="152107"/>
                    </a:lnTo>
                    <a:lnTo>
                      <a:pt x="65868" y="0"/>
                    </a:lnTo>
                    <a:lnTo>
                      <a:pt x="195848" y="43962"/>
                    </a:lnTo>
                    <a:lnTo>
                      <a:pt x="191457" y="150349"/>
                    </a:lnTo>
                    <a:lnTo>
                      <a:pt x="243273" y="159141"/>
                    </a:lnTo>
                    <a:cubicBezTo>
                      <a:pt x="243273" y="159141"/>
                      <a:pt x="218683" y="239151"/>
                      <a:pt x="122076" y="239151"/>
                    </a:cubicBezTo>
                    <a:cubicBezTo>
                      <a:pt x="25469" y="239151"/>
                      <a:pt x="0" y="160899"/>
                      <a:pt x="0" y="160899"/>
                    </a:cubicBezTo>
                    <a:lnTo>
                      <a:pt x="0" y="160899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64EEC14C-2FCD-BD5A-F385-E9EE242D7992}"/>
                  </a:ext>
                </a:extLst>
              </p:cNvPr>
              <p:cNvSpPr/>
              <p:nvPr/>
            </p:nvSpPr>
            <p:spPr>
              <a:xfrm>
                <a:off x="-9812907" y="3743752"/>
                <a:ext cx="230192" cy="262889"/>
              </a:xfrm>
              <a:custGeom>
                <a:avLst/>
                <a:gdLst>
                  <a:gd name="connsiteX0" fmla="*/ 23216 w 230192"/>
                  <a:gd name="connsiteY0" fmla="*/ 196068 h 262889"/>
                  <a:gd name="connsiteX1" fmla="*/ 10042 w 230192"/>
                  <a:gd name="connsiteY1" fmla="*/ 176725 h 262889"/>
                  <a:gd name="connsiteX2" fmla="*/ 8286 w 230192"/>
                  <a:gd name="connsiteY2" fmla="*/ 174088 h 262889"/>
                  <a:gd name="connsiteX3" fmla="*/ 48685 w 230192"/>
                  <a:gd name="connsiteY3" fmla="*/ 116059 h 262889"/>
                  <a:gd name="connsiteX4" fmla="*/ 53955 w 230192"/>
                  <a:gd name="connsiteY4" fmla="*/ 104629 h 262889"/>
                  <a:gd name="connsiteX5" fmla="*/ 73276 w 230192"/>
                  <a:gd name="connsiteY5" fmla="*/ 101991 h 262889"/>
                  <a:gd name="connsiteX6" fmla="*/ 68885 w 230192"/>
                  <a:gd name="connsiteY6" fmla="*/ 88802 h 262889"/>
                  <a:gd name="connsiteX7" fmla="*/ 107527 w 230192"/>
                  <a:gd name="connsiteY7" fmla="*/ 30773 h 262889"/>
                  <a:gd name="connsiteX8" fmla="*/ 159344 w 230192"/>
                  <a:gd name="connsiteY8" fmla="*/ 2638 h 262889"/>
                  <a:gd name="connsiteX9" fmla="*/ 167248 w 230192"/>
                  <a:gd name="connsiteY9" fmla="*/ 0 h 262889"/>
                  <a:gd name="connsiteX10" fmla="*/ 193595 w 230192"/>
                  <a:gd name="connsiteY10" fmla="*/ 74735 h 262889"/>
                  <a:gd name="connsiteX11" fmla="*/ 226090 w 230192"/>
                  <a:gd name="connsiteY11" fmla="*/ 116059 h 262889"/>
                  <a:gd name="connsiteX12" fmla="*/ 220821 w 230192"/>
                  <a:gd name="connsiteY12" fmla="*/ 141556 h 262889"/>
                  <a:gd name="connsiteX13" fmla="*/ 220821 w 230192"/>
                  <a:gd name="connsiteY13" fmla="*/ 171450 h 262889"/>
                  <a:gd name="connsiteX14" fmla="*/ 213795 w 230192"/>
                  <a:gd name="connsiteY14" fmla="*/ 186397 h 262889"/>
                  <a:gd name="connsiteX15" fmla="*/ 219064 w 230192"/>
                  <a:gd name="connsiteY15" fmla="*/ 203102 h 262889"/>
                  <a:gd name="connsiteX16" fmla="*/ 212916 w 230192"/>
                  <a:gd name="connsiteY16" fmla="*/ 245305 h 262889"/>
                  <a:gd name="connsiteX17" fmla="*/ 118945 w 230192"/>
                  <a:gd name="connsiteY17" fmla="*/ 262890 h 262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0192" h="262889">
                    <a:moveTo>
                      <a:pt x="23216" y="196068"/>
                    </a:moveTo>
                    <a:cubicBezTo>
                      <a:pt x="17947" y="190793"/>
                      <a:pt x="13555" y="183759"/>
                      <a:pt x="10042" y="176725"/>
                    </a:cubicBezTo>
                    <a:cubicBezTo>
                      <a:pt x="10042" y="175846"/>
                      <a:pt x="9164" y="174967"/>
                      <a:pt x="8286" y="174088"/>
                    </a:cubicBezTo>
                    <a:cubicBezTo>
                      <a:pt x="-16305" y="119575"/>
                      <a:pt x="18825" y="92319"/>
                      <a:pt x="48685" y="116059"/>
                    </a:cubicBezTo>
                    <a:cubicBezTo>
                      <a:pt x="55711" y="121334"/>
                      <a:pt x="48685" y="94078"/>
                      <a:pt x="53955" y="104629"/>
                    </a:cubicBezTo>
                    <a:cubicBezTo>
                      <a:pt x="62737" y="123972"/>
                      <a:pt x="81180" y="131005"/>
                      <a:pt x="73276" y="101991"/>
                    </a:cubicBezTo>
                    <a:cubicBezTo>
                      <a:pt x="73276" y="99353"/>
                      <a:pt x="71519" y="98474"/>
                      <a:pt x="68885" y="88802"/>
                    </a:cubicBezTo>
                    <a:cubicBezTo>
                      <a:pt x="60102" y="62425"/>
                      <a:pt x="85571" y="36928"/>
                      <a:pt x="107527" y="30773"/>
                    </a:cubicBezTo>
                    <a:cubicBezTo>
                      <a:pt x="138266" y="21981"/>
                      <a:pt x="159344" y="2638"/>
                      <a:pt x="159344" y="2638"/>
                    </a:cubicBezTo>
                    <a:cubicBezTo>
                      <a:pt x="159344" y="2638"/>
                      <a:pt x="166370" y="0"/>
                      <a:pt x="167248" y="0"/>
                    </a:cubicBezTo>
                    <a:cubicBezTo>
                      <a:pt x="172517" y="5275"/>
                      <a:pt x="195351" y="35169"/>
                      <a:pt x="193595" y="74735"/>
                    </a:cubicBezTo>
                    <a:cubicBezTo>
                      <a:pt x="193595" y="84406"/>
                      <a:pt x="219942" y="106387"/>
                      <a:pt x="226090" y="116059"/>
                    </a:cubicBezTo>
                    <a:cubicBezTo>
                      <a:pt x="232238" y="125730"/>
                      <a:pt x="232238" y="133643"/>
                      <a:pt x="220821" y="141556"/>
                    </a:cubicBezTo>
                    <a:cubicBezTo>
                      <a:pt x="206769" y="150349"/>
                      <a:pt x="216429" y="167054"/>
                      <a:pt x="220821" y="171450"/>
                    </a:cubicBezTo>
                    <a:cubicBezTo>
                      <a:pt x="225212" y="176725"/>
                      <a:pt x="209403" y="184638"/>
                      <a:pt x="213795" y="186397"/>
                    </a:cubicBezTo>
                    <a:cubicBezTo>
                      <a:pt x="213795" y="186397"/>
                      <a:pt x="224334" y="195189"/>
                      <a:pt x="219064" y="203102"/>
                    </a:cubicBezTo>
                    <a:cubicBezTo>
                      <a:pt x="213795" y="211015"/>
                      <a:pt x="216429" y="236513"/>
                      <a:pt x="212916" y="245305"/>
                    </a:cubicBezTo>
                    <a:cubicBezTo>
                      <a:pt x="206769" y="262011"/>
                      <a:pt x="142657" y="262011"/>
                      <a:pt x="118945" y="262890"/>
                    </a:cubicBezTo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5BC748F6-1516-123A-55BE-B15B8A68AE27}"/>
                  </a:ext>
                </a:extLst>
              </p:cNvPr>
              <p:cNvSpPr/>
              <p:nvPr/>
            </p:nvSpPr>
            <p:spPr>
              <a:xfrm>
                <a:off x="-9913093" y="3689492"/>
                <a:ext cx="287769" cy="295389"/>
              </a:xfrm>
              <a:custGeom>
                <a:avLst/>
                <a:gdLst>
                  <a:gd name="connsiteX0" fmla="*/ 24160 w 287769"/>
                  <a:gd name="connsiteY0" fmla="*/ 76241 h 295389"/>
                  <a:gd name="connsiteX1" fmla="*/ 61047 w 287769"/>
                  <a:gd name="connsiteY1" fmla="*/ 23487 h 295389"/>
                  <a:gd name="connsiteX2" fmla="*/ 174340 w 287769"/>
                  <a:gd name="connsiteY2" fmla="*/ 627 h 295389"/>
                  <a:gd name="connsiteX3" fmla="*/ 271825 w 287769"/>
                  <a:gd name="connsiteY3" fmla="*/ 67449 h 295389"/>
                  <a:gd name="connsiteX4" fmla="*/ 198931 w 287769"/>
                  <a:gd name="connsiteY4" fmla="*/ 88550 h 295389"/>
                  <a:gd name="connsiteX5" fmla="*/ 175218 w 287769"/>
                  <a:gd name="connsiteY5" fmla="*/ 162406 h 295389"/>
                  <a:gd name="connsiteX6" fmla="*/ 157653 w 287769"/>
                  <a:gd name="connsiteY6" fmla="*/ 185266 h 295389"/>
                  <a:gd name="connsiteX7" fmla="*/ 141845 w 287769"/>
                  <a:gd name="connsiteY7" fmla="*/ 172077 h 295389"/>
                  <a:gd name="connsiteX8" fmla="*/ 108472 w 287769"/>
                  <a:gd name="connsiteY8" fmla="*/ 227469 h 295389"/>
                  <a:gd name="connsiteX9" fmla="*/ 130428 w 287769"/>
                  <a:gd name="connsiteY9" fmla="*/ 250329 h 295389"/>
                  <a:gd name="connsiteX10" fmla="*/ 104959 w 287769"/>
                  <a:gd name="connsiteY10" fmla="*/ 285498 h 295389"/>
                  <a:gd name="connsiteX11" fmla="*/ 83881 w 287769"/>
                  <a:gd name="connsiteY11" fmla="*/ 285498 h 295389"/>
                  <a:gd name="connsiteX12" fmla="*/ 34699 w 287769"/>
                  <a:gd name="connsiteY12" fmla="*/ 221314 h 295389"/>
                  <a:gd name="connsiteX13" fmla="*/ 24160 w 287769"/>
                  <a:gd name="connsiteY13" fmla="*/ 77120 h 295389"/>
                  <a:gd name="connsiteX14" fmla="*/ 24160 w 287769"/>
                  <a:gd name="connsiteY14" fmla="*/ 77120 h 295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7769" h="295389">
                    <a:moveTo>
                      <a:pt x="24160" y="76241"/>
                    </a:moveTo>
                    <a:cubicBezTo>
                      <a:pt x="24160" y="76241"/>
                      <a:pt x="22404" y="46347"/>
                      <a:pt x="61047" y="23487"/>
                    </a:cubicBezTo>
                    <a:cubicBezTo>
                      <a:pt x="99689" y="-252"/>
                      <a:pt x="174340" y="627"/>
                      <a:pt x="174340" y="627"/>
                    </a:cubicBezTo>
                    <a:cubicBezTo>
                      <a:pt x="321006" y="-7286"/>
                      <a:pt x="290268" y="62174"/>
                      <a:pt x="271825" y="67449"/>
                    </a:cubicBezTo>
                    <a:cubicBezTo>
                      <a:pt x="253382" y="71845"/>
                      <a:pt x="229669" y="79758"/>
                      <a:pt x="198931" y="88550"/>
                    </a:cubicBezTo>
                    <a:cubicBezTo>
                      <a:pt x="176974" y="94705"/>
                      <a:pt x="146236" y="116686"/>
                      <a:pt x="175218" y="162406"/>
                    </a:cubicBezTo>
                    <a:cubicBezTo>
                      <a:pt x="204200" y="208126"/>
                      <a:pt x="157653" y="185266"/>
                      <a:pt x="157653" y="185266"/>
                    </a:cubicBezTo>
                    <a:cubicBezTo>
                      <a:pt x="157653" y="185266"/>
                      <a:pt x="146236" y="187024"/>
                      <a:pt x="141845" y="172077"/>
                    </a:cubicBezTo>
                    <a:cubicBezTo>
                      <a:pt x="137454" y="158010"/>
                      <a:pt x="83881" y="154493"/>
                      <a:pt x="108472" y="227469"/>
                    </a:cubicBezTo>
                    <a:cubicBezTo>
                      <a:pt x="115498" y="243295"/>
                      <a:pt x="128671" y="249450"/>
                      <a:pt x="130428" y="250329"/>
                    </a:cubicBezTo>
                    <a:cubicBezTo>
                      <a:pt x="138332" y="252087"/>
                      <a:pt x="108472" y="277585"/>
                      <a:pt x="104959" y="285498"/>
                    </a:cubicBezTo>
                    <a:cubicBezTo>
                      <a:pt x="98811" y="298687"/>
                      <a:pt x="90029" y="298687"/>
                      <a:pt x="83881" y="285498"/>
                    </a:cubicBezTo>
                    <a:cubicBezTo>
                      <a:pt x="78611" y="274068"/>
                      <a:pt x="61925" y="248570"/>
                      <a:pt x="34699" y="221314"/>
                    </a:cubicBezTo>
                    <a:cubicBezTo>
                      <a:pt x="-1309" y="185266"/>
                      <a:pt x="-16239" y="135150"/>
                      <a:pt x="24160" y="77120"/>
                    </a:cubicBezTo>
                    <a:lnTo>
                      <a:pt x="24160" y="7712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5E0365B4-26D7-2FD3-2B8E-7C04281D0678}"/>
                </a:ext>
              </a:extLst>
            </p:cNvPr>
            <p:cNvSpPr/>
            <p:nvPr/>
          </p:nvSpPr>
          <p:spPr>
            <a:xfrm>
              <a:off x="-9624582" y="5681577"/>
              <a:ext cx="160174" cy="74431"/>
            </a:xfrm>
            <a:custGeom>
              <a:avLst/>
              <a:gdLst>
                <a:gd name="connsiteX0" fmla="*/ 10539 w 160174"/>
                <a:gd name="connsiteY0" fmla="*/ 0 h 74431"/>
                <a:gd name="connsiteX1" fmla="*/ 0 w 160174"/>
                <a:gd name="connsiteY1" fmla="*/ 33411 h 74431"/>
                <a:gd name="connsiteX2" fmla="*/ 137884 w 160174"/>
                <a:gd name="connsiteY2" fmla="*/ 73856 h 74431"/>
                <a:gd name="connsiteX3" fmla="*/ 146667 w 160174"/>
                <a:gd name="connsiteY3" fmla="*/ 40445 h 74431"/>
                <a:gd name="connsiteX4" fmla="*/ 10539 w 160174"/>
                <a:gd name="connsiteY4" fmla="*/ 0 h 7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74" h="74431">
                  <a:moveTo>
                    <a:pt x="10539" y="0"/>
                  </a:moveTo>
                  <a:lnTo>
                    <a:pt x="0" y="33411"/>
                  </a:lnTo>
                  <a:cubicBezTo>
                    <a:pt x="0" y="33411"/>
                    <a:pt x="106267" y="67701"/>
                    <a:pt x="137884" y="73856"/>
                  </a:cubicBezTo>
                  <a:cubicBezTo>
                    <a:pt x="162475" y="79131"/>
                    <a:pt x="168623" y="46599"/>
                    <a:pt x="146667" y="40445"/>
                  </a:cubicBezTo>
                  <a:cubicBezTo>
                    <a:pt x="127345" y="35169"/>
                    <a:pt x="10539" y="0"/>
                    <a:pt x="10539" y="0"/>
                  </a:cubicBez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5AA29690-8330-F4E9-364C-73604190C84D}"/>
                </a:ext>
              </a:extLst>
            </p:cNvPr>
            <p:cNvSpPr/>
            <p:nvPr/>
          </p:nvSpPr>
          <p:spPr>
            <a:xfrm>
              <a:off x="-9714724" y="4269532"/>
              <a:ext cx="129662" cy="117936"/>
            </a:xfrm>
            <a:custGeom>
              <a:avLst/>
              <a:gdLst>
                <a:gd name="connsiteX0" fmla="*/ 561 w 129662"/>
                <a:gd name="connsiteY0" fmla="*/ 0 h 117936"/>
                <a:gd name="connsiteX1" fmla="*/ 129663 w 129662"/>
                <a:gd name="connsiteY1" fmla="*/ 4396 h 117936"/>
                <a:gd name="connsiteX2" fmla="*/ 60282 w 129662"/>
                <a:gd name="connsiteY2" fmla="*/ 117817 h 117936"/>
                <a:gd name="connsiteX3" fmla="*/ 561 w 129662"/>
                <a:gd name="connsiteY3" fmla="*/ 0 h 117936"/>
                <a:gd name="connsiteX4" fmla="*/ 561 w 129662"/>
                <a:gd name="connsiteY4" fmla="*/ 0 h 117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62" h="117936">
                  <a:moveTo>
                    <a:pt x="561" y="0"/>
                  </a:moveTo>
                  <a:lnTo>
                    <a:pt x="129663" y="4396"/>
                  </a:lnTo>
                  <a:cubicBezTo>
                    <a:pt x="129663" y="4396"/>
                    <a:pt x="129663" y="122213"/>
                    <a:pt x="60282" y="117817"/>
                  </a:cubicBezTo>
                  <a:cubicBezTo>
                    <a:pt x="-9978" y="113421"/>
                    <a:pt x="561" y="0"/>
                    <a:pt x="561" y="0"/>
                  </a:cubicBezTo>
                  <a:lnTo>
                    <a:pt x="561" y="0"/>
                  </a:lnTo>
                  <a:close/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DF9E5BDD-DC27-268D-6143-23036CAE8007}"/>
                </a:ext>
              </a:extLst>
            </p:cNvPr>
            <p:cNvSpPr/>
            <p:nvPr/>
          </p:nvSpPr>
          <p:spPr>
            <a:xfrm>
              <a:off x="-10009689" y="5676985"/>
              <a:ext cx="164667" cy="122799"/>
            </a:xfrm>
            <a:custGeom>
              <a:avLst/>
              <a:gdLst>
                <a:gd name="connsiteX0" fmla="*/ 164668 w 164667"/>
                <a:gd name="connsiteY0" fmla="*/ 103945 h 122799"/>
                <a:gd name="connsiteX1" fmla="*/ 161155 w 164667"/>
                <a:gd name="connsiteY1" fmla="*/ 52070 h 122799"/>
                <a:gd name="connsiteX2" fmla="*/ 154129 w 164667"/>
                <a:gd name="connsiteY2" fmla="*/ 28331 h 122799"/>
                <a:gd name="connsiteX3" fmla="*/ 135686 w 164667"/>
                <a:gd name="connsiteY3" fmla="*/ 12505 h 122799"/>
                <a:gd name="connsiteX4" fmla="*/ 46983 w 164667"/>
                <a:gd name="connsiteY4" fmla="*/ 12505 h 122799"/>
                <a:gd name="connsiteX5" fmla="*/ 2193 w 164667"/>
                <a:gd name="connsiteY5" fmla="*/ 81085 h 122799"/>
                <a:gd name="connsiteX6" fmla="*/ 14488 w 164667"/>
                <a:gd name="connsiteY6" fmla="*/ 122408 h 122799"/>
                <a:gd name="connsiteX7" fmla="*/ 149738 w 164667"/>
                <a:gd name="connsiteY7" fmla="*/ 122408 h 122799"/>
                <a:gd name="connsiteX8" fmla="*/ 163790 w 164667"/>
                <a:gd name="connsiteY8" fmla="*/ 103065 h 122799"/>
                <a:gd name="connsiteX9" fmla="*/ 164668 w 164667"/>
                <a:gd name="connsiteY9" fmla="*/ 103065 h 12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667" h="122799">
                  <a:moveTo>
                    <a:pt x="164668" y="103945"/>
                  </a:moveTo>
                  <a:lnTo>
                    <a:pt x="161155" y="52070"/>
                  </a:lnTo>
                  <a:lnTo>
                    <a:pt x="154129" y="28331"/>
                  </a:lnTo>
                  <a:cubicBezTo>
                    <a:pt x="151494" y="24814"/>
                    <a:pt x="140955" y="16901"/>
                    <a:pt x="135686" y="12505"/>
                  </a:cubicBezTo>
                  <a:cubicBezTo>
                    <a:pt x="100556" y="-15631"/>
                    <a:pt x="46983" y="12505"/>
                    <a:pt x="46983" y="12505"/>
                  </a:cubicBezTo>
                  <a:cubicBezTo>
                    <a:pt x="32931" y="37123"/>
                    <a:pt x="4828" y="73172"/>
                    <a:pt x="2193" y="81085"/>
                  </a:cubicBezTo>
                  <a:cubicBezTo>
                    <a:pt x="-4833" y="106582"/>
                    <a:pt x="6584" y="121529"/>
                    <a:pt x="14488" y="122408"/>
                  </a:cubicBezTo>
                  <a:cubicBezTo>
                    <a:pt x="22393" y="123288"/>
                    <a:pt x="142712" y="122408"/>
                    <a:pt x="149738" y="122408"/>
                  </a:cubicBezTo>
                  <a:cubicBezTo>
                    <a:pt x="156764" y="122408"/>
                    <a:pt x="164668" y="108341"/>
                    <a:pt x="163790" y="103065"/>
                  </a:cubicBezTo>
                  <a:lnTo>
                    <a:pt x="164668" y="103065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64E8610C-AE91-1849-E966-878EE8A225D4}"/>
                </a:ext>
              </a:extLst>
            </p:cNvPr>
            <p:cNvSpPr/>
            <p:nvPr/>
          </p:nvSpPr>
          <p:spPr>
            <a:xfrm>
              <a:off x="-10159651" y="4379436"/>
              <a:ext cx="328603" cy="513470"/>
            </a:xfrm>
            <a:custGeom>
              <a:avLst/>
              <a:gdLst>
                <a:gd name="connsiteX0" fmla="*/ 218902 w 328603"/>
                <a:gd name="connsiteY0" fmla="*/ 334987 h 513470"/>
                <a:gd name="connsiteX1" fmla="*/ 274231 w 328603"/>
                <a:gd name="connsiteY1" fmla="*/ 357847 h 513470"/>
                <a:gd name="connsiteX2" fmla="*/ 293552 w 328603"/>
                <a:gd name="connsiteY2" fmla="*/ 376311 h 513470"/>
                <a:gd name="connsiteX3" fmla="*/ 325169 w 328603"/>
                <a:gd name="connsiteY3" fmla="*/ 414117 h 513470"/>
                <a:gd name="connsiteX4" fmla="*/ 284770 w 328603"/>
                <a:gd name="connsiteY4" fmla="*/ 412359 h 513470"/>
                <a:gd name="connsiteX5" fmla="*/ 266327 w 328603"/>
                <a:gd name="connsiteY5" fmla="*/ 396533 h 513470"/>
                <a:gd name="connsiteX6" fmla="*/ 275109 w 328603"/>
                <a:gd name="connsiteY6" fmla="*/ 410601 h 513470"/>
                <a:gd name="connsiteX7" fmla="*/ 326047 w 328603"/>
                <a:gd name="connsiteY7" fmla="*/ 461596 h 513470"/>
                <a:gd name="connsiteX8" fmla="*/ 313752 w 328603"/>
                <a:gd name="connsiteY8" fmla="*/ 477422 h 513470"/>
                <a:gd name="connsiteX9" fmla="*/ 260179 w 328603"/>
                <a:gd name="connsiteY9" fmla="*/ 433461 h 513470"/>
                <a:gd name="connsiteX10" fmla="*/ 273353 w 328603"/>
                <a:gd name="connsiteY10" fmla="*/ 448408 h 513470"/>
                <a:gd name="connsiteX11" fmla="*/ 307604 w 328603"/>
                <a:gd name="connsiteY11" fmla="*/ 477422 h 513470"/>
                <a:gd name="connsiteX12" fmla="*/ 307604 w 328603"/>
                <a:gd name="connsiteY12" fmla="*/ 503799 h 513470"/>
                <a:gd name="connsiteX13" fmla="*/ 236466 w 328603"/>
                <a:gd name="connsiteY13" fmla="*/ 442253 h 513470"/>
                <a:gd name="connsiteX14" fmla="*/ 248762 w 328603"/>
                <a:gd name="connsiteY14" fmla="*/ 456321 h 513470"/>
                <a:gd name="connsiteX15" fmla="*/ 283891 w 328603"/>
                <a:gd name="connsiteY15" fmla="*/ 494127 h 513470"/>
                <a:gd name="connsiteX16" fmla="*/ 274231 w 328603"/>
                <a:gd name="connsiteY16" fmla="*/ 513471 h 513470"/>
                <a:gd name="connsiteX17" fmla="*/ 212754 w 328603"/>
                <a:gd name="connsiteY17" fmla="*/ 446649 h 513470"/>
                <a:gd name="connsiteX18" fmla="*/ 247883 w 328603"/>
                <a:gd name="connsiteY18" fmla="*/ 497644 h 513470"/>
                <a:gd name="connsiteX19" fmla="*/ 241736 w 328603"/>
                <a:gd name="connsiteY19" fmla="*/ 511712 h 513470"/>
                <a:gd name="connsiteX20" fmla="*/ 189041 w 328603"/>
                <a:gd name="connsiteY20" fmla="*/ 458079 h 513470"/>
                <a:gd name="connsiteX21" fmla="*/ 160937 w 328603"/>
                <a:gd name="connsiteY21" fmla="*/ 392137 h 513470"/>
                <a:gd name="connsiteX22" fmla="*/ 157425 w 328603"/>
                <a:gd name="connsiteY22" fmla="*/ 370156 h 513470"/>
                <a:gd name="connsiteX23" fmla="*/ 219 w 328603"/>
                <a:gd name="connsiteY23" fmla="*/ 103749 h 513470"/>
                <a:gd name="connsiteX24" fmla="*/ 26566 w 328603"/>
                <a:gd name="connsiteY24" fmla="*/ 0 h 513470"/>
                <a:gd name="connsiteX25" fmla="*/ 138103 w 328603"/>
                <a:gd name="connsiteY25" fmla="*/ 73855 h 513470"/>
                <a:gd name="connsiteX26" fmla="*/ 117904 w 328603"/>
                <a:gd name="connsiteY26" fmla="*/ 124851 h 513470"/>
                <a:gd name="connsiteX27" fmla="*/ 220658 w 328603"/>
                <a:gd name="connsiteY27" fmla="*/ 334987 h 513470"/>
                <a:gd name="connsiteX28" fmla="*/ 218902 w 328603"/>
                <a:gd name="connsiteY28" fmla="*/ 334987 h 5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603" h="513470">
                  <a:moveTo>
                    <a:pt x="218902" y="334987"/>
                  </a:moveTo>
                  <a:cubicBezTo>
                    <a:pt x="225049" y="343779"/>
                    <a:pt x="266327" y="352571"/>
                    <a:pt x="274231" y="357847"/>
                  </a:cubicBezTo>
                  <a:cubicBezTo>
                    <a:pt x="283891" y="364881"/>
                    <a:pt x="293552" y="376311"/>
                    <a:pt x="293552" y="376311"/>
                  </a:cubicBezTo>
                  <a:cubicBezTo>
                    <a:pt x="303213" y="392137"/>
                    <a:pt x="325169" y="409721"/>
                    <a:pt x="325169" y="414117"/>
                  </a:cubicBezTo>
                  <a:cubicBezTo>
                    <a:pt x="325169" y="418514"/>
                    <a:pt x="304091" y="433461"/>
                    <a:pt x="284770" y="412359"/>
                  </a:cubicBezTo>
                  <a:cubicBezTo>
                    <a:pt x="265448" y="391258"/>
                    <a:pt x="273353" y="399171"/>
                    <a:pt x="266327" y="396533"/>
                  </a:cubicBezTo>
                  <a:cubicBezTo>
                    <a:pt x="269839" y="406204"/>
                    <a:pt x="273353" y="407963"/>
                    <a:pt x="275109" y="410601"/>
                  </a:cubicBezTo>
                  <a:cubicBezTo>
                    <a:pt x="283891" y="422031"/>
                    <a:pt x="319899" y="456321"/>
                    <a:pt x="326047" y="461596"/>
                  </a:cubicBezTo>
                  <a:cubicBezTo>
                    <a:pt x="332195" y="466871"/>
                    <a:pt x="326925" y="479181"/>
                    <a:pt x="313752" y="477422"/>
                  </a:cubicBezTo>
                  <a:cubicBezTo>
                    <a:pt x="299700" y="475664"/>
                    <a:pt x="260179" y="433461"/>
                    <a:pt x="260179" y="433461"/>
                  </a:cubicBezTo>
                  <a:lnTo>
                    <a:pt x="273353" y="448408"/>
                  </a:lnTo>
                  <a:cubicBezTo>
                    <a:pt x="275109" y="451045"/>
                    <a:pt x="301456" y="473026"/>
                    <a:pt x="307604" y="477422"/>
                  </a:cubicBezTo>
                  <a:cubicBezTo>
                    <a:pt x="313752" y="481818"/>
                    <a:pt x="324291" y="500282"/>
                    <a:pt x="307604" y="503799"/>
                  </a:cubicBezTo>
                  <a:cubicBezTo>
                    <a:pt x="290918" y="506437"/>
                    <a:pt x="236466" y="442253"/>
                    <a:pt x="236466" y="442253"/>
                  </a:cubicBezTo>
                  <a:lnTo>
                    <a:pt x="248762" y="456321"/>
                  </a:lnTo>
                  <a:cubicBezTo>
                    <a:pt x="248762" y="456321"/>
                    <a:pt x="268083" y="479181"/>
                    <a:pt x="283891" y="494127"/>
                  </a:cubicBezTo>
                  <a:cubicBezTo>
                    <a:pt x="299700" y="509075"/>
                    <a:pt x="274231" y="513471"/>
                    <a:pt x="274231" y="513471"/>
                  </a:cubicBezTo>
                  <a:cubicBezTo>
                    <a:pt x="250518" y="508195"/>
                    <a:pt x="216267" y="450166"/>
                    <a:pt x="212754" y="446649"/>
                  </a:cubicBezTo>
                  <a:cubicBezTo>
                    <a:pt x="214510" y="456321"/>
                    <a:pt x="247883" y="497644"/>
                    <a:pt x="247883" y="497644"/>
                  </a:cubicBezTo>
                  <a:cubicBezTo>
                    <a:pt x="247883" y="497644"/>
                    <a:pt x="254031" y="509075"/>
                    <a:pt x="241736" y="511712"/>
                  </a:cubicBezTo>
                  <a:cubicBezTo>
                    <a:pt x="229441" y="514350"/>
                    <a:pt x="197824" y="480939"/>
                    <a:pt x="189041" y="458079"/>
                  </a:cubicBezTo>
                  <a:cubicBezTo>
                    <a:pt x="180259" y="435219"/>
                    <a:pt x="174111" y="426427"/>
                    <a:pt x="160937" y="392137"/>
                  </a:cubicBezTo>
                  <a:cubicBezTo>
                    <a:pt x="158303" y="384224"/>
                    <a:pt x="157425" y="378948"/>
                    <a:pt x="157425" y="370156"/>
                  </a:cubicBezTo>
                  <a:cubicBezTo>
                    <a:pt x="157425" y="370156"/>
                    <a:pt x="-6807" y="146831"/>
                    <a:pt x="219" y="103749"/>
                  </a:cubicBezTo>
                  <a:cubicBezTo>
                    <a:pt x="7245" y="60667"/>
                    <a:pt x="18662" y="18464"/>
                    <a:pt x="26566" y="0"/>
                  </a:cubicBezTo>
                  <a:cubicBezTo>
                    <a:pt x="79261" y="44841"/>
                    <a:pt x="138103" y="73855"/>
                    <a:pt x="138103" y="73855"/>
                  </a:cubicBezTo>
                  <a:lnTo>
                    <a:pt x="117904" y="124851"/>
                  </a:lnTo>
                  <a:lnTo>
                    <a:pt x="220658" y="334987"/>
                  </a:lnTo>
                  <a:lnTo>
                    <a:pt x="218902" y="334987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B8C40DD4-BD48-D1E6-00A9-4AC687F859A8}"/>
                </a:ext>
              </a:extLst>
            </p:cNvPr>
            <p:cNvSpPr/>
            <p:nvPr/>
          </p:nvSpPr>
          <p:spPr>
            <a:xfrm>
              <a:off x="-9537636" y="4429552"/>
              <a:ext cx="288981" cy="457248"/>
            </a:xfrm>
            <a:custGeom>
              <a:avLst/>
              <a:gdLst>
                <a:gd name="connsiteX0" fmla="*/ 202874 w 288981"/>
                <a:gd name="connsiteY0" fmla="*/ 274320 h 457248"/>
                <a:gd name="connsiteX1" fmla="*/ 252056 w 288981"/>
                <a:gd name="connsiteY1" fmla="*/ 307731 h 457248"/>
                <a:gd name="connsiteX2" fmla="*/ 269621 w 288981"/>
                <a:gd name="connsiteY2" fmla="*/ 329712 h 457248"/>
                <a:gd name="connsiteX3" fmla="*/ 288942 w 288981"/>
                <a:gd name="connsiteY3" fmla="*/ 370156 h 457248"/>
                <a:gd name="connsiteX4" fmla="*/ 254690 w 288981"/>
                <a:gd name="connsiteY4" fmla="*/ 360485 h 457248"/>
                <a:gd name="connsiteX5" fmla="*/ 236247 w 288981"/>
                <a:gd name="connsiteY5" fmla="*/ 339383 h 457248"/>
                <a:gd name="connsiteX6" fmla="*/ 242395 w 288981"/>
                <a:gd name="connsiteY6" fmla="*/ 358726 h 457248"/>
                <a:gd name="connsiteX7" fmla="*/ 281038 w 288981"/>
                <a:gd name="connsiteY7" fmla="*/ 417635 h 457248"/>
                <a:gd name="connsiteX8" fmla="*/ 266108 w 288981"/>
                <a:gd name="connsiteY8" fmla="*/ 431702 h 457248"/>
                <a:gd name="connsiteX9" fmla="*/ 223074 w 288981"/>
                <a:gd name="connsiteY9" fmla="*/ 377190 h 457248"/>
                <a:gd name="connsiteX10" fmla="*/ 232734 w 288981"/>
                <a:gd name="connsiteY10" fmla="*/ 393896 h 457248"/>
                <a:gd name="connsiteX11" fmla="*/ 257325 w 288981"/>
                <a:gd name="connsiteY11" fmla="*/ 429065 h 457248"/>
                <a:gd name="connsiteX12" fmla="*/ 253812 w 288981"/>
                <a:gd name="connsiteY12" fmla="*/ 453683 h 457248"/>
                <a:gd name="connsiteX13" fmla="*/ 198483 w 288981"/>
                <a:gd name="connsiteY13" fmla="*/ 380707 h 457248"/>
                <a:gd name="connsiteX14" fmla="*/ 203752 w 288981"/>
                <a:gd name="connsiteY14" fmla="*/ 394775 h 457248"/>
                <a:gd name="connsiteX15" fmla="*/ 233613 w 288981"/>
                <a:gd name="connsiteY15" fmla="*/ 441374 h 457248"/>
                <a:gd name="connsiteX16" fmla="*/ 219561 w 288981"/>
                <a:gd name="connsiteY16" fmla="*/ 457200 h 457248"/>
                <a:gd name="connsiteX17" fmla="*/ 174770 w 288981"/>
                <a:gd name="connsiteY17" fmla="*/ 380707 h 457248"/>
                <a:gd name="connsiteX18" fmla="*/ 197605 w 288981"/>
                <a:gd name="connsiteY18" fmla="*/ 437857 h 457248"/>
                <a:gd name="connsiteX19" fmla="*/ 190579 w 288981"/>
                <a:gd name="connsiteY19" fmla="*/ 449287 h 457248"/>
                <a:gd name="connsiteX20" fmla="*/ 149301 w 288981"/>
                <a:gd name="connsiteY20" fmla="*/ 386861 h 457248"/>
                <a:gd name="connsiteX21" fmla="*/ 135249 w 288981"/>
                <a:gd name="connsiteY21" fmla="*/ 317402 h 457248"/>
                <a:gd name="connsiteX22" fmla="*/ 135249 w 288981"/>
                <a:gd name="connsiteY22" fmla="*/ 295422 h 457248"/>
                <a:gd name="connsiteX23" fmla="*/ 0 w 288981"/>
                <a:gd name="connsiteY23" fmla="*/ 87044 h 457248"/>
                <a:gd name="connsiteX24" fmla="*/ 1757 w 288981"/>
                <a:gd name="connsiteY24" fmla="*/ 24619 h 457248"/>
                <a:gd name="connsiteX25" fmla="*/ 108024 w 288981"/>
                <a:gd name="connsiteY25" fmla="*/ 0 h 457248"/>
                <a:gd name="connsiteX26" fmla="*/ 115928 w 288981"/>
                <a:gd name="connsiteY26" fmla="*/ 57150 h 457248"/>
                <a:gd name="connsiteX27" fmla="*/ 201996 w 288981"/>
                <a:gd name="connsiteY27" fmla="*/ 273441 h 457248"/>
                <a:gd name="connsiteX28" fmla="*/ 201996 w 288981"/>
                <a:gd name="connsiteY28" fmla="*/ 273441 h 45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8981" h="457248">
                  <a:moveTo>
                    <a:pt x="202874" y="274320"/>
                  </a:moveTo>
                  <a:cubicBezTo>
                    <a:pt x="207265" y="283992"/>
                    <a:pt x="245908" y="300697"/>
                    <a:pt x="252056" y="307731"/>
                  </a:cubicBezTo>
                  <a:cubicBezTo>
                    <a:pt x="259960" y="316523"/>
                    <a:pt x="269621" y="329712"/>
                    <a:pt x="269621" y="329712"/>
                  </a:cubicBezTo>
                  <a:cubicBezTo>
                    <a:pt x="275768" y="347296"/>
                    <a:pt x="289820" y="365760"/>
                    <a:pt x="288942" y="370156"/>
                  </a:cubicBezTo>
                  <a:cubicBezTo>
                    <a:pt x="288064" y="374552"/>
                    <a:pt x="266108" y="386861"/>
                    <a:pt x="254690" y="360485"/>
                  </a:cubicBezTo>
                  <a:cubicBezTo>
                    <a:pt x="249421" y="349055"/>
                    <a:pt x="243273" y="343779"/>
                    <a:pt x="236247" y="339383"/>
                  </a:cubicBezTo>
                  <a:cubicBezTo>
                    <a:pt x="238004" y="349055"/>
                    <a:pt x="241517" y="355209"/>
                    <a:pt x="242395" y="358726"/>
                  </a:cubicBezTo>
                  <a:cubicBezTo>
                    <a:pt x="244152" y="369277"/>
                    <a:pt x="276646" y="411480"/>
                    <a:pt x="281038" y="417635"/>
                  </a:cubicBezTo>
                  <a:cubicBezTo>
                    <a:pt x="285429" y="424669"/>
                    <a:pt x="279281" y="436098"/>
                    <a:pt x="266108" y="431702"/>
                  </a:cubicBezTo>
                  <a:cubicBezTo>
                    <a:pt x="252934" y="427306"/>
                    <a:pt x="223074" y="377190"/>
                    <a:pt x="223074" y="377190"/>
                  </a:cubicBezTo>
                  <a:lnTo>
                    <a:pt x="232734" y="393896"/>
                  </a:lnTo>
                  <a:cubicBezTo>
                    <a:pt x="233613" y="397412"/>
                    <a:pt x="256447" y="424669"/>
                    <a:pt x="257325" y="429065"/>
                  </a:cubicBezTo>
                  <a:cubicBezTo>
                    <a:pt x="262594" y="436098"/>
                    <a:pt x="269621" y="453683"/>
                    <a:pt x="253812" y="453683"/>
                  </a:cubicBezTo>
                  <a:cubicBezTo>
                    <a:pt x="238004" y="453683"/>
                    <a:pt x="198483" y="380707"/>
                    <a:pt x="198483" y="380707"/>
                  </a:cubicBezTo>
                  <a:lnTo>
                    <a:pt x="203752" y="394775"/>
                  </a:lnTo>
                  <a:cubicBezTo>
                    <a:pt x="203752" y="394775"/>
                    <a:pt x="221317" y="423789"/>
                    <a:pt x="233613" y="441374"/>
                  </a:cubicBezTo>
                  <a:cubicBezTo>
                    <a:pt x="246786" y="458959"/>
                    <a:pt x="219561" y="457200"/>
                    <a:pt x="219561" y="457200"/>
                  </a:cubicBezTo>
                  <a:cubicBezTo>
                    <a:pt x="197605" y="446649"/>
                    <a:pt x="176527" y="384224"/>
                    <a:pt x="174770" y="380707"/>
                  </a:cubicBezTo>
                  <a:cubicBezTo>
                    <a:pt x="174770" y="390378"/>
                    <a:pt x="197605" y="437857"/>
                    <a:pt x="197605" y="437857"/>
                  </a:cubicBezTo>
                  <a:cubicBezTo>
                    <a:pt x="197605" y="437857"/>
                    <a:pt x="202874" y="450166"/>
                    <a:pt x="190579" y="449287"/>
                  </a:cubicBezTo>
                  <a:cubicBezTo>
                    <a:pt x="174770" y="449287"/>
                    <a:pt x="153692" y="410601"/>
                    <a:pt x="149301" y="386861"/>
                  </a:cubicBezTo>
                  <a:cubicBezTo>
                    <a:pt x="144910" y="363122"/>
                    <a:pt x="141397" y="353451"/>
                    <a:pt x="135249" y="317402"/>
                  </a:cubicBezTo>
                  <a:cubicBezTo>
                    <a:pt x="133493" y="309489"/>
                    <a:pt x="134371" y="304214"/>
                    <a:pt x="135249" y="295422"/>
                  </a:cubicBezTo>
                  <a:lnTo>
                    <a:pt x="0" y="87044"/>
                  </a:lnTo>
                  <a:lnTo>
                    <a:pt x="1757" y="24619"/>
                  </a:lnTo>
                  <a:lnTo>
                    <a:pt x="108024" y="0"/>
                  </a:lnTo>
                  <a:lnTo>
                    <a:pt x="115928" y="57150"/>
                  </a:lnTo>
                  <a:lnTo>
                    <a:pt x="201996" y="273441"/>
                  </a:lnTo>
                  <a:lnTo>
                    <a:pt x="201996" y="273441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9" name="Graphic 6">
            <a:extLst>
              <a:ext uri="{FF2B5EF4-FFF2-40B4-BE49-F238E27FC236}">
                <a16:creationId xmlns:a16="http://schemas.microsoft.com/office/drawing/2014/main" id="{15EE0FE3-1D83-4812-5797-A511FB9BDB72}"/>
              </a:ext>
            </a:extLst>
          </p:cNvPr>
          <p:cNvGrpSpPr/>
          <p:nvPr/>
        </p:nvGrpSpPr>
        <p:grpSpPr>
          <a:xfrm flipH="1">
            <a:off x="-6021333" y="1400939"/>
            <a:ext cx="3842455" cy="4626826"/>
            <a:chOff x="-8201469" y="2173664"/>
            <a:chExt cx="3043696" cy="3665014"/>
          </a:xfrm>
        </p:grpSpPr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C32BDA7D-4CD0-ADEF-EBCB-CDC77EC0DA2F}"/>
                </a:ext>
              </a:extLst>
            </p:cNvPr>
            <p:cNvSpPr/>
            <p:nvPr/>
          </p:nvSpPr>
          <p:spPr>
            <a:xfrm>
              <a:off x="-7760262" y="2173664"/>
              <a:ext cx="553185" cy="552571"/>
            </a:xfrm>
            <a:custGeom>
              <a:avLst/>
              <a:gdLst>
                <a:gd name="connsiteX0" fmla="*/ 522744 w 553185"/>
                <a:gd name="connsiteY0" fmla="*/ 139580 h 552571"/>
                <a:gd name="connsiteX1" fmla="*/ 394521 w 553185"/>
                <a:gd name="connsiteY1" fmla="*/ 519408 h 552571"/>
                <a:gd name="connsiteX2" fmla="*/ 104701 w 553185"/>
                <a:gd name="connsiteY2" fmla="*/ 445552 h 552571"/>
                <a:gd name="connsiteX3" fmla="*/ 63423 w 553185"/>
                <a:gd name="connsiteY3" fmla="*/ 76275 h 552571"/>
                <a:gd name="connsiteX4" fmla="*/ 522744 w 553185"/>
                <a:gd name="connsiteY4" fmla="*/ 139580 h 55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185" h="552571">
                  <a:moveTo>
                    <a:pt x="522744" y="139580"/>
                  </a:moveTo>
                  <a:cubicBezTo>
                    <a:pt x="602664" y="338286"/>
                    <a:pt x="513083" y="473688"/>
                    <a:pt x="394521" y="519408"/>
                  </a:cubicBezTo>
                  <a:cubicBezTo>
                    <a:pt x="257514" y="573041"/>
                    <a:pt x="200429" y="570403"/>
                    <a:pt x="104701" y="445552"/>
                  </a:cubicBezTo>
                  <a:cubicBezTo>
                    <a:pt x="8094" y="320702"/>
                    <a:pt x="-52505" y="165957"/>
                    <a:pt x="63423" y="76275"/>
                  </a:cubicBezTo>
                  <a:cubicBezTo>
                    <a:pt x="179351" y="-13406"/>
                    <a:pt x="442824" y="-58247"/>
                    <a:pt x="522744" y="139580"/>
                  </a:cubicBezTo>
                  <a:close/>
                </a:path>
              </a:pathLst>
            </a:custGeom>
            <a:solidFill>
              <a:srgbClr val="CBCBCB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1" name="Graphic 6">
              <a:extLst>
                <a:ext uri="{FF2B5EF4-FFF2-40B4-BE49-F238E27FC236}">
                  <a16:creationId xmlns:a16="http://schemas.microsoft.com/office/drawing/2014/main" id="{088A88FE-CDF1-475C-5569-83B50EFE6700}"/>
                </a:ext>
              </a:extLst>
            </p:cNvPr>
            <p:cNvGrpSpPr/>
            <p:nvPr/>
          </p:nvGrpSpPr>
          <p:grpSpPr>
            <a:xfrm>
              <a:off x="-8201469" y="2379186"/>
              <a:ext cx="3043696" cy="3459492"/>
              <a:chOff x="-8201469" y="2379186"/>
              <a:chExt cx="3043696" cy="3459492"/>
            </a:xfrm>
          </p:grpSpPr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534374A6-4630-5CDC-8733-14803FB364BA}"/>
                  </a:ext>
                </a:extLst>
              </p:cNvPr>
              <p:cNvSpPr/>
              <p:nvPr/>
            </p:nvSpPr>
            <p:spPr>
              <a:xfrm>
                <a:off x="-7770612" y="2379186"/>
                <a:ext cx="384670" cy="529318"/>
              </a:xfrm>
              <a:custGeom>
                <a:avLst/>
                <a:gdLst>
                  <a:gd name="connsiteX0" fmla="*/ 0 w 384670"/>
                  <a:gd name="connsiteY0" fmla="*/ 225083 h 529318"/>
                  <a:gd name="connsiteX1" fmla="*/ 8782 w 384670"/>
                  <a:gd name="connsiteY1" fmla="*/ 241788 h 529318"/>
                  <a:gd name="connsiteX2" fmla="*/ 2635 w 384670"/>
                  <a:gd name="connsiteY2" fmla="*/ 250581 h 529318"/>
                  <a:gd name="connsiteX3" fmla="*/ 14930 w 384670"/>
                  <a:gd name="connsiteY3" fmla="*/ 269045 h 529318"/>
                  <a:gd name="connsiteX4" fmla="*/ 21956 w 384670"/>
                  <a:gd name="connsiteY4" fmla="*/ 296301 h 529318"/>
                  <a:gd name="connsiteX5" fmla="*/ 49182 w 384670"/>
                  <a:gd name="connsiteY5" fmla="*/ 320040 h 529318"/>
                  <a:gd name="connsiteX6" fmla="*/ 104511 w 384670"/>
                  <a:gd name="connsiteY6" fmla="*/ 308610 h 529318"/>
                  <a:gd name="connsiteX7" fmla="*/ 125589 w 384670"/>
                  <a:gd name="connsiteY7" fmla="*/ 304214 h 529318"/>
                  <a:gd name="connsiteX8" fmla="*/ 132615 w 384670"/>
                  <a:gd name="connsiteY8" fmla="*/ 429065 h 529318"/>
                  <a:gd name="connsiteX9" fmla="*/ 90459 w 384670"/>
                  <a:gd name="connsiteY9" fmla="*/ 465992 h 529318"/>
                  <a:gd name="connsiteX10" fmla="*/ 384671 w 384670"/>
                  <a:gd name="connsiteY10" fmla="*/ 474785 h 529318"/>
                  <a:gd name="connsiteX11" fmla="*/ 292455 w 384670"/>
                  <a:gd name="connsiteY11" fmla="*/ 271682 h 529318"/>
                  <a:gd name="connsiteX12" fmla="*/ 292455 w 384670"/>
                  <a:gd name="connsiteY12" fmla="*/ 269924 h 529318"/>
                  <a:gd name="connsiteX13" fmla="*/ 287185 w 384670"/>
                  <a:gd name="connsiteY13" fmla="*/ 269924 h 529318"/>
                  <a:gd name="connsiteX14" fmla="*/ 254690 w 384670"/>
                  <a:gd name="connsiteY14" fmla="*/ 249702 h 529318"/>
                  <a:gd name="connsiteX15" fmla="*/ 263473 w 384670"/>
                  <a:gd name="connsiteY15" fmla="*/ 221566 h 529318"/>
                  <a:gd name="connsiteX16" fmla="*/ 218683 w 384670"/>
                  <a:gd name="connsiteY16" fmla="*/ 152986 h 529318"/>
                  <a:gd name="connsiteX17" fmla="*/ 187066 w 384670"/>
                  <a:gd name="connsiteY17" fmla="*/ 157382 h 529318"/>
                  <a:gd name="connsiteX18" fmla="*/ 197605 w 384670"/>
                  <a:gd name="connsiteY18" fmla="*/ 108145 h 529318"/>
                  <a:gd name="connsiteX19" fmla="*/ 165988 w 384670"/>
                  <a:gd name="connsiteY19" fmla="*/ 41324 h 529318"/>
                  <a:gd name="connsiteX20" fmla="*/ 122076 w 384670"/>
                  <a:gd name="connsiteY20" fmla="*/ 7913 h 529318"/>
                  <a:gd name="connsiteX21" fmla="*/ 97485 w 384670"/>
                  <a:gd name="connsiteY21" fmla="*/ 0 h 529318"/>
                  <a:gd name="connsiteX22" fmla="*/ 46547 w 384670"/>
                  <a:gd name="connsiteY22" fmla="*/ 99353 h 529318"/>
                  <a:gd name="connsiteX23" fmla="*/ 39521 w 384670"/>
                  <a:gd name="connsiteY23" fmla="*/ 139798 h 529318"/>
                  <a:gd name="connsiteX24" fmla="*/ 5270 w 384670"/>
                  <a:gd name="connsiteY24" fmla="*/ 168812 h 529318"/>
                  <a:gd name="connsiteX25" fmla="*/ 2635 w 384670"/>
                  <a:gd name="connsiteY25" fmla="*/ 189914 h 529318"/>
                  <a:gd name="connsiteX26" fmla="*/ 18443 w 384670"/>
                  <a:gd name="connsiteY26" fmla="*/ 203982 h 529318"/>
                  <a:gd name="connsiteX27" fmla="*/ 0 w 384670"/>
                  <a:gd name="connsiteY27" fmla="*/ 222445 h 529318"/>
                  <a:gd name="connsiteX28" fmla="*/ 0 w 384670"/>
                  <a:gd name="connsiteY28" fmla="*/ 225083 h 52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84670" h="529318">
                    <a:moveTo>
                      <a:pt x="0" y="225083"/>
                    </a:moveTo>
                    <a:cubicBezTo>
                      <a:pt x="1757" y="233875"/>
                      <a:pt x="8782" y="241788"/>
                      <a:pt x="8782" y="241788"/>
                    </a:cubicBezTo>
                    <a:lnTo>
                      <a:pt x="2635" y="250581"/>
                    </a:lnTo>
                    <a:cubicBezTo>
                      <a:pt x="-1756" y="267286"/>
                      <a:pt x="14930" y="269045"/>
                      <a:pt x="14930" y="269045"/>
                    </a:cubicBezTo>
                    <a:cubicBezTo>
                      <a:pt x="14930" y="269045"/>
                      <a:pt x="16687" y="275199"/>
                      <a:pt x="21956" y="296301"/>
                    </a:cubicBezTo>
                    <a:cubicBezTo>
                      <a:pt x="27226" y="317402"/>
                      <a:pt x="49182" y="320040"/>
                      <a:pt x="49182" y="320040"/>
                    </a:cubicBezTo>
                    <a:lnTo>
                      <a:pt x="104511" y="308610"/>
                    </a:lnTo>
                    <a:lnTo>
                      <a:pt x="125589" y="304214"/>
                    </a:lnTo>
                    <a:lnTo>
                      <a:pt x="132615" y="429065"/>
                    </a:lnTo>
                    <a:cubicBezTo>
                      <a:pt x="127345" y="451925"/>
                      <a:pt x="90459" y="465992"/>
                      <a:pt x="90459" y="465992"/>
                    </a:cubicBezTo>
                    <a:cubicBezTo>
                      <a:pt x="217805" y="603152"/>
                      <a:pt x="384671" y="474785"/>
                      <a:pt x="384671" y="474785"/>
                    </a:cubicBezTo>
                    <a:cubicBezTo>
                      <a:pt x="305629" y="437857"/>
                      <a:pt x="294211" y="325315"/>
                      <a:pt x="292455" y="271682"/>
                    </a:cubicBezTo>
                    <a:lnTo>
                      <a:pt x="292455" y="269924"/>
                    </a:lnTo>
                    <a:lnTo>
                      <a:pt x="287185" y="269924"/>
                    </a:lnTo>
                    <a:cubicBezTo>
                      <a:pt x="287185" y="269924"/>
                      <a:pt x="259082" y="267286"/>
                      <a:pt x="254690" y="249702"/>
                    </a:cubicBezTo>
                    <a:cubicBezTo>
                      <a:pt x="252934" y="242668"/>
                      <a:pt x="254690" y="233875"/>
                      <a:pt x="263473" y="221566"/>
                    </a:cubicBezTo>
                    <a:cubicBezTo>
                      <a:pt x="294211" y="177605"/>
                      <a:pt x="253812" y="128368"/>
                      <a:pt x="218683" y="152986"/>
                    </a:cubicBezTo>
                    <a:cubicBezTo>
                      <a:pt x="198483" y="167054"/>
                      <a:pt x="187066" y="157382"/>
                      <a:pt x="187066" y="157382"/>
                    </a:cubicBezTo>
                    <a:cubicBezTo>
                      <a:pt x="187066" y="157382"/>
                      <a:pt x="207266" y="126609"/>
                      <a:pt x="197605" y="108145"/>
                    </a:cubicBezTo>
                    <a:cubicBezTo>
                      <a:pt x="181796" y="79131"/>
                      <a:pt x="204631" y="54512"/>
                      <a:pt x="165988" y="41324"/>
                    </a:cubicBezTo>
                    <a:cubicBezTo>
                      <a:pt x="147545" y="35169"/>
                      <a:pt x="155449" y="14947"/>
                      <a:pt x="122076" y="7913"/>
                    </a:cubicBezTo>
                    <a:cubicBezTo>
                      <a:pt x="111537" y="5275"/>
                      <a:pt x="97485" y="0"/>
                      <a:pt x="97485" y="0"/>
                    </a:cubicBezTo>
                    <a:cubicBezTo>
                      <a:pt x="49182" y="35169"/>
                      <a:pt x="48303" y="72976"/>
                      <a:pt x="46547" y="99353"/>
                    </a:cubicBezTo>
                    <a:cubicBezTo>
                      <a:pt x="44791" y="130126"/>
                      <a:pt x="39521" y="139798"/>
                      <a:pt x="39521" y="139798"/>
                    </a:cubicBezTo>
                    <a:lnTo>
                      <a:pt x="5270" y="168812"/>
                    </a:lnTo>
                    <a:cubicBezTo>
                      <a:pt x="5270" y="168812"/>
                      <a:pt x="-3513" y="180242"/>
                      <a:pt x="2635" y="189914"/>
                    </a:cubicBezTo>
                    <a:cubicBezTo>
                      <a:pt x="7904" y="197827"/>
                      <a:pt x="20200" y="193431"/>
                      <a:pt x="18443" y="203982"/>
                    </a:cubicBezTo>
                    <a:cubicBezTo>
                      <a:pt x="16687" y="214532"/>
                      <a:pt x="0" y="222445"/>
                      <a:pt x="0" y="222445"/>
                    </a:cubicBezTo>
                    <a:lnTo>
                      <a:pt x="0" y="225083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2C77924F-B5C6-D495-F4E5-6BD5B2A87F2E}"/>
                  </a:ext>
                </a:extLst>
              </p:cNvPr>
              <p:cNvSpPr/>
              <p:nvPr/>
            </p:nvSpPr>
            <p:spPr>
              <a:xfrm>
                <a:off x="-7862827" y="5314058"/>
                <a:ext cx="166866" cy="142435"/>
              </a:xfrm>
              <a:custGeom>
                <a:avLst/>
                <a:gdLst>
                  <a:gd name="connsiteX0" fmla="*/ 10539 w 166866"/>
                  <a:gd name="connsiteY0" fmla="*/ 0 h 142435"/>
                  <a:gd name="connsiteX1" fmla="*/ 0 w 166866"/>
                  <a:gd name="connsiteY1" fmla="*/ 101112 h 142435"/>
                  <a:gd name="connsiteX2" fmla="*/ 68503 w 166866"/>
                  <a:gd name="connsiteY2" fmla="*/ 123092 h 142435"/>
                  <a:gd name="connsiteX3" fmla="*/ 125589 w 166866"/>
                  <a:gd name="connsiteY3" fmla="*/ 142435 h 142435"/>
                  <a:gd name="connsiteX4" fmla="*/ 166866 w 166866"/>
                  <a:gd name="connsiteY4" fmla="*/ 8792 h 142435"/>
                  <a:gd name="connsiteX5" fmla="*/ 10539 w 166866"/>
                  <a:gd name="connsiteY5" fmla="*/ 0 h 142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6866" h="142435">
                    <a:moveTo>
                      <a:pt x="10539" y="0"/>
                    </a:moveTo>
                    <a:cubicBezTo>
                      <a:pt x="7026" y="36049"/>
                      <a:pt x="3513" y="70338"/>
                      <a:pt x="0" y="101112"/>
                    </a:cubicBezTo>
                    <a:cubicBezTo>
                      <a:pt x="17565" y="101991"/>
                      <a:pt x="57964" y="105508"/>
                      <a:pt x="68503" y="123092"/>
                    </a:cubicBezTo>
                    <a:cubicBezTo>
                      <a:pt x="78164" y="138918"/>
                      <a:pt x="108024" y="141556"/>
                      <a:pt x="125589" y="142435"/>
                    </a:cubicBezTo>
                    <a:cubicBezTo>
                      <a:pt x="136128" y="101112"/>
                      <a:pt x="150180" y="55391"/>
                      <a:pt x="166866" y="8792"/>
                    </a:cubicBezTo>
                    <a:cubicBezTo>
                      <a:pt x="115928" y="11430"/>
                      <a:pt x="58842" y="10551"/>
                      <a:pt x="10539" y="0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485FC40E-B028-661B-FA41-84D63ED1FFFC}"/>
                  </a:ext>
                </a:extLst>
              </p:cNvPr>
              <p:cNvSpPr/>
              <p:nvPr/>
            </p:nvSpPr>
            <p:spPr>
              <a:xfrm>
                <a:off x="-8130764" y="5404619"/>
                <a:ext cx="426899" cy="398715"/>
              </a:xfrm>
              <a:custGeom>
                <a:avLst/>
                <a:gdLst>
                  <a:gd name="connsiteX0" fmla="*/ 409334 w 426899"/>
                  <a:gd name="connsiteY0" fmla="*/ 101112 h 398715"/>
                  <a:gd name="connsiteX1" fmla="*/ 419873 w 426899"/>
                  <a:gd name="connsiteY1" fmla="*/ 34290 h 398715"/>
                  <a:gd name="connsiteX2" fmla="*/ 344344 w 426899"/>
                  <a:gd name="connsiteY2" fmla="*/ 23739 h 398715"/>
                  <a:gd name="connsiteX3" fmla="*/ 255642 w 426899"/>
                  <a:gd name="connsiteY3" fmla="*/ 0 h 398715"/>
                  <a:gd name="connsiteX4" fmla="*/ 215242 w 426899"/>
                  <a:gd name="connsiteY4" fmla="*/ 183759 h 398715"/>
                  <a:gd name="connsiteX5" fmla="*/ 22907 w 426899"/>
                  <a:gd name="connsiteY5" fmla="*/ 299818 h 398715"/>
                  <a:gd name="connsiteX6" fmla="*/ 73 w 426899"/>
                  <a:gd name="connsiteY6" fmla="*/ 356088 h 398715"/>
                  <a:gd name="connsiteX7" fmla="*/ 51011 w 426899"/>
                  <a:gd name="connsiteY7" fmla="*/ 394775 h 398715"/>
                  <a:gd name="connsiteX8" fmla="*/ 207338 w 426899"/>
                  <a:gd name="connsiteY8" fmla="*/ 394775 h 398715"/>
                  <a:gd name="connsiteX9" fmla="*/ 308336 w 426899"/>
                  <a:gd name="connsiteY9" fmla="*/ 345538 h 398715"/>
                  <a:gd name="connsiteX10" fmla="*/ 310971 w 426899"/>
                  <a:gd name="connsiteY10" fmla="*/ 398292 h 398715"/>
                  <a:gd name="connsiteX11" fmla="*/ 426899 w 426899"/>
                  <a:gd name="connsiteY11" fmla="*/ 398292 h 398715"/>
                  <a:gd name="connsiteX12" fmla="*/ 426899 w 426899"/>
                  <a:gd name="connsiteY12" fmla="*/ 327953 h 398715"/>
                  <a:gd name="connsiteX13" fmla="*/ 406700 w 426899"/>
                  <a:gd name="connsiteY13" fmla="*/ 218049 h 398715"/>
                  <a:gd name="connsiteX14" fmla="*/ 408456 w 426899"/>
                  <a:gd name="connsiteY14" fmla="*/ 101991 h 398715"/>
                  <a:gd name="connsiteX15" fmla="*/ 408456 w 426899"/>
                  <a:gd name="connsiteY15" fmla="*/ 101991 h 398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6899" h="398715">
                    <a:moveTo>
                      <a:pt x="409334" y="101112"/>
                    </a:moveTo>
                    <a:cubicBezTo>
                      <a:pt x="416360" y="74735"/>
                      <a:pt x="419873" y="34290"/>
                      <a:pt x="419873" y="34290"/>
                    </a:cubicBezTo>
                    <a:cubicBezTo>
                      <a:pt x="419873" y="34290"/>
                      <a:pt x="354883" y="38686"/>
                      <a:pt x="344344" y="23739"/>
                    </a:cubicBezTo>
                    <a:cubicBezTo>
                      <a:pt x="332927" y="7034"/>
                      <a:pt x="255642" y="0"/>
                      <a:pt x="255642" y="0"/>
                    </a:cubicBezTo>
                    <a:cubicBezTo>
                      <a:pt x="255642" y="0"/>
                      <a:pt x="253007" y="117817"/>
                      <a:pt x="215242" y="183759"/>
                    </a:cubicBezTo>
                    <a:cubicBezTo>
                      <a:pt x="177478" y="249702"/>
                      <a:pt x="51889" y="267286"/>
                      <a:pt x="22907" y="299818"/>
                    </a:cubicBezTo>
                    <a:cubicBezTo>
                      <a:pt x="6221" y="319161"/>
                      <a:pt x="-805" y="337625"/>
                      <a:pt x="73" y="356088"/>
                    </a:cubicBezTo>
                    <a:cubicBezTo>
                      <a:pt x="73" y="373673"/>
                      <a:pt x="38716" y="393016"/>
                      <a:pt x="51011" y="394775"/>
                    </a:cubicBezTo>
                    <a:cubicBezTo>
                      <a:pt x="62428" y="396533"/>
                      <a:pt x="203825" y="402688"/>
                      <a:pt x="207338" y="394775"/>
                    </a:cubicBezTo>
                    <a:cubicBezTo>
                      <a:pt x="237198" y="343779"/>
                      <a:pt x="308336" y="345538"/>
                      <a:pt x="308336" y="345538"/>
                    </a:cubicBezTo>
                    <a:lnTo>
                      <a:pt x="310971" y="398292"/>
                    </a:lnTo>
                    <a:lnTo>
                      <a:pt x="426899" y="398292"/>
                    </a:lnTo>
                    <a:lnTo>
                      <a:pt x="426899" y="327953"/>
                    </a:lnTo>
                    <a:cubicBezTo>
                      <a:pt x="426899" y="275199"/>
                      <a:pt x="406700" y="218049"/>
                      <a:pt x="406700" y="218049"/>
                    </a:cubicBezTo>
                    <a:cubicBezTo>
                      <a:pt x="408456" y="203982"/>
                      <a:pt x="401430" y="128368"/>
                      <a:pt x="408456" y="101991"/>
                    </a:cubicBezTo>
                    <a:lnTo>
                      <a:pt x="408456" y="101991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19363C6C-3E59-0CB0-E6C8-E546FA2579CF}"/>
                  </a:ext>
                </a:extLst>
              </p:cNvPr>
              <p:cNvSpPr/>
              <p:nvPr/>
            </p:nvSpPr>
            <p:spPr>
              <a:xfrm>
                <a:off x="-7927817" y="3481742"/>
                <a:ext cx="797444" cy="1864088"/>
              </a:xfrm>
              <a:custGeom>
                <a:avLst/>
                <a:gdLst>
                  <a:gd name="connsiteX0" fmla="*/ 795688 w 797444"/>
                  <a:gd name="connsiteY0" fmla="*/ 722727 h 1864088"/>
                  <a:gd name="connsiteX1" fmla="*/ 722794 w 797444"/>
                  <a:gd name="connsiteY1" fmla="*/ 722727 h 1864088"/>
                  <a:gd name="connsiteX2" fmla="*/ 650778 w 797444"/>
                  <a:gd name="connsiteY2" fmla="*/ 0 h 1864088"/>
                  <a:gd name="connsiteX3" fmla="*/ 477764 w 797444"/>
                  <a:gd name="connsiteY3" fmla="*/ 2638 h 1864088"/>
                  <a:gd name="connsiteX4" fmla="*/ 303872 w 797444"/>
                  <a:gd name="connsiteY4" fmla="*/ 43962 h 1864088"/>
                  <a:gd name="connsiteX5" fmla="*/ 111537 w 797444"/>
                  <a:gd name="connsiteY5" fmla="*/ 72097 h 1864088"/>
                  <a:gd name="connsiteX6" fmla="*/ 53573 w 797444"/>
                  <a:gd name="connsiteY6" fmla="*/ 757897 h 1864088"/>
                  <a:gd name="connsiteX7" fmla="*/ 0 w 797444"/>
                  <a:gd name="connsiteY7" fmla="*/ 1822645 h 1864088"/>
                  <a:gd name="connsiteX8" fmla="*/ 34251 w 797444"/>
                  <a:gd name="connsiteY8" fmla="*/ 1832317 h 1864088"/>
                  <a:gd name="connsiteX9" fmla="*/ 190579 w 797444"/>
                  <a:gd name="connsiteY9" fmla="*/ 1841109 h 1864088"/>
                  <a:gd name="connsiteX10" fmla="*/ 326706 w 797444"/>
                  <a:gd name="connsiteY10" fmla="*/ 1826162 h 1864088"/>
                  <a:gd name="connsiteX11" fmla="*/ 432973 w 797444"/>
                  <a:gd name="connsiteY11" fmla="*/ 753501 h 1864088"/>
                  <a:gd name="connsiteX12" fmla="*/ 482155 w 797444"/>
                  <a:gd name="connsiteY12" fmla="*/ 1841988 h 1864088"/>
                  <a:gd name="connsiteX13" fmla="*/ 578762 w 797444"/>
                  <a:gd name="connsiteY13" fmla="*/ 1859573 h 1864088"/>
                  <a:gd name="connsiteX14" fmla="*/ 720159 w 797444"/>
                  <a:gd name="connsiteY14" fmla="*/ 1856935 h 1864088"/>
                  <a:gd name="connsiteX15" fmla="*/ 797444 w 797444"/>
                  <a:gd name="connsiteY15" fmla="*/ 1819128 h 1864088"/>
                  <a:gd name="connsiteX16" fmla="*/ 794810 w 797444"/>
                  <a:gd name="connsiteY16" fmla="*/ 723607 h 1864088"/>
                  <a:gd name="connsiteX17" fmla="*/ 795688 w 797444"/>
                  <a:gd name="connsiteY17" fmla="*/ 723607 h 1864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97444" h="1864088">
                    <a:moveTo>
                      <a:pt x="795688" y="722727"/>
                    </a:moveTo>
                    <a:lnTo>
                      <a:pt x="722794" y="722727"/>
                    </a:lnTo>
                    <a:cubicBezTo>
                      <a:pt x="722794" y="722727"/>
                      <a:pt x="654291" y="266407"/>
                      <a:pt x="650778" y="0"/>
                    </a:cubicBezTo>
                    <a:lnTo>
                      <a:pt x="477764" y="2638"/>
                    </a:lnTo>
                    <a:cubicBezTo>
                      <a:pt x="459321" y="11430"/>
                      <a:pt x="350418" y="27256"/>
                      <a:pt x="303872" y="43962"/>
                    </a:cubicBezTo>
                    <a:cubicBezTo>
                      <a:pt x="257325" y="60667"/>
                      <a:pt x="148423" y="72097"/>
                      <a:pt x="111537" y="72097"/>
                    </a:cubicBezTo>
                    <a:lnTo>
                      <a:pt x="53573" y="757897"/>
                    </a:lnTo>
                    <a:lnTo>
                      <a:pt x="0" y="1822645"/>
                    </a:lnTo>
                    <a:cubicBezTo>
                      <a:pt x="10539" y="1826162"/>
                      <a:pt x="21956" y="1829679"/>
                      <a:pt x="34251" y="1832317"/>
                    </a:cubicBezTo>
                    <a:cubicBezTo>
                      <a:pt x="82554" y="1842868"/>
                      <a:pt x="139640" y="1843747"/>
                      <a:pt x="190579" y="1841109"/>
                    </a:cubicBezTo>
                    <a:cubicBezTo>
                      <a:pt x="265229" y="1837592"/>
                      <a:pt x="326706" y="1826162"/>
                      <a:pt x="326706" y="1826162"/>
                    </a:cubicBezTo>
                    <a:lnTo>
                      <a:pt x="432973" y="753501"/>
                    </a:lnTo>
                    <a:lnTo>
                      <a:pt x="482155" y="1841988"/>
                    </a:lnTo>
                    <a:cubicBezTo>
                      <a:pt x="518163" y="1850781"/>
                      <a:pt x="549780" y="1856056"/>
                      <a:pt x="578762" y="1859573"/>
                    </a:cubicBezTo>
                    <a:cubicBezTo>
                      <a:pt x="641117" y="1867486"/>
                      <a:pt x="686786" y="1863969"/>
                      <a:pt x="720159" y="1856935"/>
                    </a:cubicBezTo>
                    <a:cubicBezTo>
                      <a:pt x="779001" y="1844626"/>
                      <a:pt x="797444" y="1819128"/>
                      <a:pt x="797444" y="1819128"/>
                    </a:cubicBezTo>
                    <a:cubicBezTo>
                      <a:pt x="797444" y="1819128"/>
                      <a:pt x="797444" y="1153551"/>
                      <a:pt x="794810" y="723607"/>
                    </a:cubicBezTo>
                    <a:lnTo>
                      <a:pt x="795688" y="72360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1D884A4A-45B7-D09E-95C2-7DB2A1407F7C}"/>
                  </a:ext>
                </a:extLst>
              </p:cNvPr>
              <p:cNvSpPr/>
              <p:nvPr/>
            </p:nvSpPr>
            <p:spPr>
              <a:xfrm>
                <a:off x="-7946260" y="3431625"/>
                <a:ext cx="50059" cy="113420"/>
              </a:xfrm>
              <a:custGeom>
                <a:avLst/>
                <a:gdLst>
                  <a:gd name="connsiteX0" fmla="*/ 0 w 50059"/>
                  <a:gd name="connsiteY0" fmla="*/ 84406 h 113420"/>
                  <a:gd name="connsiteX1" fmla="*/ 36886 w 50059"/>
                  <a:gd name="connsiteY1" fmla="*/ 113421 h 113420"/>
                  <a:gd name="connsiteX2" fmla="*/ 50060 w 50059"/>
                  <a:gd name="connsiteY2" fmla="*/ 0 h 113420"/>
                  <a:gd name="connsiteX3" fmla="*/ 0 w 50059"/>
                  <a:gd name="connsiteY3" fmla="*/ 84406 h 113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59" h="113420">
                    <a:moveTo>
                      <a:pt x="0" y="84406"/>
                    </a:moveTo>
                    <a:lnTo>
                      <a:pt x="36886" y="113421"/>
                    </a:lnTo>
                    <a:lnTo>
                      <a:pt x="50060" y="0"/>
                    </a:lnTo>
                    <a:lnTo>
                      <a:pt x="0" y="8440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1E9AE011-A8B1-5CAE-C690-0C61393537E3}"/>
                  </a:ext>
                </a:extLst>
              </p:cNvPr>
              <p:cNvSpPr/>
              <p:nvPr/>
            </p:nvSpPr>
            <p:spPr>
              <a:xfrm>
                <a:off x="-7348177" y="5338677"/>
                <a:ext cx="141396" cy="71217"/>
              </a:xfrm>
              <a:custGeom>
                <a:avLst/>
                <a:gdLst>
                  <a:gd name="connsiteX0" fmla="*/ 0 w 141396"/>
                  <a:gd name="connsiteY0" fmla="*/ 2638 h 71217"/>
                  <a:gd name="connsiteX1" fmla="*/ 7026 w 141396"/>
                  <a:gd name="connsiteY1" fmla="*/ 71218 h 71217"/>
                  <a:gd name="connsiteX2" fmla="*/ 134371 w 141396"/>
                  <a:gd name="connsiteY2" fmla="*/ 64184 h 71217"/>
                  <a:gd name="connsiteX3" fmla="*/ 141397 w 141396"/>
                  <a:gd name="connsiteY3" fmla="*/ 0 h 71217"/>
                  <a:gd name="connsiteX4" fmla="*/ 0 w 141396"/>
                  <a:gd name="connsiteY4" fmla="*/ 2638 h 7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396" h="71217">
                    <a:moveTo>
                      <a:pt x="0" y="2638"/>
                    </a:moveTo>
                    <a:lnTo>
                      <a:pt x="7026" y="71218"/>
                    </a:lnTo>
                    <a:cubicBezTo>
                      <a:pt x="13174" y="66822"/>
                      <a:pt x="50060" y="39565"/>
                      <a:pt x="134371" y="64184"/>
                    </a:cubicBezTo>
                    <a:lnTo>
                      <a:pt x="141397" y="0"/>
                    </a:lnTo>
                    <a:cubicBezTo>
                      <a:pt x="108024" y="7034"/>
                      <a:pt x="62355" y="10551"/>
                      <a:pt x="0" y="2638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E2AF3EC9-4999-C606-8A10-434F85A5012D}"/>
                  </a:ext>
                </a:extLst>
              </p:cNvPr>
              <p:cNvSpPr/>
              <p:nvPr/>
            </p:nvSpPr>
            <p:spPr>
              <a:xfrm>
                <a:off x="-6895004" y="2666257"/>
                <a:ext cx="258269" cy="413676"/>
              </a:xfrm>
              <a:custGeom>
                <a:avLst/>
                <a:gdLst>
                  <a:gd name="connsiteX0" fmla="*/ 256447 w 258269"/>
                  <a:gd name="connsiteY0" fmla="*/ 81327 h 413676"/>
                  <a:gd name="connsiteX1" fmla="*/ 238882 w 258269"/>
                  <a:gd name="connsiteY1" fmla="*/ 84844 h 413676"/>
                  <a:gd name="connsiteX2" fmla="*/ 191457 w 258269"/>
                  <a:gd name="connsiteY2" fmla="*/ 157820 h 413676"/>
                  <a:gd name="connsiteX3" fmla="*/ 238882 w 258269"/>
                  <a:gd name="connsiteY3" fmla="*/ 36486 h 413676"/>
                  <a:gd name="connsiteX4" fmla="*/ 218683 w 258269"/>
                  <a:gd name="connsiteY4" fmla="*/ 44399 h 413676"/>
                  <a:gd name="connsiteX5" fmla="*/ 172136 w 258269"/>
                  <a:gd name="connsiteY5" fmla="*/ 122651 h 413676"/>
                  <a:gd name="connsiteX6" fmla="*/ 209900 w 258269"/>
                  <a:gd name="connsiteY6" fmla="*/ 4834 h 413676"/>
                  <a:gd name="connsiteX7" fmla="*/ 182674 w 258269"/>
                  <a:gd name="connsiteY7" fmla="*/ 23298 h 413676"/>
                  <a:gd name="connsiteX8" fmla="*/ 144032 w 258269"/>
                  <a:gd name="connsiteY8" fmla="*/ 103308 h 413676"/>
                  <a:gd name="connsiteX9" fmla="*/ 163353 w 258269"/>
                  <a:gd name="connsiteY9" fmla="*/ 16264 h 413676"/>
                  <a:gd name="connsiteX10" fmla="*/ 144032 w 258269"/>
                  <a:gd name="connsiteY10" fmla="*/ 8351 h 413676"/>
                  <a:gd name="connsiteX11" fmla="*/ 109780 w 258269"/>
                  <a:gd name="connsiteY11" fmla="*/ 111221 h 413676"/>
                  <a:gd name="connsiteX12" fmla="*/ 75529 w 258269"/>
                  <a:gd name="connsiteY12" fmla="*/ 154303 h 413676"/>
                  <a:gd name="connsiteX13" fmla="*/ 43912 w 258269"/>
                  <a:gd name="connsiteY13" fmla="*/ 130564 h 413676"/>
                  <a:gd name="connsiteX14" fmla="*/ 43912 w 258269"/>
                  <a:gd name="connsiteY14" fmla="*/ 130564 h 413676"/>
                  <a:gd name="connsiteX15" fmla="*/ 0 w 258269"/>
                  <a:gd name="connsiteY15" fmla="*/ 120013 h 413676"/>
                  <a:gd name="connsiteX16" fmla="*/ 19321 w 258269"/>
                  <a:gd name="connsiteY16" fmla="*/ 150786 h 413676"/>
                  <a:gd name="connsiteX17" fmla="*/ 38643 w 258269"/>
                  <a:gd name="connsiteY17" fmla="*/ 207057 h 413676"/>
                  <a:gd name="connsiteX18" fmla="*/ 50938 w 258269"/>
                  <a:gd name="connsiteY18" fmla="*/ 236072 h 413676"/>
                  <a:gd name="connsiteX19" fmla="*/ 57964 w 258269"/>
                  <a:gd name="connsiteY19" fmla="*/ 261569 h 413676"/>
                  <a:gd name="connsiteX20" fmla="*/ 35130 w 258269"/>
                  <a:gd name="connsiteY20" fmla="*/ 355647 h 413676"/>
                  <a:gd name="connsiteX21" fmla="*/ 136128 w 258269"/>
                  <a:gd name="connsiteY21" fmla="*/ 413676 h 413676"/>
                  <a:gd name="connsiteX22" fmla="*/ 136128 w 258269"/>
                  <a:gd name="connsiteY22" fmla="*/ 286188 h 413676"/>
                  <a:gd name="connsiteX23" fmla="*/ 210778 w 258269"/>
                  <a:gd name="connsiteY23" fmla="*/ 180680 h 413676"/>
                  <a:gd name="connsiteX24" fmla="*/ 257325 w 258269"/>
                  <a:gd name="connsiteY24" fmla="*/ 80448 h 413676"/>
                  <a:gd name="connsiteX25" fmla="*/ 256447 w 258269"/>
                  <a:gd name="connsiteY25" fmla="*/ 80448 h 413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58269" h="413676">
                    <a:moveTo>
                      <a:pt x="256447" y="81327"/>
                    </a:moveTo>
                    <a:cubicBezTo>
                      <a:pt x="248543" y="66380"/>
                      <a:pt x="238882" y="84844"/>
                      <a:pt x="238882" y="84844"/>
                    </a:cubicBezTo>
                    <a:lnTo>
                      <a:pt x="191457" y="157820"/>
                    </a:lnTo>
                    <a:cubicBezTo>
                      <a:pt x="191457" y="157820"/>
                      <a:pt x="245030" y="69018"/>
                      <a:pt x="238882" y="36486"/>
                    </a:cubicBezTo>
                    <a:cubicBezTo>
                      <a:pt x="238882" y="36486"/>
                      <a:pt x="228343" y="17143"/>
                      <a:pt x="218683" y="44399"/>
                    </a:cubicBezTo>
                    <a:cubicBezTo>
                      <a:pt x="209022" y="71655"/>
                      <a:pt x="172136" y="122651"/>
                      <a:pt x="172136" y="122651"/>
                    </a:cubicBezTo>
                    <a:cubicBezTo>
                      <a:pt x="172136" y="122651"/>
                      <a:pt x="222195" y="23298"/>
                      <a:pt x="209900" y="4834"/>
                    </a:cubicBezTo>
                    <a:cubicBezTo>
                      <a:pt x="197605" y="-12751"/>
                      <a:pt x="182674" y="23298"/>
                      <a:pt x="182674" y="23298"/>
                    </a:cubicBezTo>
                    <a:lnTo>
                      <a:pt x="144032" y="103308"/>
                    </a:lnTo>
                    <a:cubicBezTo>
                      <a:pt x="144032" y="103308"/>
                      <a:pt x="168623" y="32969"/>
                      <a:pt x="163353" y="16264"/>
                    </a:cubicBezTo>
                    <a:cubicBezTo>
                      <a:pt x="158084" y="-1321"/>
                      <a:pt x="148423" y="-2200"/>
                      <a:pt x="144032" y="8351"/>
                    </a:cubicBezTo>
                    <a:cubicBezTo>
                      <a:pt x="140519" y="18902"/>
                      <a:pt x="119441" y="100670"/>
                      <a:pt x="109780" y="111221"/>
                    </a:cubicBezTo>
                    <a:cubicBezTo>
                      <a:pt x="105389" y="115617"/>
                      <a:pt x="81676" y="145511"/>
                      <a:pt x="75529" y="154303"/>
                    </a:cubicBezTo>
                    <a:cubicBezTo>
                      <a:pt x="66747" y="168371"/>
                      <a:pt x="54451" y="152545"/>
                      <a:pt x="43912" y="130564"/>
                    </a:cubicBezTo>
                    <a:lnTo>
                      <a:pt x="43912" y="130564"/>
                    </a:lnTo>
                    <a:cubicBezTo>
                      <a:pt x="30738" y="97153"/>
                      <a:pt x="879" y="107704"/>
                      <a:pt x="0" y="120013"/>
                    </a:cubicBezTo>
                    <a:cubicBezTo>
                      <a:pt x="0" y="128805"/>
                      <a:pt x="14052" y="143752"/>
                      <a:pt x="19321" y="150786"/>
                    </a:cubicBezTo>
                    <a:cubicBezTo>
                      <a:pt x="24591" y="156941"/>
                      <a:pt x="36886" y="200023"/>
                      <a:pt x="38643" y="207057"/>
                    </a:cubicBezTo>
                    <a:cubicBezTo>
                      <a:pt x="41278" y="222004"/>
                      <a:pt x="46547" y="227279"/>
                      <a:pt x="50938" y="236072"/>
                    </a:cubicBezTo>
                    <a:cubicBezTo>
                      <a:pt x="50938" y="238709"/>
                      <a:pt x="57964" y="259811"/>
                      <a:pt x="57964" y="261569"/>
                    </a:cubicBezTo>
                    <a:lnTo>
                      <a:pt x="35130" y="355647"/>
                    </a:lnTo>
                    <a:lnTo>
                      <a:pt x="136128" y="413676"/>
                    </a:lnTo>
                    <a:lnTo>
                      <a:pt x="136128" y="286188"/>
                    </a:lnTo>
                    <a:lnTo>
                      <a:pt x="210778" y="180680"/>
                    </a:lnTo>
                    <a:cubicBezTo>
                      <a:pt x="210778" y="180680"/>
                      <a:pt x="266107" y="95395"/>
                      <a:pt x="257325" y="80448"/>
                    </a:cubicBezTo>
                    <a:lnTo>
                      <a:pt x="256447" y="80448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9054F0C3-7A77-5B8D-4E55-E2529CDDF0F0}"/>
                  </a:ext>
                </a:extLst>
              </p:cNvPr>
              <p:cNvSpPr/>
              <p:nvPr/>
            </p:nvSpPr>
            <p:spPr>
              <a:xfrm>
                <a:off x="-7375516" y="5388583"/>
                <a:ext cx="206500" cy="450095"/>
              </a:xfrm>
              <a:custGeom>
                <a:avLst/>
                <a:gdLst>
                  <a:gd name="connsiteX0" fmla="*/ 206500 w 206500"/>
                  <a:gd name="connsiteY0" fmla="*/ 391467 h 450095"/>
                  <a:gd name="connsiteX1" fmla="*/ 189814 w 206500"/>
                  <a:gd name="connsiteY1" fmla="*/ 292114 h 450095"/>
                  <a:gd name="connsiteX2" fmla="*/ 173127 w 206500"/>
                  <a:gd name="connsiteY2" fmla="*/ 176056 h 450095"/>
                  <a:gd name="connsiteX3" fmla="*/ 167858 w 206500"/>
                  <a:gd name="connsiteY3" fmla="*/ 18674 h 450095"/>
                  <a:gd name="connsiteX4" fmla="*/ 28217 w 206500"/>
                  <a:gd name="connsiteY4" fmla="*/ 25707 h 450095"/>
                  <a:gd name="connsiteX5" fmla="*/ 35243 w 206500"/>
                  <a:gd name="connsiteY5" fmla="*/ 126819 h 450095"/>
                  <a:gd name="connsiteX6" fmla="*/ 10652 w 206500"/>
                  <a:gd name="connsiteY6" fmla="*/ 284201 h 450095"/>
                  <a:gd name="connsiteX7" fmla="*/ 10652 w 206500"/>
                  <a:gd name="connsiteY7" fmla="*/ 407293 h 450095"/>
                  <a:gd name="connsiteX8" fmla="*/ 174006 w 206500"/>
                  <a:gd name="connsiteY8" fmla="*/ 438066 h 450095"/>
                  <a:gd name="connsiteX9" fmla="*/ 206500 w 206500"/>
                  <a:gd name="connsiteY9" fmla="*/ 391467 h 450095"/>
                  <a:gd name="connsiteX10" fmla="*/ 206500 w 206500"/>
                  <a:gd name="connsiteY10" fmla="*/ 391467 h 450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6500" h="450095">
                    <a:moveTo>
                      <a:pt x="206500" y="391467"/>
                    </a:moveTo>
                    <a:cubicBezTo>
                      <a:pt x="206500" y="349264"/>
                      <a:pt x="189814" y="292114"/>
                      <a:pt x="189814" y="292114"/>
                    </a:cubicBezTo>
                    <a:cubicBezTo>
                      <a:pt x="189814" y="270134"/>
                      <a:pt x="173127" y="176056"/>
                      <a:pt x="173127" y="176056"/>
                    </a:cubicBezTo>
                    <a:lnTo>
                      <a:pt x="167858" y="18674"/>
                    </a:lnTo>
                    <a:cubicBezTo>
                      <a:pt x="138876" y="-7703"/>
                      <a:pt x="49295" y="-6824"/>
                      <a:pt x="28217" y="25707"/>
                    </a:cubicBezTo>
                    <a:cubicBezTo>
                      <a:pt x="18557" y="40654"/>
                      <a:pt x="35243" y="126819"/>
                      <a:pt x="35243" y="126819"/>
                    </a:cubicBezTo>
                    <a:cubicBezTo>
                      <a:pt x="35243" y="126819"/>
                      <a:pt x="15922" y="234964"/>
                      <a:pt x="10652" y="284201"/>
                    </a:cubicBezTo>
                    <a:cubicBezTo>
                      <a:pt x="5383" y="334317"/>
                      <a:pt x="-10425" y="343110"/>
                      <a:pt x="10652" y="407293"/>
                    </a:cubicBezTo>
                    <a:cubicBezTo>
                      <a:pt x="31730" y="471477"/>
                      <a:pt x="160832" y="446859"/>
                      <a:pt x="174006" y="438066"/>
                    </a:cubicBezTo>
                    <a:cubicBezTo>
                      <a:pt x="189814" y="428395"/>
                      <a:pt x="206500" y="416965"/>
                      <a:pt x="206500" y="391467"/>
                    </a:cubicBezTo>
                    <a:lnTo>
                      <a:pt x="206500" y="3914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1579C032-5F0E-950E-930E-51AFE6D327FE}"/>
                  </a:ext>
                </a:extLst>
              </p:cNvPr>
              <p:cNvSpPr/>
              <p:nvPr/>
            </p:nvSpPr>
            <p:spPr>
              <a:xfrm>
                <a:off x="-7588816" y="2618337"/>
                <a:ext cx="69381" cy="130126"/>
              </a:xfrm>
              <a:custGeom>
                <a:avLst/>
                <a:gdLst>
                  <a:gd name="connsiteX0" fmla="*/ 879 w 69381"/>
                  <a:gd name="connsiteY0" fmla="*/ 65063 h 130126"/>
                  <a:gd name="connsiteX1" fmla="*/ 35130 w 69381"/>
                  <a:gd name="connsiteY1" fmla="*/ 130126 h 130126"/>
                  <a:gd name="connsiteX2" fmla="*/ 69381 w 69381"/>
                  <a:gd name="connsiteY2" fmla="*/ 65063 h 130126"/>
                  <a:gd name="connsiteX3" fmla="*/ 66747 w 69381"/>
                  <a:gd name="connsiteY3" fmla="*/ 41324 h 130126"/>
                  <a:gd name="connsiteX4" fmla="*/ 57964 w 69381"/>
                  <a:gd name="connsiteY4" fmla="*/ 17585 h 130126"/>
                  <a:gd name="connsiteX5" fmla="*/ 34252 w 69381"/>
                  <a:gd name="connsiteY5" fmla="*/ 0 h 130126"/>
                  <a:gd name="connsiteX6" fmla="*/ 2635 w 69381"/>
                  <a:gd name="connsiteY6" fmla="*/ 38686 h 130126"/>
                  <a:gd name="connsiteX7" fmla="*/ 0 w 69381"/>
                  <a:gd name="connsiteY7" fmla="*/ 53633 h 130126"/>
                  <a:gd name="connsiteX8" fmla="*/ 0 w 69381"/>
                  <a:gd name="connsiteY8" fmla="*/ 64184 h 130126"/>
                  <a:gd name="connsiteX9" fmla="*/ 0 w 69381"/>
                  <a:gd name="connsiteY9" fmla="*/ 64184 h 130126"/>
                  <a:gd name="connsiteX10" fmla="*/ 23713 w 69381"/>
                  <a:gd name="connsiteY10" fmla="*/ 50995 h 130126"/>
                  <a:gd name="connsiteX11" fmla="*/ 23713 w 69381"/>
                  <a:gd name="connsiteY11" fmla="*/ 37807 h 130126"/>
                  <a:gd name="connsiteX12" fmla="*/ 34252 w 69381"/>
                  <a:gd name="connsiteY12" fmla="*/ 14947 h 130126"/>
                  <a:gd name="connsiteX13" fmla="*/ 42156 w 69381"/>
                  <a:gd name="connsiteY13" fmla="*/ 25498 h 130126"/>
                  <a:gd name="connsiteX14" fmla="*/ 45669 w 69381"/>
                  <a:gd name="connsiteY14" fmla="*/ 44841 h 130126"/>
                  <a:gd name="connsiteX15" fmla="*/ 45669 w 69381"/>
                  <a:gd name="connsiteY15" fmla="*/ 50995 h 130126"/>
                  <a:gd name="connsiteX16" fmla="*/ 34252 w 69381"/>
                  <a:gd name="connsiteY16" fmla="*/ 86165 h 130126"/>
                  <a:gd name="connsiteX17" fmla="*/ 22835 w 69381"/>
                  <a:gd name="connsiteY17" fmla="*/ 51875 h 130126"/>
                  <a:gd name="connsiteX18" fmla="*/ 22835 w 69381"/>
                  <a:gd name="connsiteY18" fmla="*/ 51875 h 130126"/>
                  <a:gd name="connsiteX19" fmla="*/ 22835 w 69381"/>
                  <a:gd name="connsiteY19" fmla="*/ 51875 h 130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9381" h="130126">
                    <a:moveTo>
                      <a:pt x="879" y="65063"/>
                    </a:moveTo>
                    <a:cubicBezTo>
                      <a:pt x="879" y="101112"/>
                      <a:pt x="15808" y="130126"/>
                      <a:pt x="35130" y="130126"/>
                    </a:cubicBezTo>
                    <a:cubicBezTo>
                      <a:pt x="54451" y="130126"/>
                      <a:pt x="69381" y="101112"/>
                      <a:pt x="69381" y="65063"/>
                    </a:cubicBezTo>
                    <a:cubicBezTo>
                      <a:pt x="69381" y="29015"/>
                      <a:pt x="69381" y="49237"/>
                      <a:pt x="66747" y="41324"/>
                    </a:cubicBezTo>
                    <a:cubicBezTo>
                      <a:pt x="64990" y="32532"/>
                      <a:pt x="62356" y="24618"/>
                      <a:pt x="57964" y="17585"/>
                    </a:cubicBezTo>
                    <a:cubicBezTo>
                      <a:pt x="51817" y="7034"/>
                      <a:pt x="43912" y="0"/>
                      <a:pt x="34252" y="0"/>
                    </a:cubicBezTo>
                    <a:cubicBezTo>
                      <a:pt x="20199" y="0"/>
                      <a:pt x="7904" y="15826"/>
                      <a:pt x="2635" y="38686"/>
                    </a:cubicBezTo>
                    <a:cubicBezTo>
                      <a:pt x="2635" y="43082"/>
                      <a:pt x="879" y="48358"/>
                      <a:pt x="0" y="53633"/>
                    </a:cubicBezTo>
                    <a:lnTo>
                      <a:pt x="0" y="64184"/>
                    </a:lnTo>
                    <a:lnTo>
                      <a:pt x="0" y="64184"/>
                    </a:lnTo>
                    <a:close/>
                    <a:moveTo>
                      <a:pt x="23713" y="50995"/>
                    </a:moveTo>
                    <a:lnTo>
                      <a:pt x="23713" y="37807"/>
                    </a:lnTo>
                    <a:cubicBezTo>
                      <a:pt x="25469" y="24618"/>
                      <a:pt x="29860" y="14947"/>
                      <a:pt x="34252" y="14947"/>
                    </a:cubicBezTo>
                    <a:cubicBezTo>
                      <a:pt x="38643" y="14947"/>
                      <a:pt x="40399" y="19343"/>
                      <a:pt x="42156" y="25498"/>
                    </a:cubicBezTo>
                    <a:cubicBezTo>
                      <a:pt x="43912" y="30773"/>
                      <a:pt x="44791" y="36928"/>
                      <a:pt x="45669" y="44841"/>
                    </a:cubicBezTo>
                    <a:lnTo>
                      <a:pt x="45669" y="50995"/>
                    </a:lnTo>
                    <a:cubicBezTo>
                      <a:pt x="45669" y="70338"/>
                      <a:pt x="40399" y="86165"/>
                      <a:pt x="34252" y="86165"/>
                    </a:cubicBezTo>
                    <a:cubicBezTo>
                      <a:pt x="28104" y="86165"/>
                      <a:pt x="22835" y="71218"/>
                      <a:pt x="22835" y="51875"/>
                    </a:cubicBezTo>
                    <a:lnTo>
                      <a:pt x="22835" y="51875"/>
                    </a:lnTo>
                    <a:cubicBezTo>
                      <a:pt x="22835" y="51875"/>
                      <a:pt x="22835" y="51875"/>
                      <a:pt x="22835" y="51875"/>
                    </a:cubicBezTo>
                    <a:close/>
                  </a:path>
                </a:pathLst>
              </a:custGeom>
              <a:solidFill>
                <a:srgbClr val="FA69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CE9B141B-8BBA-3BCA-AF84-26874AF925A7}"/>
                  </a:ext>
                </a:extLst>
              </p:cNvPr>
              <p:cNvSpPr/>
              <p:nvPr/>
            </p:nvSpPr>
            <p:spPr>
              <a:xfrm>
                <a:off x="-7815402" y="2831111"/>
                <a:ext cx="555562" cy="763172"/>
              </a:xfrm>
              <a:custGeom>
                <a:avLst/>
                <a:gdLst>
                  <a:gd name="connsiteX0" fmla="*/ 410139 w 555562"/>
                  <a:gd name="connsiteY0" fmla="*/ 879 h 763172"/>
                  <a:gd name="connsiteX1" fmla="*/ 137884 w 555562"/>
                  <a:gd name="connsiteY1" fmla="*/ 22860 h 763172"/>
                  <a:gd name="connsiteX2" fmla="*/ 118563 w 555562"/>
                  <a:gd name="connsiteY2" fmla="*/ 87044 h 763172"/>
                  <a:gd name="connsiteX3" fmla="*/ 0 w 555562"/>
                  <a:gd name="connsiteY3" fmla="*/ 750863 h 763172"/>
                  <a:gd name="connsiteX4" fmla="*/ 33373 w 555562"/>
                  <a:gd name="connsiteY4" fmla="*/ 763172 h 763172"/>
                  <a:gd name="connsiteX5" fmla="*/ 186188 w 555562"/>
                  <a:gd name="connsiteY5" fmla="*/ 730641 h 763172"/>
                  <a:gd name="connsiteX6" fmla="*/ 555049 w 555562"/>
                  <a:gd name="connsiteY6" fmla="*/ 684041 h 763172"/>
                  <a:gd name="connsiteX7" fmla="*/ 410139 w 555562"/>
                  <a:gd name="connsiteY7" fmla="*/ 0 h 763172"/>
                  <a:gd name="connsiteX8" fmla="*/ 410139 w 555562"/>
                  <a:gd name="connsiteY8" fmla="*/ 0 h 763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5562" h="763172">
                    <a:moveTo>
                      <a:pt x="410139" y="879"/>
                    </a:moveTo>
                    <a:cubicBezTo>
                      <a:pt x="268742" y="109025"/>
                      <a:pt x="137884" y="22860"/>
                      <a:pt x="137884" y="22860"/>
                    </a:cubicBezTo>
                    <a:lnTo>
                      <a:pt x="118563" y="87044"/>
                    </a:lnTo>
                    <a:cubicBezTo>
                      <a:pt x="112415" y="118696"/>
                      <a:pt x="8782" y="708660"/>
                      <a:pt x="0" y="750863"/>
                    </a:cubicBezTo>
                    <a:cubicBezTo>
                      <a:pt x="7026" y="757897"/>
                      <a:pt x="19321" y="762293"/>
                      <a:pt x="33373" y="763172"/>
                    </a:cubicBezTo>
                    <a:cubicBezTo>
                      <a:pt x="104511" y="759655"/>
                      <a:pt x="138762" y="751742"/>
                      <a:pt x="186188" y="730641"/>
                    </a:cubicBezTo>
                    <a:cubicBezTo>
                      <a:pt x="320559" y="673491"/>
                      <a:pt x="555049" y="684041"/>
                      <a:pt x="555049" y="684041"/>
                    </a:cubicBezTo>
                    <a:cubicBezTo>
                      <a:pt x="565588" y="366639"/>
                      <a:pt x="410139" y="0"/>
                      <a:pt x="410139" y="0"/>
                    </a:cubicBezTo>
                    <a:lnTo>
                      <a:pt x="410139" y="0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02A6940E-F248-4551-56BC-D36172F31A94}"/>
                  </a:ext>
                </a:extLst>
              </p:cNvPr>
              <p:cNvSpPr/>
              <p:nvPr/>
            </p:nvSpPr>
            <p:spPr>
              <a:xfrm>
                <a:off x="-7418436" y="2824077"/>
                <a:ext cx="710497" cy="1381271"/>
              </a:xfrm>
              <a:custGeom>
                <a:avLst/>
                <a:gdLst>
                  <a:gd name="connsiteX0" fmla="*/ 620918 w 710497"/>
                  <a:gd name="connsiteY0" fmla="*/ 236513 h 1381271"/>
                  <a:gd name="connsiteX1" fmla="*/ 519920 w 710497"/>
                  <a:gd name="connsiteY1" fmla="*/ 178484 h 1381271"/>
                  <a:gd name="connsiteX2" fmla="*/ 513772 w 710497"/>
                  <a:gd name="connsiteY2" fmla="*/ 174967 h 1381271"/>
                  <a:gd name="connsiteX3" fmla="*/ 456686 w 710497"/>
                  <a:gd name="connsiteY3" fmla="*/ 315644 h 1381271"/>
                  <a:gd name="connsiteX4" fmla="*/ 228343 w 710497"/>
                  <a:gd name="connsiteY4" fmla="*/ 68580 h 1381271"/>
                  <a:gd name="connsiteX5" fmla="*/ 0 w 710497"/>
                  <a:gd name="connsiteY5" fmla="*/ 0 h 1381271"/>
                  <a:gd name="connsiteX6" fmla="*/ 79920 w 710497"/>
                  <a:gd name="connsiteY6" fmla="*/ 243547 h 1381271"/>
                  <a:gd name="connsiteX7" fmla="*/ 142275 w 710497"/>
                  <a:gd name="connsiteY7" fmla="*/ 617220 h 1381271"/>
                  <a:gd name="connsiteX8" fmla="*/ 142275 w 710497"/>
                  <a:gd name="connsiteY8" fmla="*/ 691955 h 1381271"/>
                  <a:gd name="connsiteX9" fmla="*/ 212535 w 710497"/>
                  <a:gd name="connsiteY9" fmla="*/ 1381271 h 1381271"/>
                  <a:gd name="connsiteX10" fmla="*/ 387305 w 710497"/>
                  <a:gd name="connsiteY10" fmla="*/ 1381271 h 1381271"/>
                  <a:gd name="connsiteX11" fmla="*/ 341636 w 710497"/>
                  <a:gd name="connsiteY11" fmla="*/ 711298 h 1381271"/>
                  <a:gd name="connsiteX12" fmla="*/ 310020 w 710497"/>
                  <a:gd name="connsiteY12" fmla="*/ 519625 h 1381271"/>
                  <a:gd name="connsiteX13" fmla="*/ 310020 w 710497"/>
                  <a:gd name="connsiteY13" fmla="*/ 521384 h 1381271"/>
                  <a:gd name="connsiteX14" fmla="*/ 519920 w 710497"/>
                  <a:gd name="connsiteY14" fmla="*/ 616341 h 1381271"/>
                  <a:gd name="connsiteX15" fmla="*/ 630578 w 710497"/>
                  <a:gd name="connsiteY15" fmla="*/ 559191 h 1381271"/>
                  <a:gd name="connsiteX16" fmla="*/ 710498 w 710497"/>
                  <a:gd name="connsiteY16" fmla="*/ 289267 h 1381271"/>
                  <a:gd name="connsiteX17" fmla="*/ 620039 w 710497"/>
                  <a:gd name="connsiteY17" fmla="*/ 237392 h 1381271"/>
                  <a:gd name="connsiteX18" fmla="*/ 620918 w 710497"/>
                  <a:gd name="connsiteY18" fmla="*/ 237392 h 1381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10497" h="1381271">
                    <a:moveTo>
                      <a:pt x="620918" y="236513"/>
                    </a:moveTo>
                    <a:lnTo>
                      <a:pt x="519920" y="178484"/>
                    </a:lnTo>
                    <a:lnTo>
                      <a:pt x="513772" y="174967"/>
                    </a:lnTo>
                    <a:lnTo>
                      <a:pt x="456686" y="315644"/>
                    </a:lnTo>
                    <a:cubicBezTo>
                      <a:pt x="456686" y="315644"/>
                      <a:pt x="285429" y="102870"/>
                      <a:pt x="228343" y="68580"/>
                    </a:cubicBezTo>
                    <a:cubicBezTo>
                      <a:pt x="171257" y="34290"/>
                      <a:pt x="0" y="0"/>
                      <a:pt x="0" y="0"/>
                    </a:cubicBezTo>
                    <a:lnTo>
                      <a:pt x="79920" y="243547"/>
                    </a:lnTo>
                    <a:cubicBezTo>
                      <a:pt x="79920" y="243547"/>
                      <a:pt x="138762" y="350813"/>
                      <a:pt x="142275" y="617220"/>
                    </a:cubicBezTo>
                    <a:lnTo>
                      <a:pt x="142275" y="691955"/>
                    </a:lnTo>
                    <a:cubicBezTo>
                      <a:pt x="145788" y="958361"/>
                      <a:pt x="212535" y="1381271"/>
                      <a:pt x="212535" y="1381271"/>
                    </a:cubicBezTo>
                    <a:lnTo>
                      <a:pt x="387305" y="1381271"/>
                    </a:lnTo>
                    <a:cubicBezTo>
                      <a:pt x="387305" y="1381271"/>
                      <a:pt x="349540" y="779878"/>
                      <a:pt x="341636" y="711298"/>
                    </a:cubicBezTo>
                    <a:cubicBezTo>
                      <a:pt x="337245" y="675249"/>
                      <a:pt x="323193" y="590843"/>
                      <a:pt x="310020" y="519625"/>
                    </a:cubicBezTo>
                    <a:lnTo>
                      <a:pt x="310020" y="521384"/>
                    </a:lnTo>
                    <a:cubicBezTo>
                      <a:pt x="310020" y="521384"/>
                      <a:pt x="459321" y="612824"/>
                      <a:pt x="519920" y="616341"/>
                    </a:cubicBezTo>
                    <a:cubicBezTo>
                      <a:pt x="580518" y="619858"/>
                      <a:pt x="630578" y="559191"/>
                      <a:pt x="630578" y="559191"/>
                    </a:cubicBezTo>
                    <a:lnTo>
                      <a:pt x="710498" y="289267"/>
                    </a:lnTo>
                    <a:lnTo>
                      <a:pt x="620039" y="237392"/>
                    </a:lnTo>
                    <a:lnTo>
                      <a:pt x="620918" y="237392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A61FB3AA-8EA0-8E21-2A3B-11147C567199}"/>
                  </a:ext>
                </a:extLst>
              </p:cNvPr>
              <p:cNvSpPr/>
              <p:nvPr/>
            </p:nvSpPr>
            <p:spPr>
              <a:xfrm>
                <a:off x="-8201469" y="2846058"/>
                <a:ext cx="533611" cy="1359290"/>
              </a:xfrm>
              <a:custGeom>
                <a:avLst/>
                <a:gdLst>
                  <a:gd name="connsiteX0" fmla="*/ 521316 w 533611"/>
                  <a:gd name="connsiteY0" fmla="*/ 0 h 1359290"/>
                  <a:gd name="connsiteX1" fmla="*/ 258721 w 533611"/>
                  <a:gd name="connsiteY1" fmla="*/ 133643 h 1359290"/>
                  <a:gd name="connsiteX2" fmla="*/ 518 w 533611"/>
                  <a:gd name="connsiteY2" fmla="*/ 749984 h 1359290"/>
                  <a:gd name="connsiteX3" fmla="*/ 256087 w 533611"/>
                  <a:gd name="connsiteY3" fmla="*/ 993531 h 1359290"/>
                  <a:gd name="connsiteX4" fmla="*/ 216566 w 533611"/>
                  <a:gd name="connsiteY4" fmla="*/ 1317088 h 1359290"/>
                  <a:gd name="connsiteX5" fmla="*/ 216566 w 533611"/>
                  <a:gd name="connsiteY5" fmla="*/ 1359291 h 1359290"/>
                  <a:gd name="connsiteX6" fmla="*/ 350937 w 533611"/>
                  <a:gd name="connsiteY6" fmla="*/ 1355774 h 1359290"/>
                  <a:gd name="connsiteX7" fmla="*/ 533611 w 533611"/>
                  <a:gd name="connsiteY7" fmla="*/ 192551 h 1359290"/>
                  <a:gd name="connsiteX8" fmla="*/ 520438 w 533611"/>
                  <a:gd name="connsiteY8" fmla="*/ 879 h 1359290"/>
                  <a:gd name="connsiteX9" fmla="*/ 521316 w 533611"/>
                  <a:gd name="connsiteY9" fmla="*/ 879 h 1359290"/>
                  <a:gd name="connsiteX10" fmla="*/ 255208 w 533611"/>
                  <a:gd name="connsiteY10" fmla="*/ 669974 h 1359290"/>
                  <a:gd name="connsiteX11" fmla="*/ 305268 w 533611"/>
                  <a:gd name="connsiteY11" fmla="*/ 585568 h 1359290"/>
                  <a:gd name="connsiteX12" fmla="*/ 291216 w 533611"/>
                  <a:gd name="connsiteY12" fmla="*/ 698988 h 1359290"/>
                  <a:gd name="connsiteX13" fmla="*/ 254330 w 533611"/>
                  <a:gd name="connsiteY13" fmla="*/ 669974 h 1359290"/>
                  <a:gd name="connsiteX14" fmla="*/ 254330 w 533611"/>
                  <a:gd name="connsiteY14" fmla="*/ 669974 h 135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611" h="1359290">
                    <a:moveTo>
                      <a:pt x="521316" y="0"/>
                    </a:moveTo>
                    <a:cubicBezTo>
                      <a:pt x="521316" y="0"/>
                      <a:pt x="327224" y="60667"/>
                      <a:pt x="258721" y="133643"/>
                    </a:cubicBezTo>
                    <a:cubicBezTo>
                      <a:pt x="190219" y="205740"/>
                      <a:pt x="16327" y="633046"/>
                      <a:pt x="518" y="749984"/>
                    </a:cubicBezTo>
                    <a:cubicBezTo>
                      <a:pt x="-13534" y="854612"/>
                      <a:pt x="263113" y="997048"/>
                      <a:pt x="256087" y="993531"/>
                    </a:cubicBezTo>
                    <a:lnTo>
                      <a:pt x="216566" y="1317088"/>
                    </a:lnTo>
                    <a:lnTo>
                      <a:pt x="216566" y="1359291"/>
                    </a:lnTo>
                    <a:lnTo>
                      <a:pt x="350937" y="1355774"/>
                    </a:lnTo>
                    <a:cubicBezTo>
                      <a:pt x="350937" y="1355774"/>
                      <a:pt x="532733" y="281354"/>
                      <a:pt x="533611" y="192551"/>
                    </a:cubicBezTo>
                    <a:cubicBezTo>
                      <a:pt x="533611" y="82648"/>
                      <a:pt x="520438" y="879"/>
                      <a:pt x="520438" y="879"/>
                    </a:cubicBezTo>
                    <a:lnTo>
                      <a:pt x="521316" y="879"/>
                    </a:lnTo>
                    <a:close/>
                    <a:moveTo>
                      <a:pt x="255208" y="669974"/>
                    </a:moveTo>
                    <a:lnTo>
                      <a:pt x="305268" y="585568"/>
                    </a:lnTo>
                    <a:lnTo>
                      <a:pt x="291216" y="698988"/>
                    </a:lnTo>
                    <a:lnTo>
                      <a:pt x="254330" y="669974"/>
                    </a:lnTo>
                    <a:lnTo>
                      <a:pt x="254330" y="669974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32DCFB66-F274-BFF9-847B-49368EB3EE17}"/>
                  </a:ext>
                </a:extLst>
              </p:cNvPr>
              <p:cNvSpPr/>
              <p:nvPr/>
            </p:nvSpPr>
            <p:spPr>
              <a:xfrm>
                <a:off x="-7863705" y="3677810"/>
                <a:ext cx="140518" cy="184638"/>
              </a:xfrm>
              <a:custGeom>
                <a:avLst/>
                <a:gdLst>
                  <a:gd name="connsiteX0" fmla="*/ 37764 w 140518"/>
                  <a:gd name="connsiteY0" fmla="*/ 0 h 184638"/>
                  <a:gd name="connsiteX1" fmla="*/ 0 w 140518"/>
                  <a:gd name="connsiteY1" fmla="*/ 119575 h 184638"/>
                  <a:gd name="connsiteX2" fmla="*/ 53573 w 140518"/>
                  <a:gd name="connsiteY2" fmla="*/ 121334 h 184638"/>
                  <a:gd name="connsiteX3" fmla="*/ 69381 w 140518"/>
                  <a:gd name="connsiteY3" fmla="*/ 154745 h 184638"/>
                  <a:gd name="connsiteX4" fmla="*/ 94850 w 140518"/>
                  <a:gd name="connsiteY4" fmla="*/ 184638 h 184638"/>
                  <a:gd name="connsiteX5" fmla="*/ 140519 w 140518"/>
                  <a:gd name="connsiteY5" fmla="*/ 34290 h 184638"/>
                  <a:gd name="connsiteX6" fmla="*/ 38643 w 140518"/>
                  <a:gd name="connsiteY6" fmla="*/ 0 h 184638"/>
                  <a:gd name="connsiteX7" fmla="*/ 37764 w 140518"/>
                  <a:gd name="connsiteY7" fmla="*/ 0 h 18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518" h="184638">
                    <a:moveTo>
                      <a:pt x="37764" y="0"/>
                    </a:moveTo>
                    <a:lnTo>
                      <a:pt x="0" y="119575"/>
                    </a:lnTo>
                    <a:cubicBezTo>
                      <a:pt x="0" y="119575"/>
                      <a:pt x="41278" y="117817"/>
                      <a:pt x="53573" y="121334"/>
                    </a:cubicBezTo>
                    <a:cubicBezTo>
                      <a:pt x="65868" y="124851"/>
                      <a:pt x="61477" y="141556"/>
                      <a:pt x="69381" y="154745"/>
                    </a:cubicBezTo>
                    <a:cubicBezTo>
                      <a:pt x="77285" y="167933"/>
                      <a:pt x="94850" y="184638"/>
                      <a:pt x="94850" y="184638"/>
                    </a:cubicBezTo>
                    <a:cubicBezTo>
                      <a:pt x="119441" y="133643"/>
                      <a:pt x="138762" y="83527"/>
                      <a:pt x="140519" y="34290"/>
                    </a:cubicBezTo>
                    <a:lnTo>
                      <a:pt x="38643" y="0"/>
                    </a:lnTo>
                    <a:lnTo>
                      <a:pt x="37764" y="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AD703AA5-0839-29F0-1504-E75CBC881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</p:spTree>
    <p:extLst>
      <p:ext uri="{BB962C8B-B14F-4D97-AF65-F5344CB8AC3E}">
        <p14:creationId xmlns:p14="http://schemas.microsoft.com/office/powerpoint/2010/main" val="1242816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7537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1218586-CFF9-D1B9-A7B1-D06ABC4D38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320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218586-CFF9-D1B9-A7B1-D06ABC4D384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6FA0464-8B17-496A-FA4C-57E96C00D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18793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FF1CCA5E-6795-1E3C-5218-0B3080BC06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24913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DF651931-7D32-AF36-EB33-181A9C5ED4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41724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3EBF013-1DF3-6C0C-5595-34FA4DDD21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47844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4E3D30E5-8A57-CDD7-DA25-100B803CA7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89137" y="18793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98896E69-B5C1-DD0C-DEBD-1D63423353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9137" y="24913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64B036E8-0AB2-175D-6923-18F103BC90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89137" y="41724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E656E6B1-C23F-11A3-AAEA-E43A083EE0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89137" y="47844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7C8ABE00-69D0-161F-04B2-5AE6D3E8C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>
                <a:solidFill>
                  <a:schemeClr val="tx1"/>
                </a:solidFill>
              </a:rPr>
              <a:pPr>
                <a:lnSpc>
                  <a:spcPct val="90000"/>
                </a:lnSpc>
              </a:pPr>
              <a:t>‹#›</a:t>
            </a:fld>
            <a:endParaRPr lang="en-GB">
              <a:solidFill>
                <a:schemeClr val="tx1"/>
              </a:solidFill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6ABDB94A-2DEF-E45B-3506-6633590FE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C715327-71FF-D372-8408-EABB46BB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1432DB84-23EE-5F7D-D7FC-9E761C4AB9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69936" y="18793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A98D568C-D574-ED5B-B44C-8032527D53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69936" y="24913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66917268-5C98-B3E6-124B-31CD500A1E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69936" y="41724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3085369-6F34-E1EC-A743-329ADB1CFB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69936" y="47844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901184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4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  <p15:guide id="4" pos="4611">
          <p15:clr>
            <a:srgbClr val="FBAE40"/>
          </p15:clr>
        </p15:guide>
        <p15:guide id="5" pos="5382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orient="horz" pos="17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141591B4-B15A-5F11-763E-6BA96AAE2D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" y="0"/>
            <a:ext cx="3432517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4BB2B7E-1122-64B9-8FB7-E6C5D5C1C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92489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5B4E068C-B7B9-EE92-AAD5-82BAB27A63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3D2A0AD-A3A0-B9F9-275C-913C343AFE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452437" y="1135966"/>
            <a:ext cx="7772400" cy="4360984"/>
          </a:xfrm>
          <a:prstGeom prst="rect">
            <a:avLst/>
          </a:prstGeom>
        </p:spPr>
      </p:pic>
      <p:sp>
        <p:nvSpPr>
          <p:cNvPr id="7" name="Slide Number Static">
            <a:extLst>
              <a:ext uri="{FF2B5EF4-FFF2-40B4-BE49-F238E27FC236}">
                <a16:creationId xmlns:a16="http://schemas.microsoft.com/office/drawing/2014/main" id="{E46194CB-C62D-FBD6-FC1E-CC5F7F678E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15743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573B4CC-5B19-661D-2E5A-C555F54BD53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2" y="0"/>
            <a:ext cx="3445097" cy="6923638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5D56FF3-4493-9CD5-0AFA-69BE681C8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8871A96B-14C3-D3C0-2020-ED3383B1D3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-576416" y="736435"/>
            <a:ext cx="8043024" cy="5658729"/>
          </a:xfrm>
          <a:prstGeom prst="rect">
            <a:avLst/>
          </a:prstGeom>
        </p:spPr>
      </p:pic>
      <p:sp>
        <p:nvSpPr>
          <p:cNvPr id="9" name="Slide Number Static">
            <a:extLst>
              <a:ext uri="{FF2B5EF4-FFF2-40B4-BE49-F238E27FC236}">
                <a16:creationId xmlns:a16="http://schemas.microsoft.com/office/drawing/2014/main" id="{DC6184CC-650C-7060-09E9-1421D6A211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24466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D845BF45-C241-7BD7-6C67-D6AA646D34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29398" y="891503"/>
            <a:ext cx="5074994" cy="507499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5D56FF3-4493-9CD5-0AFA-69BE681C8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8871A96B-14C3-D3C0-2020-ED3383B1D3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-112542" y="891503"/>
            <a:ext cx="6780628" cy="4770560"/>
          </a:xfrm>
          <a:prstGeom prst="rect">
            <a:avLst/>
          </a:prstGeom>
        </p:spPr>
      </p:pic>
      <p:sp>
        <p:nvSpPr>
          <p:cNvPr id="9" name="Slide Number Static">
            <a:extLst>
              <a:ext uri="{FF2B5EF4-FFF2-40B4-BE49-F238E27FC236}">
                <a16:creationId xmlns:a16="http://schemas.microsoft.com/office/drawing/2014/main" id="{12DF09E1-E0C8-17C1-12BF-750E7115F0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891564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4983431" cy="3230114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5D56FF3-4493-9CD5-0AFA-69BE681C8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863CFE56-9F2F-8F65-953F-00528B7D80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2437" y="3272945"/>
            <a:ext cx="5086967" cy="253119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83C80E6-A59A-2B9A-FC54-089636598AA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97334" y="715016"/>
            <a:ext cx="5181600" cy="4724400"/>
          </a:xfrm>
          <a:prstGeom prst="rect">
            <a:avLst/>
          </a:prstGeom>
        </p:spPr>
      </p:pic>
      <p:sp>
        <p:nvSpPr>
          <p:cNvPr id="11" name="Slide Number Static">
            <a:extLst>
              <a:ext uri="{FF2B5EF4-FFF2-40B4-BE49-F238E27FC236}">
                <a16:creationId xmlns:a16="http://schemas.microsoft.com/office/drawing/2014/main" id="{93B87F75-6B59-8FDD-9E3D-7B5C33F518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41710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5521BE6-691A-02DF-BE61-1515454FEC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 flipH="1">
            <a:off x="6945998" y="1597930"/>
            <a:ext cx="6858002" cy="3662142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4983431" cy="3230114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BC662B2-6BFD-3ECB-9D17-EE6911CDB175}"/>
              </a:ext>
            </a:extLst>
          </p:cNvPr>
          <p:cNvSpPr/>
          <p:nvPr/>
        </p:nvSpPr>
        <p:spPr>
          <a:xfrm>
            <a:off x="10432800" y="6195600"/>
            <a:ext cx="1555167" cy="817773"/>
          </a:xfrm>
          <a:custGeom>
            <a:avLst/>
            <a:gdLst>
              <a:gd name="connsiteX0" fmla="*/ 0 w 1555167"/>
              <a:gd name="connsiteY0" fmla="*/ 0 h 817773"/>
              <a:gd name="connsiteX1" fmla="*/ 1555168 w 1555167"/>
              <a:gd name="connsiteY1" fmla="*/ 0 h 817773"/>
              <a:gd name="connsiteX2" fmla="*/ 1555168 w 1555167"/>
              <a:gd name="connsiteY2" fmla="*/ 817773 h 817773"/>
              <a:gd name="connsiteX3" fmla="*/ 0 w 1555167"/>
              <a:gd name="connsiteY3" fmla="*/ 817773 h 81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5167" h="817773">
                <a:moveTo>
                  <a:pt x="0" y="0"/>
                </a:moveTo>
                <a:lnTo>
                  <a:pt x="1555168" y="0"/>
                </a:lnTo>
                <a:lnTo>
                  <a:pt x="1555168" y="817773"/>
                </a:lnTo>
                <a:lnTo>
                  <a:pt x="0" y="817773"/>
                </a:lnTo>
                <a:close/>
              </a:path>
            </a:pathLst>
          </a:custGeom>
          <a:solidFill>
            <a:srgbClr val="FFFFFF">
              <a:alpha val="0"/>
            </a:srgbClr>
          </a:solidFill>
          <a:ln w="306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C2A6EA-6AED-555A-3E26-423B06CBBADF}"/>
              </a:ext>
            </a:extLst>
          </p:cNvPr>
          <p:cNvGrpSpPr/>
          <p:nvPr userDrawn="1"/>
        </p:nvGrpSpPr>
        <p:grpSpPr>
          <a:xfrm>
            <a:off x="10735212" y="6498097"/>
            <a:ext cx="980720" cy="221131"/>
            <a:chOff x="10735212" y="6498097"/>
            <a:chExt cx="980720" cy="221131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F655E331-FFBC-0DBF-185C-C940DEAA8064}"/>
                </a:ext>
              </a:extLst>
            </p:cNvPr>
            <p:cNvSpPr/>
            <p:nvPr/>
          </p:nvSpPr>
          <p:spPr>
            <a:xfrm rot="20400074">
              <a:off x="10735212" y="6498097"/>
              <a:ext cx="212570" cy="212571"/>
            </a:xfrm>
            <a:custGeom>
              <a:avLst/>
              <a:gdLst>
                <a:gd name="connsiteX0" fmla="*/ 0 w 212570"/>
                <a:gd name="connsiteY0" fmla="*/ 0 h 212571"/>
                <a:gd name="connsiteX1" fmla="*/ 212570 w 212570"/>
                <a:gd name="connsiteY1" fmla="*/ 0 h 212571"/>
                <a:gd name="connsiteX2" fmla="*/ 212570 w 212570"/>
                <a:gd name="connsiteY2" fmla="*/ 212572 h 212571"/>
                <a:gd name="connsiteX3" fmla="*/ 0 w 212570"/>
                <a:gd name="connsiteY3" fmla="*/ 212572 h 21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570" h="212571">
                  <a:moveTo>
                    <a:pt x="0" y="0"/>
                  </a:moveTo>
                  <a:lnTo>
                    <a:pt x="212570" y="0"/>
                  </a:lnTo>
                  <a:lnTo>
                    <a:pt x="212570" y="212572"/>
                  </a:lnTo>
                  <a:lnTo>
                    <a:pt x="0" y="212572"/>
                  </a:lnTo>
                  <a:close/>
                </a:path>
              </a:pathLst>
            </a:custGeom>
            <a:solidFill>
              <a:schemeClr val="tx1"/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6F638C19-342F-E9B3-BFE2-28C15597D1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1044131" y="6533629"/>
              <a:ext cx="671801" cy="185599"/>
              <a:chOff x="11044131" y="6533629"/>
              <a:chExt cx="671801" cy="185599"/>
            </a:xfrm>
            <a:solidFill>
              <a:schemeClr val="tx1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362E93B0-30F7-97B2-7670-A16FBB5A1CA7}"/>
                  </a:ext>
                </a:extLst>
              </p:cNvPr>
              <p:cNvSpPr/>
              <p:nvPr/>
            </p:nvSpPr>
            <p:spPr>
              <a:xfrm>
                <a:off x="11044131" y="6534242"/>
                <a:ext cx="126990" cy="137113"/>
              </a:xfrm>
              <a:custGeom>
                <a:avLst/>
                <a:gdLst>
                  <a:gd name="connsiteX0" fmla="*/ 97850 w 126990"/>
                  <a:gd name="connsiteY0" fmla="*/ 134660 h 137113"/>
                  <a:gd name="connsiteX1" fmla="*/ 95703 w 126990"/>
                  <a:gd name="connsiteY1" fmla="*/ 132512 h 137113"/>
                  <a:gd name="connsiteX2" fmla="*/ 96316 w 126990"/>
                  <a:gd name="connsiteY2" fmla="*/ 116255 h 137113"/>
                  <a:gd name="connsiteX3" fmla="*/ 55827 w 126990"/>
                  <a:gd name="connsiteY3" fmla="*/ 137114 h 137113"/>
                  <a:gd name="connsiteX4" fmla="*/ 0 w 126990"/>
                  <a:gd name="connsiteY4" fmla="*/ 69017 h 137113"/>
                  <a:gd name="connsiteX5" fmla="*/ 56440 w 126990"/>
                  <a:gd name="connsiteY5" fmla="*/ 0 h 137113"/>
                  <a:gd name="connsiteX6" fmla="*/ 96316 w 126990"/>
                  <a:gd name="connsiteY6" fmla="*/ 19631 h 137113"/>
                  <a:gd name="connsiteX7" fmla="*/ 95396 w 126990"/>
                  <a:gd name="connsiteY7" fmla="*/ 4908 h 137113"/>
                  <a:gd name="connsiteX8" fmla="*/ 97543 w 126990"/>
                  <a:gd name="connsiteY8" fmla="*/ 2761 h 137113"/>
                  <a:gd name="connsiteX9" fmla="*/ 124843 w 126990"/>
                  <a:gd name="connsiteY9" fmla="*/ 2761 h 137113"/>
                  <a:gd name="connsiteX10" fmla="*/ 126990 w 126990"/>
                  <a:gd name="connsiteY10" fmla="*/ 4908 h 137113"/>
                  <a:gd name="connsiteX11" fmla="*/ 126070 w 126990"/>
                  <a:gd name="connsiteY11" fmla="*/ 68403 h 137113"/>
                  <a:gd name="connsiteX12" fmla="*/ 126990 w 126990"/>
                  <a:gd name="connsiteY12" fmla="*/ 132819 h 137113"/>
                  <a:gd name="connsiteX13" fmla="*/ 124843 w 126990"/>
                  <a:gd name="connsiteY13" fmla="*/ 134966 h 137113"/>
                  <a:gd name="connsiteX14" fmla="*/ 97850 w 126990"/>
                  <a:gd name="connsiteY14" fmla="*/ 134966 h 137113"/>
                  <a:gd name="connsiteX15" fmla="*/ 64108 w 126990"/>
                  <a:gd name="connsiteY15" fmla="*/ 115335 h 137113"/>
                  <a:gd name="connsiteX16" fmla="*/ 97236 w 126990"/>
                  <a:gd name="connsiteY16" fmla="*/ 69324 h 137113"/>
                  <a:gd name="connsiteX17" fmla="*/ 65029 w 126990"/>
                  <a:gd name="connsiteY17" fmla="*/ 21779 h 137113"/>
                  <a:gd name="connsiteX18" fmla="*/ 31594 w 126990"/>
                  <a:gd name="connsiteY18" fmla="*/ 66870 h 137113"/>
                  <a:gd name="connsiteX19" fmla="*/ 64108 w 126990"/>
                  <a:gd name="connsiteY19" fmla="*/ 115335 h 137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990" h="137113">
                    <a:moveTo>
                      <a:pt x="97850" y="134660"/>
                    </a:moveTo>
                    <a:cubicBezTo>
                      <a:pt x="96930" y="134660"/>
                      <a:pt x="95703" y="133739"/>
                      <a:pt x="95703" y="132512"/>
                    </a:cubicBezTo>
                    <a:lnTo>
                      <a:pt x="96316" y="116255"/>
                    </a:lnTo>
                    <a:cubicBezTo>
                      <a:pt x="87421" y="129445"/>
                      <a:pt x="73617" y="137114"/>
                      <a:pt x="55827" y="137114"/>
                    </a:cubicBezTo>
                    <a:cubicBezTo>
                      <a:pt x="19325" y="137114"/>
                      <a:pt x="0" y="107360"/>
                      <a:pt x="0" y="69017"/>
                    </a:cubicBezTo>
                    <a:cubicBezTo>
                      <a:pt x="0" y="30674"/>
                      <a:pt x="21165" y="0"/>
                      <a:pt x="56440" y="0"/>
                    </a:cubicBezTo>
                    <a:cubicBezTo>
                      <a:pt x="73924" y="0"/>
                      <a:pt x="87421" y="6748"/>
                      <a:pt x="96316" y="19631"/>
                    </a:cubicBezTo>
                    <a:lnTo>
                      <a:pt x="95396" y="4908"/>
                    </a:lnTo>
                    <a:cubicBezTo>
                      <a:pt x="95396" y="3988"/>
                      <a:pt x="96316" y="2761"/>
                      <a:pt x="97543" y="2761"/>
                    </a:cubicBezTo>
                    <a:lnTo>
                      <a:pt x="124843" y="2761"/>
                    </a:lnTo>
                    <a:cubicBezTo>
                      <a:pt x="125763" y="2761"/>
                      <a:pt x="126990" y="3681"/>
                      <a:pt x="126990" y="4908"/>
                    </a:cubicBezTo>
                    <a:lnTo>
                      <a:pt x="126070" y="68403"/>
                    </a:lnTo>
                    <a:lnTo>
                      <a:pt x="126990" y="132819"/>
                    </a:lnTo>
                    <a:cubicBezTo>
                      <a:pt x="126990" y="133739"/>
                      <a:pt x="126070" y="134966"/>
                      <a:pt x="124843" y="134966"/>
                    </a:cubicBezTo>
                    <a:lnTo>
                      <a:pt x="97850" y="134966"/>
                    </a:lnTo>
                    <a:close/>
                    <a:moveTo>
                      <a:pt x="64108" y="115335"/>
                    </a:moveTo>
                    <a:cubicBezTo>
                      <a:pt x="84967" y="115335"/>
                      <a:pt x="96930" y="99998"/>
                      <a:pt x="97236" y="69324"/>
                    </a:cubicBezTo>
                    <a:cubicBezTo>
                      <a:pt x="97543" y="38956"/>
                      <a:pt x="85580" y="21779"/>
                      <a:pt x="65029" y="21779"/>
                    </a:cubicBezTo>
                    <a:cubicBezTo>
                      <a:pt x="42330" y="21472"/>
                      <a:pt x="31594" y="38649"/>
                      <a:pt x="31594" y="66870"/>
                    </a:cubicBezTo>
                    <a:cubicBezTo>
                      <a:pt x="31287" y="97544"/>
                      <a:pt x="42330" y="115335"/>
                      <a:pt x="64108" y="11533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15F38D3A-B53E-12A7-EA5B-CADB8E01CEA2}"/>
                  </a:ext>
                </a:extLst>
              </p:cNvPr>
              <p:cNvSpPr/>
              <p:nvPr/>
            </p:nvSpPr>
            <p:spPr>
              <a:xfrm>
                <a:off x="11454548" y="6533935"/>
                <a:ext cx="130060" cy="138033"/>
              </a:xfrm>
              <a:custGeom>
                <a:avLst/>
                <a:gdLst>
                  <a:gd name="connsiteX0" fmla="*/ 65335 w 130060"/>
                  <a:gd name="connsiteY0" fmla="*/ 138034 h 138033"/>
                  <a:gd name="connsiteX1" fmla="*/ 0 w 130060"/>
                  <a:gd name="connsiteY1" fmla="*/ 69324 h 138033"/>
                  <a:gd name="connsiteX2" fmla="*/ 65335 w 130060"/>
                  <a:gd name="connsiteY2" fmla="*/ 0 h 138033"/>
                  <a:gd name="connsiteX3" fmla="*/ 130057 w 130060"/>
                  <a:gd name="connsiteY3" fmla="*/ 68710 h 138033"/>
                  <a:gd name="connsiteX4" fmla="*/ 65335 w 130060"/>
                  <a:gd name="connsiteY4" fmla="*/ 138034 h 138033"/>
                  <a:gd name="connsiteX5" fmla="*/ 65335 w 130060"/>
                  <a:gd name="connsiteY5" fmla="*/ 116255 h 138033"/>
                  <a:gd name="connsiteX6" fmla="*/ 98463 w 130060"/>
                  <a:gd name="connsiteY6" fmla="*/ 69324 h 138033"/>
                  <a:gd name="connsiteX7" fmla="*/ 65029 w 130060"/>
                  <a:gd name="connsiteY7" fmla="*/ 21779 h 138033"/>
                  <a:gd name="connsiteX8" fmla="*/ 31594 w 130060"/>
                  <a:gd name="connsiteY8" fmla="*/ 69630 h 138033"/>
                  <a:gd name="connsiteX9" fmla="*/ 65335 w 130060"/>
                  <a:gd name="connsiteY9" fmla="*/ 116255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0060" h="138033">
                    <a:moveTo>
                      <a:pt x="65335" y="138034"/>
                    </a:moveTo>
                    <a:cubicBezTo>
                      <a:pt x="23619" y="138034"/>
                      <a:pt x="0" y="111040"/>
                      <a:pt x="0" y="69324"/>
                    </a:cubicBezTo>
                    <a:cubicBezTo>
                      <a:pt x="0" y="27607"/>
                      <a:pt x="23619" y="0"/>
                      <a:pt x="65335" y="0"/>
                    </a:cubicBezTo>
                    <a:cubicBezTo>
                      <a:pt x="106745" y="0"/>
                      <a:pt x="130057" y="26993"/>
                      <a:pt x="130057" y="68710"/>
                    </a:cubicBezTo>
                    <a:cubicBezTo>
                      <a:pt x="130364" y="110427"/>
                      <a:pt x="107052" y="138034"/>
                      <a:pt x="65335" y="138034"/>
                    </a:cubicBezTo>
                    <a:close/>
                    <a:moveTo>
                      <a:pt x="65335" y="116255"/>
                    </a:moveTo>
                    <a:cubicBezTo>
                      <a:pt x="87727" y="116255"/>
                      <a:pt x="98463" y="100918"/>
                      <a:pt x="98463" y="69324"/>
                    </a:cubicBezTo>
                    <a:cubicBezTo>
                      <a:pt x="98463" y="38036"/>
                      <a:pt x="87421" y="21779"/>
                      <a:pt x="65029" y="21779"/>
                    </a:cubicBezTo>
                    <a:cubicBezTo>
                      <a:pt x="42330" y="22085"/>
                      <a:pt x="31594" y="38343"/>
                      <a:pt x="31594" y="69630"/>
                    </a:cubicBezTo>
                    <a:cubicBezTo>
                      <a:pt x="31594" y="100611"/>
                      <a:pt x="42943" y="116255"/>
                      <a:pt x="65335" y="11625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8187FE85-88D6-0B4A-B43E-C5133FDB2DFC}"/>
                  </a:ext>
                </a:extLst>
              </p:cNvPr>
              <p:cNvSpPr/>
              <p:nvPr/>
            </p:nvSpPr>
            <p:spPr>
              <a:xfrm>
                <a:off x="11596875" y="6533629"/>
                <a:ext cx="118708" cy="135273"/>
              </a:xfrm>
              <a:custGeom>
                <a:avLst/>
                <a:gdLst>
                  <a:gd name="connsiteX0" fmla="*/ 2147 w 118708"/>
                  <a:gd name="connsiteY0" fmla="*/ 135273 h 135273"/>
                  <a:gd name="connsiteX1" fmla="*/ 0 w 118708"/>
                  <a:gd name="connsiteY1" fmla="*/ 133126 h 135273"/>
                  <a:gd name="connsiteX2" fmla="*/ 920 w 118708"/>
                  <a:gd name="connsiteY2" fmla="*/ 73005 h 135273"/>
                  <a:gd name="connsiteX3" fmla="*/ 614 w 118708"/>
                  <a:gd name="connsiteY3" fmla="*/ 5215 h 135273"/>
                  <a:gd name="connsiteX4" fmla="*/ 2761 w 118708"/>
                  <a:gd name="connsiteY4" fmla="*/ 3067 h 135273"/>
                  <a:gd name="connsiteX5" fmla="*/ 28527 w 118708"/>
                  <a:gd name="connsiteY5" fmla="*/ 3067 h 135273"/>
                  <a:gd name="connsiteX6" fmla="*/ 30674 w 118708"/>
                  <a:gd name="connsiteY6" fmla="*/ 5215 h 135273"/>
                  <a:gd name="connsiteX7" fmla="*/ 29754 w 118708"/>
                  <a:gd name="connsiteY7" fmla="*/ 22392 h 135273"/>
                  <a:gd name="connsiteX8" fmla="*/ 73004 w 118708"/>
                  <a:gd name="connsiteY8" fmla="*/ 0 h 135273"/>
                  <a:gd name="connsiteX9" fmla="*/ 118095 w 118708"/>
                  <a:gd name="connsiteY9" fmla="*/ 51839 h 135273"/>
                  <a:gd name="connsiteX10" fmla="*/ 118095 w 118708"/>
                  <a:gd name="connsiteY10" fmla="*/ 79139 h 135273"/>
                  <a:gd name="connsiteX11" fmla="*/ 118708 w 118708"/>
                  <a:gd name="connsiteY11" fmla="*/ 133126 h 135273"/>
                  <a:gd name="connsiteX12" fmla="*/ 116561 w 118708"/>
                  <a:gd name="connsiteY12" fmla="*/ 135273 h 135273"/>
                  <a:gd name="connsiteX13" fmla="*/ 89261 w 118708"/>
                  <a:gd name="connsiteY13" fmla="*/ 135273 h 135273"/>
                  <a:gd name="connsiteX14" fmla="*/ 87114 w 118708"/>
                  <a:gd name="connsiteY14" fmla="*/ 133126 h 135273"/>
                  <a:gd name="connsiteX15" fmla="*/ 87727 w 118708"/>
                  <a:gd name="connsiteY15" fmla="*/ 79139 h 135273"/>
                  <a:gd name="connsiteX16" fmla="*/ 87727 w 118708"/>
                  <a:gd name="connsiteY16" fmla="*/ 52760 h 135273"/>
                  <a:gd name="connsiteX17" fmla="*/ 63495 w 118708"/>
                  <a:gd name="connsiteY17" fmla="*/ 24233 h 135273"/>
                  <a:gd name="connsiteX18" fmla="*/ 30981 w 118708"/>
                  <a:gd name="connsiteY18" fmla="*/ 64722 h 135273"/>
                  <a:gd name="connsiteX19" fmla="*/ 30981 w 118708"/>
                  <a:gd name="connsiteY19" fmla="*/ 79139 h 135273"/>
                  <a:gd name="connsiteX20" fmla="*/ 31594 w 118708"/>
                  <a:gd name="connsiteY20" fmla="*/ 133126 h 135273"/>
                  <a:gd name="connsiteX21" fmla="*/ 29447 w 118708"/>
                  <a:gd name="connsiteY21" fmla="*/ 135273 h 135273"/>
                  <a:gd name="connsiteX22" fmla="*/ 2147 w 118708"/>
                  <a:gd name="connsiteY22" fmla="*/ 135273 h 135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8708" h="135273">
                    <a:moveTo>
                      <a:pt x="2147" y="135273"/>
                    </a:moveTo>
                    <a:cubicBezTo>
                      <a:pt x="1227" y="135273"/>
                      <a:pt x="0" y="134353"/>
                      <a:pt x="0" y="133126"/>
                    </a:cubicBezTo>
                    <a:lnTo>
                      <a:pt x="920" y="73005"/>
                    </a:lnTo>
                    <a:lnTo>
                      <a:pt x="614" y="5215"/>
                    </a:lnTo>
                    <a:cubicBezTo>
                      <a:pt x="614" y="4294"/>
                      <a:pt x="1534" y="3067"/>
                      <a:pt x="2761" y="3067"/>
                    </a:cubicBezTo>
                    <a:lnTo>
                      <a:pt x="28527" y="3067"/>
                    </a:lnTo>
                    <a:cubicBezTo>
                      <a:pt x="29447" y="3067"/>
                      <a:pt x="30674" y="3988"/>
                      <a:pt x="30674" y="5215"/>
                    </a:cubicBezTo>
                    <a:lnTo>
                      <a:pt x="29754" y="22392"/>
                    </a:lnTo>
                    <a:cubicBezTo>
                      <a:pt x="38342" y="10122"/>
                      <a:pt x="53373" y="0"/>
                      <a:pt x="73004" y="0"/>
                    </a:cubicBezTo>
                    <a:cubicBezTo>
                      <a:pt x="100304" y="0"/>
                      <a:pt x="118095" y="18404"/>
                      <a:pt x="118095" y="51839"/>
                    </a:cubicBezTo>
                    <a:lnTo>
                      <a:pt x="118095" y="79139"/>
                    </a:lnTo>
                    <a:lnTo>
                      <a:pt x="118708" y="133126"/>
                    </a:lnTo>
                    <a:cubicBezTo>
                      <a:pt x="118708" y="134046"/>
                      <a:pt x="117788" y="135273"/>
                      <a:pt x="116561" y="135273"/>
                    </a:cubicBezTo>
                    <a:lnTo>
                      <a:pt x="89261" y="135273"/>
                    </a:lnTo>
                    <a:cubicBezTo>
                      <a:pt x="88341" y="135273"/>
                      <a:pt x="87114" y="134353"/>
                      <a:pt x="87114" y="133126"/>
                    </a:cubicBezTo>
                    <a:lnTo>
                      <a:pt x="87727" y="79139"/>
                    </a:lnTo>
                    <a:lnTo>
                      <a:pt x="87727" y="52760"/>
                    </a:lnTo>
                    <a:cubicBezTo>
                      <a:pt x="87727" y="34048"/>
                      <a:pt x="77605" y="24233"/>
                      <a:pt x="63495" y="24233"/>
                    </a:cubicBezTo>
                    <a:cubicBezTo>
                      <a:pt x="48158" y="24233"/>
                      <a:pt x="33435" y="37422"/>
                      <a:pt x="30981" y="64722"/>
                    </a:cubicBezTo>
                    <a:lnTo>
                      <a:pt x="30981" y="79139"/>
                    </a:lnTo>
                    <a:lnTo>
                      <a:pt x="31594" y="133126"/>
                    </a:lnTo>
                    <a:cubicBezTo>
                      <a:pt x="31594" y="134046"/>
                      <a:pt x="30674" y="135273"/>
                      <a:pt x="29447" y="135273"/>
                    </a:cubicBezTo>
                    <a:lnTo>
                      <a:pt x="2147" y="135273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EC12B66F-F2BB-813A-30E5-AD23E62E2E5F}"/>
                  </a:ext>
                </a:extLst>
              </p:cNvPr>
              <p:cNvSpPr/>
              <p:nvPr/>
            </p:nvSpPr>
            <p:spPr>
              <a:xfrm>
                <a:off x="11181243" y="6533629"/>
                <a:ext cx="129443" cy="138033"/>
              </a:xfrm>
              <a:custGeom>
                <a:avLst/>
                <a:gdLst>
                  <a:gd name="connsiteX0" fmla="*/ 129444 w 129443"/>
                  <a:gd name="connsiteY0" fmla="*/ 72698 h 138033"/>
                  <a:gd name="connsiteX1" fmla="*/ 127297 w 129443"/>
                  <a:gd name="connsiteY1" fmla="*/ 74845 h 138033"/>
                  <a:gd name="connsiteX2" fmla="*/ 30981 w 129443"/>
                  <a:gd name="connsiteY2" fmla="*/ 74845 h 138033"/>
                  <a:gd name="connsiteX3" fmla="*/ 65949 w 129443"/>
                  <a:gd name="connsiteY3" fmla="*/ 116255 h 138033"/>
                  <a:gd name="connsiteX4" fmla="*/ 95396 w 129443"/>
                  <a:gd name="connsiteY4" fmla="*/ 95090 h 138033"/>
                  <a:gd name="connsiteX5" fmla="*/ 95396 w 129443"/>
                  <a:gd name="connsiteY5" fmla="*/ 95090 h 138033"/>
                  <a:gd name="connsiteX6" fmla="*/ 97850 w 129443"/>
                  <a:gd name="connsiteY6" fmla="*/ 92943 h 138033"/>
                  <a:gd name="connsiteX7" fmla="*/ 123616 w 129443"/>
                  <a:gd name="connsiteY7" fmla="*/ 92943 h 138033"/>
                  <a:gd name="connsiteX8" fmla="*/ 125456 w 129443"/>
                  <a:gd name="connsiteY8" fmla="*/ 95090 h 138033"/>
                  <a:gd name="connsiteX9" fmla="*/ 65335 w 129443"/>
                  <a:gd name="connsiteY9" fmla="*/ 138034 h 138033"/>
                  <a:gd name="connsiteX10" fmla="*/ 0 w 129443"/>
                  <a:gd name="connsiteY10" fmla="*/ 69324 h 138033"/>
                  <a:gd name="connsiteX11" fmla="*/ 64415 w 129443"/>
                  <a:gd name="connsiteY11" fmla="*/ 0 h 138033"/>
                  <a:gd name="connsiteX12" fmla="*/ 129444 w 129443"/>
                  <a:gd name="connsiteY12" fmla="*/ 72698 h 138033"/>
                  <a:gd name="connsiteX13" fmla="*/ 96009 w 129443"/>
                  <a:gd name="connsiteY13" fmla="*/ 53987 h 138033"/>
                  <a:gd name="connsiteX14" fmla="*/ 64722 w 129443"/>
                  <a:gd name="connsiteY14" fmla="*/ 21472 h 138033"/>
                  <a:gd name="connsiteX15" fmla="*/ 31901 w 129443"/>
                  <a:gd name="connsiteY15" fmla="*/ 53987 h 138033"/>
                  <a:gd name="connsiteX16" fmla="*/ 96009 w 129443"/>
                  <a:gd name="connsiteY16" fmla="*/ 53987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9443" h="138033">
                    <a:moveTo>
                      <a:pt x="129444" y="72698"/>
                    </a:moveTo>
                    <a:cubicBezTo>
                      <a:pt x="129444" y="73618"/>
                      <a:pt x="128524" y="74845"/>
                      <a:pt x="127297" y="74845"/>
                    </a:cubicBezTo>
                    <a:lnTo>
                      <a:pt x="30981" y="74845"/>
                    </a:lnTo>
                    <a:cubicBezTo>
                      <a:pt x="32208" y="103065"/>
                      <a:pt x="43864" y="116255"/>
                      <a:pt x="65949" y="116255"/>
                    </a:cubicBezTo>
                    <a:cubicBezTo>
                      <a:pt x="80979" y="116255"/>
                      <a:pt x="91102" y="109200"/>
                      <a:pt x="95396" y="95090"/>
                    </a:cubicBezTo>
                    <a:lnTo>
                      <a:pt x="95396" y="95090"/>
                    </a:lnTo>
                    <a:cubicBezTo>
                      <a:pt x="95703" y="93863"/>
                      <a:pt x="96930" y="92943"/>
                      <a:pt x="97850" y="92943"/>
                    </a:cubicBezTo>
                    <a:lnTo>
                      <a:pt x="123616" y="92943"/>
                    </a:lnTo>
                    <a:cubicBezTo>
                      <a:pt x="124536" y="92943"/>
                      <a:pt x="125763" y="93863"/>
                      <a:pt x="125456" y="95090"/>
                    </a:cubicBezTo>
                    <a:cubicBezTo>
                      <a:pt x="120548" y="119016"/>
                      <a:pt x="99077" y="138034"/>
                      <a:pt x="65335" y="138034"/>
                    </a:cubicBezTo>
                    <a:cubicBezTo>
                      <a:pt x="22699" y="138034"/>
                      <a:pt x="0" y="109507"/>
                      <a:pt x="0" y="69324"/>
                    </a:cubicBezTo>
                    <a:cubicBezTo>
                      <a:pt x="0" y="27607"/>
                      <a:pt x="24232" y="0"/>
                      <a:pt x="64415" y="0"/>
                    </a:cubicBezTo>
                    <a:cubicBezTo>
                      <a:pt x="105518" y="0"/>
                      <a:pt x="128524" y="27607"/>
                      <a:pt x="129444" y="72698"/>
                    </a:cubicBezTo>
                    <a:close/>
                    <a:moveTo>
                      <a:pt x="96009" y="53987"/>
                    </a:moveTo>
                    <a:cubicBezTo>
                      <a:pt x="94782" y="36809"/>
                      <a:pt x="84967" y="21472"/>
                      <a:pt x="64722" y="21472"/>
                    </a:cubicBezTo>
                    <a:cubicBezTo>
                      <a:pt x="46318" y="21472"/>
                      <a:pt x="35275" y="32821"/>
                      <a:pt x="31901" y="53987"/>
                    </a:cubicBezTo>
                    <a:lnTo>
                      <a:pt x="96009" y="5398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4393E9C-00AC-3C45-4C44-2E22785611D3}"/>
                  </a:ext>
                </a:extLst>
              </p:cNvPr>
              <p:cNvSpPr/>
              <p:nvPr/>
            </p:nvSpPr>
            <p:spPr>
              <a:xfrm>
                <a:off x="11317129" y="6534549"/>
                <a:ext cx="126990" cy="184679"/>
              </a:xfrm>
              <a:custGeom>
                <a:avLst/>
                <a:gdLst>
                  <a:gd name="connsiteX0" fmla="*/ 126990 w 126990"/>
                  <a:gd name="connsiteY0" fmla="*/ 4294 h 184679"/>
                  <a:gd name="connsiteX1" fmla="*/ 124843 w 126990"/>
                  <a:gd name="connsiteY1" fmla="*/ 2147 h 184679"/>
                  <a:gd name="connsiteX2" fmla="*/ 97850 w 126990"/>
                  <a:gd name="connsiteY2" fmla="*/ 2147 h 184679"/>
                  <a:gd name="connsiteX3" fmla="*/ 95703 w 126990"/>
                  <a:gd name="connsiteY3" fmla="*/ 4294 h 184679"/>
                  <a:gd name="connsiteX4" fmla="*/ 96316 w 126990"/>
                  <a:gd name="connsiteY4" fmla="*/ 19018 h 184679"/>
                  <a:gd name="connsiteX5" fmla="*/ 56747 w 126990"/>
                  <a:gd name="connsiteY5" fmla="*/ 0 h 184679"/>
                  <a:gd name="connsiteX6" fmla="*/ 0 w 126990"/>
                  <a:gd name="connsiteY6" fmla="*/ 67483 h 184679"/>
                  <a:gd name="connsiteX7" fmla="*/ 57974 w 126990"/>
                  <a:gd name="connsiteY7" fmla="*/ 133433 h 184679"/>
                  <a:gd name="connsiteX8" fmla="*/ 97543 w 126990"/>
                  <a:gd name="connsiteY8" fmla="*/ 112574 h 184679"/>
                  <a:gd name="connsiteX9" fmla="*/ 97543 w 126990"/>
                  <a:gd name="connsiteY9" fmla="*/ 127605 h 184679"/>
                  <a:gd name="connsiteX10" fmla="*/ 65336 w 126990"/>
                  <a:gd name="connsiteY10" fmla="*/ 163187 h 184679"/>
                  <a:gd name="connsiteX11" fmla="*/ 35889 w 126990"/>
                  <a:gd name="connsiteY11" fmla="*/ 145702 h 184679"/>
                  <a:gd name="connsiteX12" fmla="*/ 33435 w 126990"/>
                  <a:gd name="connsiteY12" fmla="*/ 143555 h 184679"/>
                  <a:gd name="connsiteX13" fmla="*/ 6748 w 126990"/>
                  <a:gd name="connsiteY13" fmla="*/ 143555 h 184679"/>
                  <a:gd name="connsiteX14" fmla="*/ 4601 w 126990"/>
                  <a:gd name="connsiteY14" fmla="*/ 145702 h 184679"/>
                  <a:gd name="connsiteX15" fmla="*/ 64109 w 126990"/>
                  <a:gd name="connsiteY15" fmla="*/ 184658 h 184679"/>
                  <a:gd name="connsiteX16" fmla="*/ 125763 w 126990"/>
                  <a:gd name="connsiteY16" fmla="*/ 127911 h 184679"/>
                  <a:gd name="connsiteX17" fmla="*/ 125456 w 126990"/>
                  <a:gd name="connsiteY17" fmla="*/ 63189 h 184679"/>
                  <a:gd name="connsiteX18" fmla="*/ 126990 w 126990"/>
                  <a:gd name="connsiteY18" fmla="*/ 4294 h 184679"/>
                  <a:gd name="connsiteX19" fmla="*/ 65029 w 126990"/>
                  <a:gd name="connsiteY19" fmla="*/ 112267 h 184679"/>
                  <a:gd name="connsiteX20" fmla="*/ 31594 w 126990"/>
                  <a:gd name="connsiteY20" fmla="*/ 66256 h 184679"/>
                  <a:gd name="connsiteX21" fmla="*/ 65029 w 126990"/>
                  <a:gd name="connsiteY21" fmla="*/ 21779 h 184679"/>
                  <a:gd name="connsiteX22" fmla="*/ 97236 w 126990"/>
                  <a:gd name="connsiteY22" fmla="*/ 68710 h 184679"/>
                  <a:gd name="connsiteX23" fmla="*/ 65029 w 126990"/>
                  <a:gd name="connsiteY23" fmla="*/ 112267 h 184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6990" h="184679">
                    <a:moveTo>
                      <a:pt x="126990" y="4294"/>
                    </a:moveTo>
                    <a:cubicBezTo>
                      <a:pt x="126990" y="3374"/>
                      <a:pt x="126070" y="2147"/>
                      <a:pt x="124843" y="2147"/>
                    </a:cubicBezTo>
                    <a:lnTo>
                      <a:pt x="97850" y="2147"/>
                    </a:lnTo>
                    <a:cubicBezTo>
                      <a:pt x="96930" y="2147"/>
                      <a:pt x="95703" y="3067"/>
                      <a:pt x="95703" y="4294"/>
                    </a:cubicBezTo>
                    <a:lnTo>
                      <a:pt x="96316" y="19018"/>
                    </a:lnTo>
                    <a:cubicBezTo>
                      <a:pt x="87727" y="6748"/>
                      <a:pt x="74231" y="0"/>
                      <a:pt x="56747" y="0"/>
                    </a:cubicBezTo>
                    <a:cubicBezTo>
                      <a:pt x="21165" y="0"/>
                      <a:pt x="0" y="30367"/>
                      <a:pt x="0" y="67483"/>
                    </a:cubicBezTo>
                    <a:cubicBezTo>
                      <a:pt x="0" y="104906"/>
                      <a:pt x="19631" y="133433"/>
                      <a:pt x="57974" y="133433"/>
                    </a:cubicBezTo>
                    <a:cubicBezTo>
                      <a:pt x="75458" y="133433"/>
                      <a:pt x="88648" y="125764"/>
                      <a:pt x="97543" y="112574"/>
                    </a:cubicBezTo>
                    <a:lnTo>
                      <a:pt x="97543" y="127605"/>
                    </a:lnTo>
                    <a:cubicBezTo>
                      <a:pt x="97543" y="152451"/>
                      <a:pt x="84353" y="163187"/>
                      <a:pt x="65336" y="163187"/>
                    </a:cubicBezTo>
                    <a:cubicBezTo>
                      <a:pt x="49385" y="163187"/>
                      <a:pt x="38956" y="157358"/>
                      <a:pt x="35889" y="145702"/>
                    </a:cubicBezTo>
                    <a:cubicBezTo>
                      <a:pt x="35582" y="144475"/>
                      <a:pt x="34662" y="143555"/>
                      <a:pt x="33435" y="143555"/>
                    </a:cubicBezTo>
                    <a:lnTo>
                      <a:pt x="6748" y="143555"/>
                    </a:lnTo>
                    <a:cubicBezTo>
                      <a:pt x="5828" y="143555"/>
                      <a:pt x="4601" y="144475"/>
                      <a:pt x="4601" y="145702"/>
                    </a:cubicBezTo>
                    <a:cubicBezTo>
                      <a:pt x="8282" y="172389"/>
                      <a:pt x="32514" y="185272"/>
                      <a:pt x="64109" y="184658"/>
                    </a:cubicBezTo>
                    <a:cubicBezTo>
                      <a:pt x="104598" y="184658"/>
                      <a:pt x="126070" y="163493"/>
                      <a:pt x="125763" y="127911"/>
                    </a:cubicBezTo>
                    <a:lnTo>
                      <a:pt x="125456" y="63189"/>
                    </a:lnTo>
                    <a:lnTo>
                      <a:pt x="126990" y="4294"/>
                    </a:lnTo>
                    <a:close/>
                    <a:moveTo>
                      <a:pt x="65029" y="112267"/>
                    </a:moveTo>
                    <a:cubicBezTo>
                      <a:pt x="43250" y="112574"/>
                      <a:pt x="31594" y="96317"/>
                      <a:pt x="31594" y="66256"/>
                    </a:cubicBezTo>
                    <a:cubicBezTo>
                      <a:pt x="31594" y="38036"/>
                      <a:pt x="42943" y="21165"/>
                      <a:pt x="65029" y="21779"/>
                    </a:cubicBezTo>
                    <a:cubicBezTo>
                      <a:pt x="86194" y="22085"/>
                      <a:pt x="97543" y="38649"/>
                      <a:pt x="97236" y="68710"/>
                    </a:cubicBezTo>
                    <a:cubicBezTo>
                      <a:pt x="96930" y="97851"/>
                      <a:pt x="85274" y="112267"/>
                      <a:pt x="65029" y="112267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E83C80E6-A59A-2B9A-FC54-089636598AA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725550" y="525572"/>
            <a:ext cx="6079528" cy="6079528"/>
          </a:xfrm>
          <a:prstGeom prst="rect">
            <a:avLst/>
          </a:prstGeom>
        </p:spPr>
      </p:pic>
      <p:sp>
        <p:nvSpPr>
          <p:cNvPr id="18" name="Slide Number Static">
            <a:extLst>
              <a:ext uri="{FF2B5EF4-FFF2-40B4-BE49-F238E27FC236}">
                <a16:creationId xmlns:a16="http://schemas.microsoft.com/office/drawing/2014/main" id="{3B444DDE-CDF5-23C1-E37E-6AA0D6139D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324319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4983431" cy="3230114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BC662B2-6BFD-3ECB-9D17-EE6911CDB175}"/>
              </a:ext>
            </a:extLst>
          </p:cNvPr>
          <p:cNvSpPr/>
          <p:nvPr/>
        </p:nvSpPr>
        <p:spPr>
          <a:xfrm>
            <a:off x="10432800" y="6195600"/>
            <a:ext cx="1555167" cy="817773"/>
          </a:xfrm>
          <a:custGeom>
            <a:avLst/>
            <a:gdLst>
              <a:gd name="connsiteX0" fmla="*/ 0 w 1555167"/>
              <a:gd name="connsiteY0" fmla="*/ 0 h 817773"/>
              <a:gd name="connsiteX1" fmla="*/ 1555168 w 1555167"/>
              <a:gd name="connsiteY1" fmla="*/ 0 h 817773"/>
              <a:gd name="connsiteX2" fmla="*/ 1555168 w 1555167"/>
              <a:gd name="connsiteY2" fmla="*/ 817773 h 817773"/>
              <a:gd name="connsiteX3" fmla="*/ 0 w 1555167"/>
              <a:gd name="connsiteY3" fmla="*/ 817773 h 81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5167" h="817773">
                <a:moveTo>
                  <a:pt x="0" y="0"/>
                </a:moveTo>
                <a:lnTo>
                  <a:pt x="1555168" y="0"/>
                </a:lnTo>
                <a:lnTo>
                  <a:pt x="1555168" y="817773"/>
                </a:lnTo>
                <a:lnTo>
                  <a:pt x="0" y="817773"/>
                </a:lnTo>
                <a:close/>
              </a:path>
            </a:pathLst>
          </a:custGeom>
          <a:solidFill>
            <a:srgbClr val="FFFFFF">
              <a:alpha val="0"/>
            </a:srgbClr>
          </a:solidFill>
          <a:ln w="306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C2A6EA-6AED-555A-3E26-423B06CBBADF}"/>
              </a:ext>
            </a:extLst>
          </p:cNvPr>
          <p:cNvGrpSpPr/>
          <p:nvPr userDrawn="1"/>
        </p:nvGrpSpPr>
        <p:grpSpPr>
          <a:xfrm>
            <a:off x="10735212" y="6498097"/>
            <a:ext cx="980720" cy="221131"/>
            <a:chOff x="10735212" y="6498097"/>
            <a:chExt cx="980720" cy="221131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F655E331-FFBC-0DBF-185C-C940DEAA8064}"/>
                </a:ext>
              </a:extLst>
            </p:cNvPr>
            <p:cNvSpPr/>
            <p:nvPr/>
          </p:nvSpPr>
          <p:spPr>
            <a:xfrm rot="20400074">
              <a:off x="10735212" y="6498097"/>
              <a:ext cx="212570" cy="212571"/>
            </a:xfrm>
            <a:custGeom>
              <a:avLst/>
              <a:gdLst>
                <a:gd name="connsiteX0" fmla="*/ 0 w 212570"/>
                <a:gd name="connsiteY0" fmla="*/ 0 h 212571"/>
                <a:gd name="connsiteX1" fmla="*/ 212570 w 212570"/>
                <a:gd name="connsiteY1" fmla="*/ 0 h 212571"/>
                <a:gd name="connsiteX2" fmla="*/ 212570 w 212570"/>
                <a:gd name="connsiteY2" fmla="*/ 212572 h 212571"/>
                <a:gd name="connsiteX3" fmla="*/ 0 w 212570"/>
                <a:gd name="connsiteY3" fmla="*/ 212572 h 21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570" h="212571">
                  <a:moveTo>
                    <a:pt x="0" y="0"/>
                  </a:moveTo>
                  <a:lnTo>
                    <a:pt x="212570" y="0"/>
                  </a:lnTo>
                  <a:lnTo>
                    <a:pt x="212570" y="212572"/>
                  </a:lnTo>
                  <a:lnTo>
                    <a:pt x="0" y="212572"/>
                  </a:lnTo>
                  <a:close/>
                </a:path>
              </a:pathLst>
            </a:custGeom>
            <a:solidFill>
              <a:schemeClr val="tx1"/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6F638C19-342F-E9B3-BFE2-28C15597D1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1044131" y="6533629"/>
              <a:ext cx="671801" cy="185599"/>
              <a:chOff x="11044131" y="6533629"/>
              <a:chExt cx="671801" cy="185599"/>
            </a:xfrm>
            <a:solidFill>
              <a:schemeClr val="tx1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362E93B0-30F7-97B2-7670-A16FBB5A1CA7}"/>
                  </a:ext>
                </a:extLst>
              </p:cNvPr>
              <p:cNvSpPr/>
              <p:nvPr/>
            </p:nvSpPr>
            <p:spPr>
              <a:xfrm>
                <a:off x="11044131" y="6534242"/>
                <a:ext cx="126990" cy="137113"/>
              </a:xfrm>
              <a:custGeom>
                <a:avLst/>
                <a:gdLst>
                  <a:gd name="connsiteX0" fmla="*/ 97850 w 126990"/>
                  <a:gd name="connsiteY0" fmla="*/ 134660 h 137113"/>
                  <a:gd name="connsiteX1" fmla="*/ 95703 w 126990"/>
                  <a:gd name="connsiteY1" fmla="*/ 132512 h 137113"/>
                  <a:gd name="connsiteX2" fmla="*/ 96316 w 126990"/>
                  <a:gd name="connsiteY2" fmla="*/ 116255 h 137113"/>
                  <a:gd name="connsiteX3" fmla="*/ 55827 w 126990"/>
                  <a:gd name="connsiteY3" fmla="*/ 137114 h 137113"/>
                  <a:gd name="connsiteX4" fmla="*/ 0 w 126990"/>
                  <a:gd name="connsiteY4" fmla="*/ 69017 h 137113"/>
                  <a:gd name="connsiteX5" fmla="*/ 56440 w 126990"/>
                  <a:gd name="connsiteY5" fmla="*/ 0 h 137113"/>
                  <a:gd name="connsiteX6" fmla="*/ 96316 w 126990"/>
                  <a:gd name="connsiteY6" fmla="*/ 19631 h 137113"/>
                  <a:gd name="connsiteX7" fmla="*/ 95396 w 126990"/>
                  <a:gd name="connsiteY7" fmla="*/ 4908 h 137113"/>
                  <a:gd name="connsiteX8" fmla="*/ 97543 w 126990"/>
                  <a:gd name="connsiteY8" fmla="*/ 2761 h 137113"/>
                  <a:gd name="connsiteX9" fmla="*/ 124843 w 126990"/>
                  <a:gd name="connsiteY9" fmla="*/ 2761 h 137113"/>
                  <a:gd name="connsiteX10" fmla="*/ 126990 w 126990"/>
                  <a:gd name="connsiteY10" fmla="*/ 4908 h 137113"/>
                  <a:gd name="connsiteX11" fmla="*/ 126070 w 126990"/>
                  <a:gd name="connsiteY11" fmla="*/ 68403 h 137113"/>
                  <a:gd name="connsiteX12" fmla="*/ 126990 w 126990"/>
                  <a:gd name="connsiteY12" fmla="*/ 132819 h 137113"/>
                  <a:gd name="connsiteX13" fmla="*/ 124843 w 126990"/>
                  <a:gd name="connsiteY13" fmla="*/ 134966 h 137113"/>
                  <a:gd name="connsiteX14" fmla="*/ 97850 w 126990"/>
                  <a:gd name="connsiteY14" fmla="*/ 134966 h 137113"/>
                  <a:gd name="connsiteX15" fmla="*/ 64108 w 126990"/>
                  <a:gd name="connsiteY15" fmla="*/ 115335 h 137113"/>
                  <a:gd name="connsiteX16" fmla="*/ 97236 w 126990"/>
                  <a:gd name="connsiteY16" fmla="*/ 69324 h 137113"/>
                  <a:gd name="connsiteX17" fmla="*/ 65029 w 126990"/>
                  <a:gd name="connsiteY17" fmla="*/ 21779 h 137113"/>
                  <a:gd name="connsiteX18" fmla="*/ 31594 w 126990"/>
                  <a:gd name="connsiteY18" fmla="*/ 66870 h 137113"/>
                  <a:gd name="connsiteX19" fmla="*/ 64108 w 126990"/>
                  <a:gd name="connsiteY19" fmla="*/ 115335 h 137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990" h="137113">
                    <a:moveTo>
                      <a:pt x="97850" y="134660"/>
                    </a:moveTo>
                    <a:cubicBezTo>
                      <a:pt x="96930" y="134660"/>
                      <a:pt x="95703" y="133739"/>
                      <a:pt x="95703" y="132512"/>
                    </a:cubicBezTo>
                    <a:lnTo>
                      <a:pt x="96316" y="116255"/>
                    </a:lnTo>
                    <a:cubicBezTo>
                      <a:pt x="87421" y="129445"/>
                      <a:pt x="73617" y="137114"/>
                      <a:pt x="55827" y="137114"/>
                    </a:cubicBezTo>
                    <a:cubicBezTo>
                      <a:pt x="19325" y="137114"/>
                      <a:pt x="0" y="107360"/>
                      <a:pt x="0" y="69017"/>
                    </a:cubicBezTo>
                    <a:cubicBezTo>
                      <a:pt x="0" y="30674"/>
                      <a:pt x="21165" y="0"/>
                      <a:pt x="56440" y="0"/>
                    </a:cubicBezTo>
                    <a:cubicBezTo>
                      <a:pt x="73924" y="0"/>
                      <a:pt x="87421" y="6748"/>
                      <a:pt x="96316" y="19631"/>
                    </a:cubicBezTo>
                    <a:lnTo>
                      <a:pt x="95396" y="4908"/>
                    </a:lnTo>
                    <a:cubicBezTo>
                      <a:pt x="95396" y="3988"/>
                      <a:pt x="96316" y="2761"/>
                      <a:pt x="97543" y="2761"/>
                    </a:cubicBezTo>
                    <a:lnTo>
                      <a:pt x="124843" y="2761"/>
                    </a:lnTo>
                    <a:cubicBezTo>
                      <a:pt x="125763" y="2761"/>
                      <a:pt x="126990" y="3681"/>
                      <a:pt x="126990" y="4908"/>
                    </a:cubicBezTo>
                    <a:lnTo>
                      <a:pt x="126070" y="68403"/>
                    </a:lnTo>
                    <a:lnTo>
                      <a:pt x="126990" y="132819"/>
                    </a:lnTo>
                    <a:cubicBezTo>
                      <a:pt x="126990" y="133739"/>
                      <a:pt x="126070" y="134966"/>
                      <a:pt x="124843" y="134966"/>
                    </a:cubicBezTo>
                    <a:lnTo>
                      <a:pt x="97850" y="134966"/>
                    </a:lnTo>
                    <a:close/>
                    <a:moveTo>
                      <a:pt x="64108" y="115335"/>
                    </a:moveTo>
                    <a:cubicBezTo>
                      <a:pt x="84967" y="115335"/>
                      <a:pt x="96930" y="99998"/>
                      <a:pt x="97236" y="69324"/>
                    </a:cubicBezTo>
                    <a:cubicBezTo>
                      <a:pt x="97543" y="38956"/>
                      <a:pt x="85580" y="21779"/>
                      <a:pt x="65029" y="21779"/>
                    </a:cubicBezTo>
                    <a:cubicBezTo>
                      <a:pt x="42330" y="21472"/>
                      <a:pt x="31594" y="38649"/>
                      <a:pt x="31594" y="66870"/>
                    </a:cubicBezTo>
                    <a:cubicBezTo>
                      <a:pt x="31287" y="97544"/>
                      <a:pt x="42330" y="115335"/>
                      <a:pt x="64108" y="11533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15F38D3A-B53E-12A7-EA5B-CADB8E01CEA2}"/>
                  </a:ext>
                </a:extLst>
              </p:cNvPr>
              <p:cNvSpPr/>
              <p:nvPr/>
            </p:nvSpPr>
            <p:spPr>
              <a:xfrm>
                <a:off x="11454548" y="6533935"/>
                <a:ext cx="130060" cy="138033"/>
              </a:xfrm>
              <a:custGeom>
                <a:avLst/>
                <a:gdLst>
                  <a:gd name="connsiteX0" fmla="*/ 65335 w 130060"/>
                  <a:gd name="connsiteY0" fmla="*/ 138034 h 138033"/>
                  <a:gd name="connsiteX1" fmla="*/ 0 w 130060"/>
                  <a:gd name="connsiteY1" fmla="*/ 69324 h 138033"/>
                  <a:gd name="connsiteX2" fmla="*/ 65335 w 130060"/>
                  <a:gd name="connsiteY2" fmla="*/ 0 h 138033"/>
                  <a:gd name="connsiteX3" fmla="*/ 130057 w 130060"/>
                  <a:gd name="connsiteY3" fmla="*/ 68710 h 138033"/>
                  <a:gd name="connsiteX4" fmla="*/ 65335 w 130060"/>
                  <a:gd name="connsiteY4" fmla="*/ 138034 h 138033"/>
                  <a:gd name="connsiteX5" fmla="*/ 65335 w 130060"/>
                  <a:gd name="connsiteY5" fmla="*/ 116255 h 138033"/>
                  <a:gd name="connsiteX6" fmla="*/ 98463 w 130060"/>
                  <a:gd name="connsiteY6" fmla="*/ 69324 h 138033"/>
                  <a:gd name="connsiteX7" fmla="*/ 65029 w 130060"/>
                  <a:gd name="connsiteY7" fmla="*/ 21779 h 138033"/>
                  <a:gd name="connsiteX8" fmla="*/ 31594 w 130060"/>
                  <a:gd name="connsiteY8" fmla="*/ 69630 h 138033"/>
                  <a:gd name="connsiteX9" fmla="*/ 65335 w 130060"/>
                  <a:gd name="connsiteY9" fmla="*/ 116255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0060" h="138033">
                    <a:moveTo>
                      <a:pt x="65335" y="138034"/>
                    </a:moveTo>
                    <a:cubicBezTo>
                      <a:pt x="23619" y="138034"/>
                      <a:pt x="0" y="111040"/>
                      <a:pt x="0" y="69324"/>
                    </a:cubicBezTo>
                    <a:cubicBezTo>
                      <a:pt x="0" y="27607"/>
                      <a:pt x="23619" y="0"/>
                      <a:pt x="65335" y="0"/>
                    </a:cubicBezTo>
                    <a:cubicBezTo>
                      <a:pt x="106745" y="0"/>
                      <a:pt x="130057" y="26993"/>
                      <a:pt x="130057" y="68710"/>
                    </a:cubicBezTo>
                    <a:cubicBezTo>
                      <a:pt x="130364" y="110427"/>
                      <a:pt x="107052" y="138034"/>
                      <a:pt x="65335" y="138034"/>
                    </a:cubicBezTo>
                    <a:close/>
                    <a:moveTo>
                      <a:pt x="65335" y="116255"/>
                    </a:moveTo>
                    <a:cubicBezTo>
                      <a:pt x="87727" y="116255"/>
                      <a:pt x="98463" y="100918"/>
                      <a:pt x="98463" y="69324"/>
                    </a:cubicBezTo>
                    <a:cubicBezTo>
                      <a:pt x="98463" y="38036"/>
                      <a:pt x="87421" y="21779"/>
                      <a:pt x="65029" y="21779"/>
                    </a:cubicBezTo>
                    <a:cubicBezTo>
                      <a:pt x="42330" y="22085"/>
                      <a:pt x="31594" y="38343"/>
                      <a:pt x="31594" y="69630"/>
                    </a:cubicBezTo>
                    <a:cubicBezTo>
                      <a:pt x="31594" y="100611"/>
                      <a:pt x="42943" y="116255"/>
                      <a:pt x="65335" y="11625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8187FE85-88D6-0B4A-B43E-C5133FDB2DFC}"/>
                  </a:ext>
                </a:extLst>
              </p:cNvPr>
              <p:cNvSpPr/>
              <p:nvPr/>
            </p:nvSpPr>
            <p:spPr>
              <a:xfrm>
                <a:off x="11596875" y="6533629"/>
                <a:ext cx="118708" cy="135273"/>
              </a:xfrm>
              <a:custGeom>
                <a:avLst/>
                <a:gdLst>
                  <a:gd name="connsiteX0" fmla="*/ 2147 w 118708"/>
                  <a:gd name="connsiteY0" fmla="*/ 135273 h 135273"/>
                  <a:gd name="connsiteX1" fmla="*/ 0 w 118708"/>
                  <a:gd name="connsiteY1" fmla="*/ 133126 h 135273"/>
                  <a:gd name="connsiteX2" fmla="*/ 920 w 118708"/>
                  <a:gd name="connsiteY2" fmla="*/ 73005 h 135273"/>
                  <a:gd name="connsiteX3" fmla="*/ 614 w 118708"/>
                  <a:gd name="connsiteY3" fmla="*/ 5215 h 135273"/>
                  <a:gd name="connsiteX4" fmla="*/ 2761 w 118708"/>
                  <a:gd name="connsiteY4" fmla="*/ 3067 h 135273"/>
                  <a:gd name="connsiteX5" fmla="*/ 28527 w 118708"/>
                  <a:gd name="connsiteY5" fmla="*/ 3067 h 135273"/>
                  <a:gd name="connsiteX6" fmla="*/ 30674 w 118708"/>
                  <a:gd name="connsiteY6" fmla="*/ 5215 h 135273"/>
                  <a:gd name="connsiteX7" fmla="*/ 29754 w 118708"/>
                  <a:gd name="connsiteY7" fmla="*/ 22392 h 135273"/>
                  <a:gd name="connsiteX8" fmla="*/ 73004 w 118708"/>
                  <a:gd name="connsiteY8" fmla="*/ 0 h 135273"/>
                  <a:gd name="connsiteX9" fmla="*/ 118095 w 118708"/>
                  <a:gd name="connsiteY9" fmla="*/ 51839 h 135273"/>
                  <a:gd name="connsiteX10" fmla="*/ 118095 w 118708"/>
                  <a:gd name="connsiteY10" fmla="*/ 79139 h 135273"/>
                  <a:gd name="connsiteX11" fmla="*/ 118708 w 118708"/>
                  <a:gd name="connsiteY11" fmla="*/ 133126 h 135273"/>
                  <a:gd name="connsiteX12" fmla="*/ 116561 w 118708"/>
                  <a:gd name="connsiteY12" fmla="*/ 135273 h 135273"/>
                  <a:gd name="connsiteX13" fmla="*/ 89261 w 118708"/>
                  <a:gd name="connsiteY13" fmla="*/ 135273 h 135273"/>
                  <a:gd name="connsiteX14" fmla="*/ 87114 w 118708"/>
                  <a:gd name="connsiteY14" fmla="*/ 133126 h 135273"/>
                  <a:gd name="connsiteX15" fmla="*/ 87727 w 118708"/>
                  <a:gd name="connsiteY15" fmla="*/ 79139 h 135273"/>
                  <a:gd name="connsiteX16" fmla="*/ 87727 w 118708"/>
                  <a:gd name="connsiteY16" fmla="*/ 52760 h 135273"/>
                  <a:gd name="connsiteX17" fmla="*/ 63495 w 118708"/>
                  <a:gd name="connsiteY17" fmla="*/ 24233 h 135273"/>
                  <a:gd name="connsiteX18" fmla="*/ 30981 w 118708"/>
                  <a:gd name="connsiteY18" fmla="*/ 64722 h 135273"/>
                  <a:gd name="connsiteX19" fmla="*/ 30981 w 118708"/>
                  <a:gd name="connsiteY19" fmla="*/ 79139 h 135273"/>
                  <a:gd name="connsiteX20" fmla="*/ 31594 w 118708"/>
                  <a:gd name="connsiteY20" fmla="*/ 133126 h 135273"/>
                  <a:gd name="connsiteX21" fmla="*/ 29447 w 118708"/>
                  <a:gd name="connsiteY21" fmla="*/ 135273 h 135273"/>
                  <a:gd name="connsiteX22" fmla="*/ 2147 w 118708"/>
                  <a:gd name="connsiteY22" fmla="*/ 135273 h 135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8708" h="135273">
                    <a:moveTo>
                      <a:pt x="2147" y="135273"/>
                    </a:moveTo>
                    <a:cubicBezTo>
                      <a:pt x="1227" y="135273"/>
                      <a:pt x="0" y="134353"/>
                      <a:pt x="0" y="133126"/>
                    </a:cubicBezTo>
                    <a:lnTo>
                      <a:pt x="920" y="73005"/>
                    </a:lnTo>
                    <a:lnTo>
                      <a:pt x="614" y="5215"/>
                    </a:lnTo>
                    <a:cubicBezTo>
                      <a:pt x="614" y="4294"/>
                      <a:pt x="1534" y="3067"/>
                      <a:pt x="2761" y="3067"/>
                    </a:cubicBezTo>
                    <a:lnTo>
                      <a:pt x="28527" y="3067"/>
                    </a:lnTo>
                    <a:cubicBezTo>
                      <a:pt x="29447" y="3067"/>
                      <a:pt x="30674" y="3988"/>
                      <a:pt x="30674" y="5215"/>
                    </a:cubicBezTo>
                    <a:lnTo>
                      <a:pt x="29754" y="22392"/>
                    </a:lnTo>
                    <a:cubicBezTo>
                      <a:pt x="38342" y="10122"/>
                      <a:pt x="53373" y="0"/>
                      <a:pt x="73004" y="0"/>
                    </a:cubicBezTo>
                    <a:cubicBezTo>
                      <a:pt x="100304" y="0"/>
                      <a:pt x="118095" y="18404"/>
                      <a:pt x="118095" y="51839"/>
                    </a:cubicBezTo>
                    <a:lnTo>
                      <a:pt x="118095" y="79139"/>
                    </a:lnTo>
                    <a:lnTo>
                      <a:pt x="118708" y="133126"/>
                    </a:lnTo>
                    <a:cubicBezTo>
                      <a:pt x="118708" y="134046"/>
                      <a:pt x="117788" y="135273"/>
                      <a:pt x="116561" y="135273"/>
                    </a:cubicBezTo>
                    <a:lnTo>
                      <a:pt x="89261" y="135273"/>
                    </a:lnTo>
                    <a:cubicBezTo>
                      <a:pt x="88341" y="135273"/>
                      <a:pt x="87114" y="134353"/>
                      <a:pt x="87114" y="133126"/>
                    </a:cubicBezTo>
                    <a:lnTo>
                      <a:pt x="87727" y="79139"/>
                    </a:lnTo>
                    <a:lnTo>
                      <a:pt x="87727" y="52760"/>
                    </a:lnTo>
                    <a:cubicBezTo>
                      <a:pt x="87727" y="34048"/>
                      <a:pt x="77605" y="24233"/>
                      <a:pt x="63495" y="24233"/>
                    </a:cubicBezTo>
                    <a:cubicBezTo>
                      <a:pt x="48158" y="24233"/>
                      <a:pt x="33435" y="37422"/>
                      <a:pt x="30981" y="64722"/>
                    </a:cubicBezTo>
                    <a:lnTo>
                      <a:pt x="30981" y="79139"/>
                    </a:lnTo>
                    <a:lnTo>
                      <a:pt x="31594" y="133126"/>
                    </a:lnTo>
                    <a:cubicBezTo>
                      <a:pt x="31594" y="134046"/>
                      <a:pt x="30674" y="135273"/>
                      <a:pt x="29447" y="135273"/>
                    </a:cubicBezTo>
                    <a:lnTo>
                      <a:pt x="2147" y="135273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EC12B66F-F2BB-813A-30E5-AD23E62E2E5F}"/>
                  </a:ext>
                </a:extLst>
              </p:cNvPr>
              <p:cNvSpPr/>
              <p:nvPr/>
            </p:nvSpPr>
            <p:spPr>
              <a:xfrm>
                <a:off x="11181243" y="6533629"/>
                <a:ext cx="129443" cy="138033"/>
              </a:xfrm>
              <a:custGeom>
                <a:avLst/>
                <a:gdLst>
                  <a:gd name="connsiteX0" fmla="*/ 129444 w 129443"/>
                  <a:gd name="connsiteY0" fmla="*/ 72698 h 138033"/>
                  <a:gd name="connsiteX1" fmla="*/ 127297 w 129443"/>
                  <a:gd name="connsiteY1" fmla="*/ 74845 h 138033"/>
                  <a:gd name="connsiteX2" fmla="*/ 30981 w 129443"/>
                  <a:gd name="connsiteY2" fmla="*/ 74845 h 138033"/>
                  <a:gd name="connsiteX3" fmla="*/ 65949 w 129443"/>
                  <a:gd name="connsiteY3" fmla="*/ 116255 h 138033"/>
                  <a:gd name="connsiteX4" fmla="*/ 95396 w 129443"/>
                  <a:gd name="connsiteY4" fmla="*/ 95090 h 138033"/>
                  <a:gd name="connsiteX5" fmla="*/ 95396 w 129443"/>
                  <a:gd name="connsiteY5" fmla="*/ 95090 h 138033"/>
                  <a:gd name="connsiteX6" fmla="*/ 97850 w 129443"/>
                  <a:gd name="connsiteY6" fmla="*/ 92943 h 138033"/>
                  <a:gd name="connsiteX7" fmla="*/ 123616 w 129443"/>
                  <a:gd name="connsiteY7" fmla="*/ 92943 h 138033"/>
                  <a:gd name="connsiteX8" fmla="*/ 125456 w 129443"/>
                  <a:gd name="connsiteY8" fmla="*/ 95090 h 138033"/>
                  <a:gd name="connsiteX9" fmla="*/ 65335 w 129443"/>
                  <a:gd name="connsiteY9" fmla="*/ 138034 h 138033"/>
                  <a:gd name="connsiteX10" fmla="*/ 0 w 129443"/>
                  <a:gd name="connsiteY10" fmla="*/ 69324 h 138033"/>
                  <a:gd name="connsiteX11" fmla="*/ 64415 w 129443"/>
                  <a:gd name="connsiteY11" fmla="*/ 0 h 138033"/>
                  <a:gd name="connsiteX12" fmla="*/ 129444 w 129443"/>
                  <a:gd name="connsiteY12" fmla="*/ 72698 h 138033"/>
                  <a:gd name="connsiteX13" fmla="*/ 96009 w 129443"/>
                  <a:gd name="connsiteY13" fmla="*/ 53987 h 138033"/>
                  <a:gd name="connsiteX14" fmla="*/ 64722 w 129443"/>
                  <a:gd name="connsiteY14" fmla="*/ 21472 h 138033"/>
                  <a:gd name="connsiteX15" fmla="*/ 31901 w 129443"/>
                  <a:gd name="connsiteY15" fmla="*/ 53987 h 138033"/>
                  <a:gd name="connsiteX16" fmla="*/ 96009 w 129443"/>
                  <a:gd name="connsiteY16" fmla="*/ 53987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9443" h="138033">
                    <a:moveTo>
                      <a:pt x="129444" y="72698"/>
                    </a:moveTo>
                    <a:cubicBezTo>
                      <a:pt x="129444" y="73618"/>
                      <a:pt x="128524" y="74845"/>
                      <a:pt x="127297" y="74845"/>
                    </a:cubicBezTo>
                    <a:lnTo>
                      <a:pt x="30981" y="74845"/>
                    </a:lnTo>
                    <a:cubicBezTo>
                      <a:pt x="32208" y="103065"/>
                      <a:pt x="43864" y="116255"/>
                      <a:pt x="65949" y="116255"/>
                    </a:cubicBezTo>
                    <a:cubicBezTo>
                      <a:pt x="80979" y="116255"/>
                      <a:pt x="91102" y="109200"/>
                      <a:pt x="95396" y="95090"/>
                    </a:cubicBezTo>
                    <a:lnTo>
                      <a:pt x="95396" y="95090"/>
                    </a:lnTo>
                    <a:cubicBezTo>
                      <a:pt x="95703" y="93863"/>
                      <a:pt x="96930" y="92943"/>
                      <a:pt x="97850" y="92943"/>
                    </a:cubicBezTo>
                    <a:lnTo>
                      <a:pt x="123616" y="92943"/>
                    </a:lnTo>
                    <a:cubicBezTo>
                      <a:pt x="124536" y="92943"/>
                      <a:pt x="125763" y="93863"/>
                      <a:pt x="125456" y="95090"/>
                    </a:cubicBezTo>
                    <a:cubicBezTo>
                      <a:pt x="120548" y="119016"/>
                      <a:pt x="99077" y="138034"/>
                      <a:pt x="65335" y="138034"/>
                    </a:cubicBezTo>
                    <a:cubicBezTo>
                      <a:pt x="22699" y="138034"/>
                      <a:pt x="0" y="109507"/>
                      <a:pt x="0" y="69324"/>
                    </a:cubicBezTo>
                    <a:cubicBezTo>
                      <a:pt x="0" y="27607"/>
                      <a:pt x="24232" y="0"/>
                      <a:pt x="64415" y="0"/>
                    </a:cubicBezTo>
                    <a:cubicBezTo>
                      <a:pt x="105518" y="0"/>
                      <a:pt x="128524" y="27607"/>
                      <a:pt x="129444" y="72698"/>
                    </a:cubicBezTo>
                    <a:close/>
                    <a:moveTo>
                      <a:pt x="96009" y="53987"/>
                    </a:moveTo>
                    <a:cubicBezTo>
                      <a:pt x="94782" y="36809"/>
                      <a:pt x="84967" y="21472"/>
                      <a:pt x="64722" y="21472"/>
                    </a:cubicBezTo>
                    <a:cubicBezTo>
                      <a:pt x="46318" y="21472"/>
                      <a:pt x="35275" y="32821"/>
                      <a:pt x="31901" y="53987"/>
                    </a:cubicBezTo>
                    <a:lnTo>
                      <a:pt x="96009" y="5398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4393E9C-00AC-3C45-4C44-2E22785611D3}"/>
                  </a:ext>
                </a:extLst>
              </p:cNvPr>
              <p:cNvSpPr/>
              <p:nvPr/>
            </p:nvSpPr>
            <p:spPr>
              <a:xfrm>
                <a:off x="11317129" y="6534549"/>
                <a:ext cx="126990" cy="184679"/>
              </a:xfrm>
              <a:custGeom>
                <a:avLst/>
                <a:gdLst>
                  <a:gd name="connsiteX0" fmla="*/ 126990 w 126990"/>
                  <a:gd name="connsiteY0" fmla="*/ 4294 h 184679"/>
                  <a:gd name="connsiteX1" fmla="*/ 124843 w 126990"/>
                  <a:gd name="connsiteY1" fmla="*/ 2147 h 184679"/>
                  <a:gd name="connsiteX2" fmla="*/ 97850 w 126990"/>
                  <a:gd name="connsiteY2" fmla="*/ 2147 h 184679"/>
                  <a:gd name="connsiteX3" fmla="*/ 95703 w 126990"/>
                  <a:gd name="connsiteY3" fmla="*/ 4294 h 184679"/>
                  <a:gd name="connsiteX4" fmla="*/ 96316 w 126990"/>
                  <a:gd name="connsiteY4" fmla="*/ 19018 h 184679"/>
                  <a:gd name="connsiteX5" fmla="*/ 56747 w 126990"/>
                  <a:gd name="connsiteY5" fmla="*/ 0 h 184679"/>
                  <a:gd name="connsiteX6" fmla="*/ 0 w 126990"/>
                  <a:gd name="connsiteY6" fmla="*/ 67483 h 184679"/>
                  <a:gd name="connsiteX7" fmla="*/ 57974 w 126990"/>
                  <a:gd name="connsiteY7" fmla="*/ 133433 h 184679"/>
                  <a:gd name="connsiteX8" fmla="*/ 97543 w 126990"/>
                  <a:gd name="connsiteY8" fmla="*/ 112574 h 184679"/>
                  <a:gd name="connsiteX9" fmla="*/ 97543 w 126990"/>
                  <a:gd name="connsiteY9" fmla="*/ 127605 h 184679"/>
                  <a:gd name="connsiteX10" fmla="*/ 65336 w 126990"/>
                  <a:gd name="connsiteY10" fmla="*/ 163187 h 184679"/>
                  <a:gd name="connsiteX11" fmla="*/ 35889 w 126990"/>
                  <a:gd name="connsiteY11" fmla="*/ 145702 h 184679"/>
                  <a:gd name="connsiteX12" fmla="*/ 33435 w 126990"/>
                  <a:gd name="connsiteY12" fmla="*/ 143555 h 184679"/>
                  <a:gd name="connsiteX13" fmla="*/ 6748 w 126990"/>
                  <a:gd name="connsiteY13" fmla="*/ 143555 h 184679"/>
                  <a:gd name="connsiteX14" fmla="*/ 4601 w 126990"/>
                  <a:gd name="connsiteY14" fmla="*/ 145702 h 184679"/>
                  <a:gd name="connsiteX15" fmla="*/ 64109 w 126990"/>
                  <a:gd name="connsiteY15" fmla="*/ 184658 h 184679"/>
                  <a:gd name="connsiteX16" fmla="*/ 125763 w 126990"/>
                  <a:gd name="connsiteY16" fmla="*/ 127911 h 184679"/>
                  <a:gd name="connsiteX17" fmla="*/ 125456 w 126990"/>
                  <a:gd name="connsiteY17" fmla="*/ 63189 h 184679"/>
                  <a:gd name="connsiteX18" fmla="*/ 126990 w 126990"/>
                  <a:gd name="connsiteY18" fmla="*/ 4294 h 184679"/>
                  <a:gd name="connsiteX19" fmla="*/ 65029 w 126990"/>
                  <a:gd name="connsiteY19" fmla="*/ 112267 h 184679"/>
                  <a:gd name="connsiteX20" fmla="*/ 31594 w 126990"/>
                  <a:gd name="connsiteY20" fmla="*/ 66256 h 184679"/>
                  <a:gd name="connsiteX21" fmla="*/ 65029 w 126990"/>
                  <a:gd name="connsiteY21" fmla="*/ 21779 h 184679"/>
                  <a:gd name="connsiteX22" fmla="*/ 97236 w 126990"/>
                  <a:gd name="connsiteY22" fmla="*/ 68710 h 184679"/>
                  <a:gd name="connsiteX23" fmla="*/ 65029 w 126990"/>
                  <a:gd name="connsiteY23" fmla="*/ 112267 h 184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6990" h="184679">
                    <a:moveTo>
                      <a:pt x="126990" y="4294"/>
                    </a:moveTo>
                    <a:cubicBezTo>
                      <a:pt x="126990" y="3374"/>
                      <a:pt x="126070" y="2147"/>
                      <a:pt x="124843" y="2147"/>
                    </a:cubicBezTo>
                    <a:lnTo>
                      <a:pt x="97850" y="2147"/>
                    </a:lnTo>
                    <a:cubicBezTo>
                      <a:pt x="96930" y="2147"/>
                      <a:pt x="95703" y="3067"/>
                      <a:pt x="95703" y="4294"/>
                    </a:cubicBezTo>
                    <a:lnTo>
                      <a:pt x="96316" y="19018"/>
                    </a:lnTo>
                    <a:cubicBezTo>
                      <a:pt x="87727" y="6748"/>
                      <a:pt x="74231" y="0"/>
                      <a:pt x="56747" y="0"/>
                    </a:cubicBezTo>
                    <a:cubicBezTo>
                      <a:pt x="21165" y="0"/>
                      <a:pt x="0" y="30367"/>
                      <a:pt x="0" y="67483"/>
                    </a:cubicBezTo>
                    <a:cubicBezTo>
                      <a:pt x="0" y="104906"/>
                      <a:pt x="19631" y="133433"/>
                      <a:pt x="57974" y="133433"/>
                    </a:cubicBezTo>
                    <a:cubicBezTo>
                      <a:pt x="75458" y="133433"/>
                      <a:pt x="88648" y="125764"/>
                      <a:pt x="97543" y="112574"/>
                    </a:cubicBezTo>
                    <a:lnTo>
                      <a:pt x="97543" y="127605"/>
                    </a:lnTo>
                    <a:cubicBezTo>
                      <a:pt x="97543" y="152451"/>
                      <a:pt x="84353" y="163187"/>
                      <a:pt x="65336" y="163187"/>
                    </a:cubicBezTo>
                    <a:cubicBezTo>
                      <a:pt x="49385" y="163187"/>
                      <a:pt x="38956" y="157358"/>
                      <a:pt x="35889" y="145702"/>
                    </a:cubicBezTo>
                    <a:cubicBezTo>
                      <a:pt x="35582" y="144475"/>
                      <a:pt x="34662" y="143555"/>
                      <a:pt x="33435" y="143555"/>
                    </a:cubicBezTo>
                    <a:lnTo>
                      <a:pt x="6748" y="143555"/>
                    </a:lnTo>
                    <a:cubicBezTo>
                      <a:pt x="5828" y="143555"/>
                      <a:pt x="4601" y="144475"/>
                      <a:pt x="4601" y="145702"/>
                    </a:cubicBezTo>
                    <a:cubicBezTo>
                      <a:pt x="8282" y="172389"/>
                      <a:pt x="32514" y="185272"/>
                      <a:pt x="64109" y="184658"/>
                    </a:cubicBezTo>
                    <a:cubicBezTo>
                      <a:pt x="104598" y="184658"/>
                      <a:pt x="126070" y="163493"/>
                      <a:pt x="125763" y="127911"/>
                    </a:cubicBezTo>
                    <a:lnTo>
                      <a:pt x="125456" y="63189"/>
                    </a:lnTo>
                    <a:lnTo>
                      <a:pt x="126990" y="4294"/>
                    </a:lnTo>
                    <a:close/>
                    <a:moveTo>
                      <a:pt x="65029" y="112267"/>
                    </a:moveTo>
                    <a:cubicBezTo>
                      <a:pt x="43250" y="112574"/>
                      <a:pt x="31594" y="96317"/>
                      <a:pt x="31594" y="66256"/>
                    </a:cubicBezTo>
                    <a:cubicBezTo>
                      <a:pt x="31594" y="38036"/>
                      <a:pt x="42943" y="21165"/>
                      <a:pt x="65029" y="21779"/>
                    </a:cubicBezTo>
                    <a:cubicBezTo>
                      <a:pt x="86194" y="22085"/>
                      <a:pt x="97543" y="38649"/>
                      <a:pt x="97236" y="68710"/>
                    </a:cubicBezTo>
                    <a:cubicBezTo>
                      <a:pt x="96930" y="97851"/>
                      <a:pt x="85274" y="112267"/>
                      <a:pt x="65029" y="112267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6AA29360-C2A5-B529-E3A7-D8676344CE4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759483" y="0"/>
            <a:ext cx="3432517" cy="686503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5E77EA5-BF5A-50C2-82F3-C1C4823BE1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933414" y="875584"/>
            <a:ext cx="7258586" cy="5106831"/>
          </a:xfrm>
          <a:prstGeom prst="rect">
            <a:avLst/>
          </a:prstGeom>
        </p:spPr>
      </p:pic>
      <p:sp>
        <p:nvSpPr>
          <p:cNvPr id="7" name="Slide Number Static">
            <a:extLst>
              <a:ext uri="{FF2B5EF4-FFF2-40B4-BE49-F238E27FC236}">
                <a16:creationId xmlns:a16="http://schemas.microsoft.com/office/drawing/2014/main" id="{1908DB6B-EA02-0036-4A58-497709796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119338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pter slide G">
    <p:bg>
      <p:bgPr>
        <a:solidFill>
          <a:srgbClr val="E7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phic 51">
            <a:extLst>
              <a:ext uri="{FF2B5EF4-FFF2-40B4-BE49-F238E27FC236}">
                <a16:creationId xmlns:a16="http://schemas.microsoft.com/office/drawing/2014/main" id="{1A2B3138-3EF9-1DB8-AA8B-41623F2A66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4070" y="0"/>
            <a:ext cx="5078438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A0E266-F964-65E1-891C-CDA4DA0AD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A9D98A-37CA-8C93-55F2-9BCBDDE6EADB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C04BA471-F584-A735-72E7-5FC178393303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" name="Logo">
              <a:extLst>
                <a:ext uri="{FF2B5EF4-FFF2-40B4-BE49-F238E27FC236}">
                  <a16:creationId xmlns:a16="http://schemas.microsoft.com/office/drawing/2014/main" id="{95E113AE-2F66-84CB-E048-AFB79B333A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44D4FDD-6B9F-9931-E9E5-506B38B45F71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2" name="Logo">
                <a:extLst>
                  <a:ext uri="{FF2B5EF4-FFF2-40B4-BE49-F238E27FC236}">
                    <a16:creationId xmlns:a16="http://schemas.microsoft.com/office/drawing/2014/main" id="{07DB8141-7150-3A77-335F-69E0AA9A84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066810C2-BC02-F42B-60E0-FA3F3111C744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6808531A-0D2A-8529-D8B6-C1F4B7B30344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1D49FDCD-1F1E-6CEC-1E29-978D6CEBA894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0624DC68-3E0E-C632-E315-56C7EE121B1C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F2C9FC2C-0D12-D8F9-1045-45077749AF8E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D3F51CB1-9CC9-189F-8DE9-51D55EEC97C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213654" y="744193"/>
            <a:ext cx="7632090" cy="5369613"/>
          </a:xfrm>
          <a:prstGeom prst="rect">
            <a:avLst/>
          </a:prstGeom>
        </p:spPr>
      </p:pic>
      <p:sp>
        <p:nvSpPr>
          <p:cNvPr id="6" name="Slide Number Static">
            <a:extLst>
              <a:ext uri="{FF2B5EF4-FFF2-40B4-BE49-F238E27FC236}">
                <a16:creationId xmlns:a16="http://schemas.microsoft.com/office/drawing/2014/main" id="{423B8B34-1B6B-9825-4A0E-7456DCB42C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869609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hapter slide G">
    <p:bg>
      <p:bgPr>
        <a:solidFill>
          <a:srgbClr val="63B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phic 51">
            <a:extLst>
              <a:ext uri="{FF2B5EF4-FFF2-40B4-BE49-F238E27FC236}">
                <a16:creationId xmlns:a16="http://schemas.microsoft.com/office/drawing/2014/main" id="{1A2B3138-3EF9-1DB8-AA8B-41623F2A66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4070" y="0"/>
            <a:ext cx="5078438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A0E266-F964-65E1-891C-CDA4DA0AD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A9D98A-37CA-8C93-55F2-9BCBDDE6EADB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C04BA471-F584-A735-72E7-5FC178393303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" name="Logo">
              <a:extLst>
                <a:ext uri="{FF2B5EF4-FFF2-40B4-BE49-F238E27FC236}">
                  <a16:creationId xmlns:a16="http://schemas.microsoft.com/office/drawing/2014/main" id="{95E113AE-2F66-84CB-E048-AFB79B333A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44D4FDD-6B9F-9931-E9E5-506B38B45F71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2" name="Logo">
                <a:extLst>
                  <a:ext uri="{FF2B5EF4-FFF2-40B4-BE49-F238E27FC236}">
                    <a16:creationId xmlns:a16="http://schemas.microsoft.com/office/drawing/2014/main" id="{07DB8141-7150-3A77-335F-69E0AA9A84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066810C2-BC02-F42B-60E0-FA3F3111C744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6808531A-0D2A-8529-D8B6-C1F4B7B30344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1D49FDCD-1F1E-6CEC-1E29-978D6CEBA894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0624DC68-3E0E-C632-E315-56C7EE121B1C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F2C9FC2C-0D12-D8F9-1045-45077749AF8E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D3F51CB1-9CC9-189F-8DE9-51D55EEC97C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213654" y="744193"/>
            <a:ext cx="7632090" cy="5369612"/>
          </a:xfrm>
          <a:prstGeom prst="rect">
            <a:avLst/>
          </a:prstGeom>
        </p:spPr>
      </p:pic>
      <p:sp>
        <p:nvSpPr>
          <p:cNvPr id="6" name="Slide Number Static">
            <a:extLst>
              <a:ext uri="{FF2B5EF4-FFF2-40B4-BE49-F238E27FC236}">
                <a16:creationId xmlns:a16="http://schemas.microsoft.com/office/drawing/2014/main" id="{6A9748C1-25C7-39EA-0A4E-3E0D72AAE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564027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B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C211FBC-463F-4EC5-8080-632A5BB8AFA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-1609726" y="1600201"/>
            <a:ext cx="6858002" cy="3657600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A0ACED-E331-1403-1DFD-5D1ABE8623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27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A0ACED-E331-1403-1DFD-5D1ABE86233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98D4B18B-5FE7-79B1-BD85-0B5E78D30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2038" y="131378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86F4F90-3EF8-6E78-2BE0-F933FFE9A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2038" y="192578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9734DE0C-AD30-1996-B4A5-6EE4399CE8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69641" y="131378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5D7EF3CF-1F48-BE4F-D625-4D90E45F60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69641" y="192578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A9CB3487-F002-86BA-E7E1-7621721A7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CF800E03-8CD4-F76D-4216-13BF5D2F1C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949B7CD-A4A7-0E7F-405A-CA336C30B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2037" y="596235"/>
            <a:ext cx="6769099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63BA6783-A3A0-D869-FC2F-4331BE5FA3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91535" y="305526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DE5CDE9-8A46-1D06-B349-595C7BB3E5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91535" y="366726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6984BBA9-1766-EB8B-109C-07B985E384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89138" y="3055268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98EE849-C9C5-0A1B-0067-36644C9D3E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9138" y="3667268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F2BD424-7078-D88E-25EA-11B054C60A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91535" y="48428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EF97F18-FAA7-6987-7B88-C7A43C0552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91535" y="5454800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49CF8621-3870-D017-81B2-C730662905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89138" y="48428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FC9F3CF-360C-6215-EB0C-143A3C1CCD9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689138" y="5454800"/>
            <a:ext cx="2952000" cy="819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0A1CC2C2-7C93-2D0D-5926-F602DC1C505D}"/>
              </a:ext>
            </a:extLst>
          </p:cNvPr>
          <p:cNvGrpSpPr/>
          <p:nvPr userDrawn="1"/>
        </p:nvGrpSpPr>
        <p:grpSpPr>
          <a:xfrm flipH="1">
            <a:off x="-596662" y="691441"/>
            <a:ext cx="4623096" cy="5172859"/>
            <a:chOff x="817111" y="-4411303"/>
            <a:chExt cx="3535911" cy="3956390"/>
          </a:xfrm>
        </p:grpSpPr>
        <p:grpSp>
          <p:nvGrpSpPr>
            <p:cNvPr id="81" name="Graphic 28">
              <a:extLst>
                <a:ext uri="{FF2B5EF4-FFF2-40B4-BE49-F238E27FC236}">
                  <a16:creationId xmlns:a16="http://schemas.microsoft.com/office/drawing/2014/main" id="{058796CB-3C56-1929-B94B-DCFDA948817A}"/>
                </a:ext>
              </a:extLst>
            </p:cNvPr>
            <p:cNvGrpSpPr/>
            <p:nvPr/>
          </p:nvGrpSpPr>
          <p:grpSpPr>
            <a:xfrm>
              <a:off x="817111" y="-4411303"/>
              <a:ext cx="1745845" cy="530026"/>
              <a:chOff x="2846576" y="1415258"/>
              <a:chExt cx="1745845" cy="530026"/>
            </a:xfrm>
          </p:grpSpPr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132CFE67-6C5C-A1F5-1B77-592786715061}"/>
                  </a:ext>
                </a:extLst>
              </p:cNvPr>
              <p:cNvSpPr/>
              <p:nvPr/>
            </p:nvSpPr>
            <p:spPr>
              <a:xfrm>
                <a:off x="2846576" y="1438055"/>
                <a:ext cx="594540" cy="364749"/>
              </a:xfrm>
              <a:custGeom>
                <a:avLst/>
                <a:gdLst>
                  <a:gd name="connsiteX0" fmla="*/ 411167 w 594540"/>
                  <a:gd name="connsiteY0" fmla="*/ 0 h 364749"/>
                  <a:gd name="connsiteX1" fmla="*/ 257406 w 594540"/>
                  <a:gd name="connsiteY1" fmla="*/ 84348 h 364749"/>
                  <a:gd name="connsiteX2" fmla="*/ 140093 w 594540"/>
                  <a:gd name="connsiteY2" fmla="*/ 84348 h 364749"/>
                  <a:gd name="connsiteX3" fmla="*/ 0 w 594540"/>
                  <a:gd name="connsiteY3" fmla="*/ 224549 h 364749"/>
                  <a:gd name="connsiteX4" fmla="*/ 0 w 594540"/>
                  <a:gd name="connsiteY4" fmla="*/ 224549 h 364749"/>
                  <a:gd name="connsiteX5" fmla="*/ 140093 w 594540"/>
                  <a:gd name="connsiteY5" fmla="*/ 364749 h 364749"/>
                  <a:gd name="connsiteX6" fmla="*/ 412306 w 594540"/>
                  <a:gd name="connsiteY6" fmla="*/ 364749 h 364749"/>
                  <a:gd name="connsiteX7" fmla="*/ 594541 w 594540"/>
                  <a:gd name="connsiteY7" fmla="*/ 182375 h 364749"/>
                  <a:gd name="connsiteX8" fmla="*/ 412306 w 594540"/>
                  <a:gd name="connsiteY8" fmla="*/ 0 h 364749"/>
                  <a:gd name="connsiteX9" fmla="*/ 411167 w 594540"/>
                  <a:gd name="connsiteY9" fmla="*/ 0 h 36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4540" h="364749">
                    <a:moveTo>
                      <a:pt x="411167" y="0"/>
                    </a:moveTo>
                    <a:cubicBezTo>
                      <a:pt x="346246" y="0"/>
                      <a:pt x="289297" y="34195"/>
                      <a:pt x="257406" y="84348"/>
                    </a:cubicBezTo>
                    <a:lnTo>
                      <a:pt x="140093" y="84348"/>
                    </a:lnTo>
                    <a:cubicBezTo>
                      <a:pt x="62643" y="84348"/>
                      <a:pt x="0" y="147040"/>
                      <a:pt x="0" y="224549"/>
                    </a:cubicBezTo>
                    <a:lnTo>
                      <a:pt x="0" y="224549"/>
                    </a:lnTo>
                    <a:cubicBezTo>
                      <a:pt x="0" y="302058"/>
                      <a:pt x="62643" y="364749"/>
                      <a:pt x="140093" y="364749"/>
                    </a:cubicBezTo>
                    <a:lnTo>
                      <a:pt x="412306" y="364749"/>
                    </a:lnTo>
                    <a:cubicBezTo>
                      <a:pt x="513674" y="364749"/>
                      <a:pt x="594541" y="282681"/>
                      <a:pt x="594541" y="182375"/>
                    </a:cubicBezTo>
                    <a:cubicBezTo>
                      <a:pt x="594541" y="82069"/>
                      <a:pt x="512535" y="0"/>
                      <a:pt x="412306" y="0"/>
                    </a:cubicBezTo>
                    <a:cubicBezTo>
                      <a:pt x="412306" y="0"/>
                      <a:pt x="411167" y="0"/>
                      <a:pt x="4111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83" name="Graphic 28">
                <a:extLst>
                  <a:ext uri="{FF2B5EF4-FFF2-40B4-BE49-F238E27FC236}">
                    <a16:creationId xmlns:a16="http://schemas.microsoft.com/office/drawing/2014/main" id="{03ABA711-BF7D-DF12-FFE0-36DF6107F5CA}"/>
                  </a:ext>
                </a:extLst>
              </p:cNvPr>
              <p:cNvGrpSpPr/>
              <p:nvPr/>
            </p:nvGrpSpPr>
            <p:grpSpPr>
              <a:xfrm>
                <a:off x="3014005" y="1415258"/>
                <a:ext cx="1492750" cy="530026"/>
                <a:chOff x="3014005" y="1415258"/>
                <a:chExt cx="1492750" cy="530026"/>
              </a:xfrm>
            </p:grpSpPr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F4029122-1DD4-FBD7-4A04-82D4E7F9612C}"/>
                    </a:ext>
                  </a:extLst>
                </p:cNvPr>
                <p:cNvSpPr/>
                <p:nvPr/>
              </p:nvSpPr>
              <p:spPr>
                <a:xfrm>
                  <a:off x="3014005" y="1415258"/>
                  <a:ext cx="987484" cy="530026"/>
                </a:xfrm>
                <a:custGeom>
                  <a:avLst/>
                  <a:gdLst>
                    <a:gd name="connsiteX0" fmla="*/ 820056 w 987484"/>
                    <a:gd name="connsiteY0" fmla="*/ 185794 h 530026"/>
                    <a:gd name="connsiteX1" fmla="*/ 567205 w 987484"/>
                    <a:gd name="connsiteY1" fmla="*/ 0 h 530026"/>
                    <a:gd name="connsiteX2" fmla="*/ 329161 w 987484"/>
                    <a:gd name="connsiteY2" fmla="*/ 149319 h 530026"/>
                    <a:gd name="connsiteX3" fmla="*/ 302965 w 987484"/>
                    <a:gd name="connsiteY3" fmla="*/ 145900 h 530026"/>
                    <a:gd name="connsiteX4" fmla="*/ 199319 w 987484"/>
                    <a:gd name="connsiteY4" fmla="*/ 249625 h 530026"/>
                    <a:gd name="connsiteX5" fmla="*/ 140093 w 987484"/>
                    <a:gd name="connsiteY5" fmla="*/ 249625 h 530026"/>
                    <a:gd name="connsiteX6" fmla="*/ 0 w 987484"/>
                    <a:gd name="connsiteY6" fmla="*/ 389826 h 530026"/>
                    <a:gd name="connsiteX7" fmla="*/ 0 w 987484"/>
                    <a:gd name="connsiteY7" fmla="*/ 389826 h 530026"/>
                    <a:gd name="connsiteX8" fmla="*/ 140093 w 987484"/>
                    <a:gd name="connsiteY8" fmla="*/ 530026 h 530026"/>
                    <a:gd name="connsiteX9" fmla="*/ 815500 w 987484"/>
                    <a:gd name="connsiteY9" fmla="*/ 530026 h 530026"/>
                    <a:gd name="connsiteX10" fmla="*/ 987484 w 987484"/>
                    <a:gd name="connsiteY10" fmla="*/ 357910 h 530026"/>
                    <a:gd name="connsiteX11" fmla="*/ 818917 w 987484"/>
                    <a:gd name="connsiteY11" fmla="*/ 185794 h 530026"/>
                    <a:gd name="connsiteX12" fmla="*/ 818917 w 987484"/>
                    <a:gd name="connsiteY12" fmla="*/ 185794 h 530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87484" h="530026">
                      <a:moveTo>
                        <a:pt x="820056" y="185794"/>
                      </a:moveTo>
                      <a:cubicBezTo>
                        <a:pt x="785887" y="78649"/>
                        <a:pt x="685658" y="0"/>
                        <a:pt x="567205" y="0"/>
                      </a:cubicBezTo>
                      <a:cubicBezTo>
                        <a:pt x="448753" y="0"/>
                        <a:pt x="372442" y="60412"/>
                        <a:pt x="329161" y="149319"/>
                      </a:cubicBezTo>
                      <a:cubicBezTo>
                        <a:pt x="321189" y="147040"/>
                        <a:pt x="312077" y="145900"/>
                        <a:pt x="302965" y="145900"/>
                      </a:cubicBezTo>
                      <a:cubicBezTo>
                        <a:pt x="246017" y="145900"/>
                        <a:pt x="199319" y="192633"/>
                        <a:pt x="199319" y="249625"/>
                      </a:cubicBezTo>
                      <a:lnTo>
                        <a:pt x="140093" y="249625"/>
                      </a:lnTo>
                      <a:cubicBezTo>
                        <a:pt x="62643" y="249625"/>
                        <a:pt x="0" y="312317"/>
                        <a:pt x="0" y="389826"/>
                      </a:cubicBezTo>
                      <a:lnTo>
                        <a:pt x="0" y="389826"/>
                      </a:lnTo>
                      <a:cubicBezTo>
                        <a:pt x="0" y="467335"/>
                        <a:pt x="62643" y="530026"/>
                        <a:pt x="140093" y="530026"/>
                      </a:cubicBezTo>
                      <a:lnTo>
                        <a:pt x="815500" y="530026"/>
                      </a:lnTo>
                      <a:cubicBezTo>
                        <a:pt x="911173" y="530026"/>
                        <a:pt x="987484" y="452517"/>
                        <a:pt x="987484" y="357910"/>
                      </a:cubicBezTo>
                      <a:cubicBezTo>
                        <a:pt x="987484" y="263303"/>
                        <a:pt x="912312" y="188074"/>
                        <a:pt x="818917" y="185794"/>
                      </a:cubicBezTo>
                      <a:lnTo>
                        <a:pt x="818917" y="18579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AFDABE05-DCE1-691F-1D3F-B726FFC7AF57}"/>
                    </a:ext>
                  </a:extLst>
                </p:cNvPr>
                <p:cNvSpPr/>
                <p:nvPr/>
              </p:nvSpPr>
              <p:spPr>
                <a:xfrm>
                  <a:off x="3732693" y="1601053"/>
                  <a:ext cx="100228" cy="33055"/>
                </a:xfrm>
                <a:custGeom>
                  <a:avLst/>
                  <a:gdLst>
                    <a:gd name="connsiteX0" fmla="*/ 100229 w 100228"/>
                    <a:gd name="connsiteY0" fmla="*/ 0 h 33055"/>
                    <a:gd name="connsiteX1" fmla="*/ 0 w 100228"/>
                    <a:gd name="connsiteY1" fmla="*/ 33055 h 33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228" h="33055">
                      <a:moveTo>
                        <a:pt x="100229" y="0"/>
                      </a:moveTo>
                      <a:cubicBezTo>
                        <a:pt x="62643" y="0"/>
                        <a:pt x="27335" y="12538"/>
                        <a:pt x="0" y="33055"/>
                      </a:cubicBezTo>
                    </a:path>
                  </a:pathLst>
                </a:custGeom>
                <a:noFill/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C28D6541-8306-CEF1-A47C-531C903C5C39}"/>
                </a:ext>
              </a:extLst>
            </p:cNvPr>
            <p:cNvSpPr/>
            <p:nvPr/>
          </p:nvSpPr>
          <p:spPr>
            <a:xfrm>
              <a:off x="2924200" y="-466311"/>
              <a:ext cx="506840" cy="11398"/>
            </a:xfrm>
            <a:custGeom>
              <a:avLst/>
              <a:gdLst>
                <a:gd name="connsiteX0" fmla="*/ 0 w 506840"/>
                <a:gd name="connsiteY0" fmla="*/ 0 h 11398"/>
                <a:gd name="connsiteX1" fmla="*/ 506840 w 506840"/>
                <a:gd name="connsiteY1" fmla="*/ 0 h 11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40" h="11398">
                  <a:moveTo>
                    <a:pt x="0" y="0"/>
                  </a:moveTo>
                  <a:lnTo>
                    <a:pt x="506840" y="0"/>
                  </a:lnTo>
                </a:path>
              </a:pathLst>
            </a:custGeom>
            <a:ln w="11287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1" name="Graphic 28">
              <a:extLst>
                <a:ext uri="{FF2B5EF4-FFF2-40B4-BE49-F238E27FC236}">
                  <a16:creationId xmlns:a16="http://schemas.microsoft.com/office/drawing/2014/main" id="{BA7C3F35-635E-99B1-0B1C-C66B51211405}"/>
                </a:ext>
              </a:extLst>
            </p:cNvPr>
            <p:cNvGrpSpPr/>
            <p:nvPr/>
          </p:nvGrpSpPr>
          <p:grpSpPr>
            <a:xfrm>
              <a:off x="1279412" y="-4032875"/>
              <a:ext cx="3073610" cy="3567704"/>
              <a:chOff x="3308877" y="1793686"/>
              <a:chExt cx="3073610" cy="3567704"/>
            </a:xfrm>
          </p:grpSpPr>
          <p:grpSp>
            <p:nvGrpSpPr>
              <p:cNvPr id="112" name="Graphic 28">
                <a:extLst>
                  <a:ext uri="{FF2B5EF4-FFF2-40B4-BE49-F238E27FC236}">
                    <a16:creationId xmlns:a16="http://schemas.microsoft.com/office/drawing/2014/main" id="{3D611332-24F5-1740-E077-628717876B32}"/>
                  </a:ext>
                </a:extLst>
              </p:cNvPr>
              <p:cNvGrpSpPr/>
              <p:nvPr/>
            </p:nvGrpSpPr>
            <p:grpSpPr>
              <a:xfrm>
                <a:off x="3308877" y="1813987"/>
                <a:ext cx="3073610" cy="3547403"/>
                <a:chOff x="3308877" y="1813987"/>
                <a:chExt cx="3073610" cy="3547403"/>
              </a:xfrm>
            </p:grpSpPr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00C4E919-6C32-ACD7-D2A8-7D66C43E1D45}"/>
                    </a:ext>
                  </a:extLst>
                </p:cNvPr>
                <p:cNvSpPr/>
                <p:nvPr/>
              </p:nvSpPr>
              <p:spPr>
                <a:xfrm>
                  <a:off x="3308877" y="2346007"/>
                  <a:ext cx="298529" cy="348153"/>
                </a:xfrm>
                <a:custGeom>
                  <a:avLst/>
                  <a:gdLst>
                    <a:gd name="connsiteX0" fmla="*/ 298530 w 298529"/>
                    <a:gd name="connsiteY0" fmla="*/ 287742 h 348153"/>
                    <a:gd name="connsiteX1" fmla="*/ 276889 w 298529"/>
                    <a:gd name="connsiteY1" fmla="*/ 259246 h 348153"/>
                    <a:gd name="connsiteX2" fmla="*/ 276889 w 298529"/>
                    <a:gd name="connsiteY2" fmla="*/ 256966 h 348153"/>
                    <a:gd name="connsiteX3" fmla="*/ 243859 w 298529"/>
                    <a:gd name="connsiteY3" fmla="*/ 140702 h 348153"/>
                    <a:gd name="connsiteX4" fmla="*/ 225636 w 298529"/>
                    <a:gd name="connsiteY4" fmla="*/ 105367 h 348153"/>
                    <a:gd name="connsiteX5" fmla="*/ 181216 w 298529"/>
                    <a:gd name="connsiteY5" fmla="*/ 38117 h 348153"/>
                    <a:gd name="connsiteX6" fmla="*/ 176660 w 298529"/>
                    <a:gd name="connsiteY6" fmla="*/ 92829 h 348153"/>
                    <a:gd name="connsiteX7" fmla="*/ 191467 w 298529"/>
                    <a:gd name="connsiteY7" fmla="*/ 129304 h 348153"/>
                    <a:gd name="connsiteX8" fmla="*/ 162993 w 298529"/>
                    <a:gd name="connsiteY8" fmla="*/ 114486 h 348153"/>
                    <a:gd name="connsiteX9" fmla="*/ 103766 w 298529"/>
                    <a:gd name="connsiteY9" fmla="*/ 23299 h 348153"/>
                    <a:gd name="connsiteX10" fmla="*/ 74153 w 298529"/>
                    <a:gd name="connsiteY10" fmla="*/ 33557 h 348153"/>
                    <a:gd name="connsiteX11" fmla="*/ 125406 w 298529"/>
                    <a:gd name="connsiteY11" fmla="*/ 132724 h 348153"/>
                    <a:gd name="connsiteX12" fmla="*/ 66180 w 298529"/>
                    <a:gd name="connsiteY12" fmla="*/ 14180 h 348153"/>
                    <a:gd name="connsiteX13" fmla="*/ 34289 w 298529"/>
                    <a:gd name="connsiteY13" fmla="*/ 28998 h 348153"/>
                    <a:gd name="connsiteX14" fmla="*/ 101488 w 298529"/>
                    <a:gd name="connsiteY14" fmla="*/ 158940 h 348153"/>
                    <a:gd name="connsiteX15" fmla="*/ 42262 w 298529"/>
                    <a:gd name="connsiteY15" fmla="*/ 55214 h 348153"/>
                    <a:gd name="connsiteX16" fmla="*/ 11510 w 298529"/>
                    <a:gd name="connsiteY16" fmla="*/ 58634 h 348153"/>
                    <a:gd name="connsiteX17" fmla="*/ 78709 w 298529"/>
                    <a:gd name="connsiteY17" fmla="*/ 182877 h 348153"/>
                    <a:gd name="connsiteX18" fmla="*/ 25178 w 298529"/>
                    <a:gd name="connsiteY18" fmla="*/ 89410 h 348153"/>
                    <a:gd name="connsiteX19" fmla="*/ 120 w 298529"/>
                    <a:gd name="connsiteY19" fmla="*/ 103088 h 348153"/>
                    <a:gd name="connsiteX20" fmla="*/ 67319 w 298529"/>
                    <a:gd name="connsiteY20" fmla="*/ 222771 h 348153"/>
                    <a:gd name="connsiteX21" fmla="*/ 162993 w 298529"/>
                    <a:gd name="connsiteY21" fmla="*/ 287742 h 348153"/>
                    <a:gd name="connsiteX22" fmla="*/ 202856 w 298529"/>
                    <a:gd name="connsiteY22" fmla="*/ 304840 h 348153"/>
                    <a:gd name="connsiteX23" fmla="*/ 229052 w 298529"/>
                    <a:gd name="connsiteY23" fmla="*/ 348154 h 348153"/>
                    <a:gd name="connsiteX24" fmla="*/ 297390 w 298529"/>
                    <a:gd name="connsiteY24" fmla="*/ 288882 h 348153"/>
                    <a:gd name="connsiteX25" fmla="*/ 298530 w 298529"/>
                    <a:gd name="connsiteY25" fmla="*/ 288882 h 34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98529" h="348153">
                      <a:moveTo>
                        <a:pt x="298530" y="287742"/>
                      </a:moveTo>
                      <a:cubicBezTo>
                        <a:pt x="290557" y="276344"/>
                        <a:pt x="282584" y="267225"/>
                        <a:pt x="276889" y="259246"/>
                      </a:cubicBezTo>
                      <a:lnTo>
                        <a:pt x="276889" y="256966"/>
                      </a:lnTo>
                      <a:cubicBezTo>
                        <a:pt x="276889" y="256966"/>
                        <a:pt x="248415" y="158940"/>
                        <a:pt x="243859" y="140702"/>
                      </a:cubicBezTo>
                      <a:cubicBezTo>
                        <a:pt x="238164" y="123605"/>
                        <a:pt x="225636" y="105367"/>
                        <a:pt x="225636" y="105367"/>
                      </a:cubicBezTo>
                      <a:cubicBezTo>
                        <a:pt x="207412" y="83710"/>
                        <a:pt x="185772" y="63193"/>
                        <a:pt x="181216" y="38117"/>
                      </a:cubicBezTo>
                      <a:cubicBezTo>
                        <a:pt x="181216" y="38117"/>
                        <a:pt x="137935" y="47235"/>
                        <a:pt x="176660" y="92829"/>
                      </a:cubicBezTo>
                      <a:cubicBezTo>
                        <a:pt x="215385" y="138423"/>
                        <a:pt x="186911" y="115626"/>
                        <a:pt x="191467" y="129304"/>
                      </a:cubicBezTo>
                      <a:cubicBezTo>
                        <a:pt x="178938" y="122465"/>
                        <a:pt x="166409" y="116766"/>
                        <a:pt x="162993" y="114486"/>
                      </a:cubicBezTo>
                      <a:cubicBezTo>
                        <a:pt x="149325" y="106507"/>
                        <a:pt x="111739" y="33557"/>
                        <a:pt x="103766" y="23299"/>
                      </a:cubicBezTo>
                      <a:cubicBezTo>
                        <a:pt x="98071" y="11900"/>
                        <a:pt x="65041" y="3921"/>
                        <a:pt x="74153" y="33557"/>
                      </a:cubicBezTo>
                      <a:cubicBezTo>
                        <a:pt x="87821" y="58634"/>
                        <a:pt x="125406" y="132724"/>
                        <a:pt x="125406" y="132724"/>
                      </a:cubicBezTo>
                      <a:cubicBezTo>
                        <a:pt x="104905" y="91689"/>
                        <a:pt x="74153" y="32417"/>
                        <a:pt x="66180" y="14180"/>
                      </a:cubicBezTo>
                      <a:cubicBezTo>
                        <a:pt x="58207" y="-5197"/>
                        <a:pt x="29733" y="-8617"/>
                        <a:pt x="34289" y="28998"/>
                      </a:cubicBezTo>
                      <a:cubicBezTo>
                        <a:pt x="37706" y="52935"/>
                        <a:pt x="101488" y="158940"/>
                        <a:pt x="101488" y="158940"/>
                      </a:cubicBezTo>
                      <a:cubicBezTo>
                        <a:pt x="101488" y="158940"/>
                        <a:pt x="58207" y="81431"/>
                        <a:pt x="42262" y="55214"/>
                      </a:cubicBezTo>
                      <a:cubicBezTo>
                        <a:pt x="27455" y="28998"/>
                        <a:pt x="5815" y="41536"/>
                        <a:pt x="11510" y="58634"/>
                      </a:cubicBezTo>
                      <a:cubicBezTo>
                        <a:pt x="11510" y="72312"/>
                        <a:pt x="73014" y="178317"/>
                        <a:pt x="78709" y="182877"/>
                      </a:cubicBezTo>
                      <a:cubicBezTo>
                        <a:pt x="66180" y="169198"/>
                        <a:pt x="25178" y="89410"/>
                        <a:pt x="25178" y="89410"/>
                      </a:cubicBezTo>
                      <a:cubicBezTo>
                        <a:pt x="25178" y="89410"/>
                        <a:pt x="4676" y="83710"/>
                        <a:pt x="120" y="103088"/>
                      </a:cubicBezTo>
                      <a:cubicBezTo>
                        <a:pt x="-3297" y="122465"/>
                        <a:pt x="67319" y="222771"/>
                        <a:pt x="67319" y="222771"/>
                      </a:cubicBezTo>
                      <a:cubicBezTo>
                        <a:pt x="67319" y="222771"/>
                        <a:pt x="91237" y="260386"/>
                        <a:pt x="162993" y="287742"/>
                      </a:cubicBezTo>
                      <a:cubicBezTo>
                        <a:pt x="178938" y="293441"/>
                        <a:pt x="190328" y="302560"/>
                        <a:pt x="202856" y="304840"/>
                      </a:cubicBezTo>
                      <a:cubicBezTo>
                        <a:pt x="211968" y="319658"/>
                        <a:pt x="221080" y="333336"/>
                        <a:pt x="229052" y="348154"/>
                      </a:cubicBezTo>
                      <a:lnTo>
                        <a:pt x="297390" y="288882"/>
                      </a:lnTo>
                      <a:lnTo>
                        <a:pt x="298530" y="288882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FCB34B75-5B3C-24CB-B986-B51656628041}"/>
                    </a:ext>
                  </a:extLst>
                </p:cNvPr>
                <p:cNvSpPr/>
                <p:nvPr/>
              </p:nvSpPr>
              <p:spPr>
                <a:xfrm>
                  <a:off x="3632463" y="4607198"/>
                  <a:ext cx="216403" cy="292556"/>
                </a:xfrm>
                <a:custGeom>
                  <a:avLst/>
                  <a:gdLst>
                    <a:gd name="connsiteX0" fmla="*/ 26196 w 216403"/>
                    <a:gd name="connsiteY0" fmla="*/ 75987 h 292556"/>
                    <a:gd name="connsiteX1" fmla="*/ 38725 w 216403"/>
                    <a:gd name="connsiteY1" fmla="*/ 179713 h 292556"/>
                    <a:gd name="connsiteX2" fmla="*/ 38725 w 216403"/>
                    <a:gd name="connsiteY2" fmla="*/ 185412 h 292556"/>
                    <a:gd name="connsiteX3" fmla="*/ 0 w 216403"/>
                    <a:gd name="connsiteY3" fmla="*/ 292557 h 292556"/>
                    <a:gd name="connsiteX4" fmla="*/ 216404 w 216403"/>
                    <a:gd name="connsiteY4" fmla="*/ 225306 h 292556"/>
                    <a:gd name="connsiteX5" fmla="*/ 207292 w 216403"/>
                    <a:gd name="connsiteY5" fmla="*/ 205929 h 292556"/>
                    <a:gd name="connsiteX6" fmla="*/ 210709 w 216403"/>
                    <a:gd name="connsiteY6" fmla="*/ 204789 h 292556"/>
                    <a:gd name="connsiteX7" fmla="*/ 176540 w 216403"/>
                    <a:gd name="connsiteY7" fmla="*/ 29253 h 292556"/>
                    <a:gd name="connsiteX8" fmla="*/ 27335 w 216403"/>
                    <a:gd name="connsiteY8" fmla="*/ 75987 h 292556"/>
                    <a:gd name="connsiteX9" fmla="*/ 26196 w 216403"/>
                    <a:gd name="connsiteY9" fmla="*/ 75987 h 292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6403" h="292556">
                      <a:moveTo>
                        <a:pt x="26196" y="75987"/>
                      </a:moveTo>
                      <a:cubicBezTo>
                        <a:pt x="26196" y="75987"/>
                        <a:pt x="35308" y="128420"/>
                        <a:pt x="38725" y="179713"/>
                      </a:cubicBezTo>
                      <a:lnTo>
                        <a:pt x="38725" y="185412"/>
                      </a:lnTo>
                      <a:cubicBezTo>
                        <a:pt x="37586" y="264061"/>
                        <a:pt x="0" y="292557"/>
                        <a:pt x="0" y="292557"/>
                      </a:cubicBezTo>
                      <a:lnTo>
                        <a:pt x="216404" y="225306"/>
                      </a:lnTo>
                      <a:lnTo>
                        <a:pt x="207292" y="205929"/>
                      </a:lnTo>
                      <a:cubicBezTo>
                        <a:pt x="209570" y="205929"/>
                        <a:pt x="210709" y="204789"/>
                        <a:pt x="210709" y="204789"/>
                      </a:cubicBezTo>
                      <a:cubicBezTo>
                        <a:pt x="194763" y="186552"/>
                        <a:pt x="187929" y="104483"/>
                        <a:pt x="176540" y="29253"/>
                      </a:cubicBezTo>
                      <a:cubicBezTo>
                        <a:pt x="164011" y="-57374"/>
                        <a:pt x="27335" y="75987"/>
                        <a:pt x="27335" y="75987"/>
                      </a:cubicBezTo>
                      <a:lnTo>
                        <a:pt x="26196" y="75987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Freeform 114">
                  <a:extLst>
                    <a:ext uri="{FF2B5EF4-FFF2-40B4-BE49-F238E27FC236}">
                      <a16:creationId xmlns:a16="http://schemas.microsoft.com/office/drawing/2014/main" id="{513E0D0E-4EE9-8F54-816B-18FC43EA3422}"/>
                    </a:ext>
                  </a:extLst>
                </p:cNvPr>
                <p:cNvSpPr/>
                <p:nvPr/>
              </p:nvSpPr>
              <p:spPr>
                <a:xfrm>
                  <a:off x="3465807" y="4790788"/>
                  <a:ext cx="431242" cy="289061"/>
                </a:xfrm>
                <a:custGeom>
                  <a:avLst/>
                  <a:gdLst>
                    <a:gd name="connsiteX0" fmla="*/ 31120 w 431242"/>
                    <a:gd name="connsiteY0" fmla="*/ 289062 h 289061"/>
                    <a:gd name="connsiteX1" fmla="*/ 422924 w 431242"/>
                    <a:gd name="connsiteY1" fmla="*/ 176217 h 289061"/>
                    <a:gd name="connsiteX2" fmla="*/ 429758 w 431242"/>
                    <a:gd name="connsiteY2" fmla="*/ 130624 h 289061"/>
                    <a:gd name="connsiteX3" fmla="*/ 370532 w 431242"/>
                    <a:gd name="connsiteY3" fmla="*/ 2962 h 289061"/>
                    <a:gd name="connsiteX4" fmla="*/ 362559 w 431242"/>
                    <a:gd name="connsiteY4" fmla="*/ 682 h 289061"/>
                    <a:gd name="connsiteX5" fmla="*/ 336363 w 431242"/>
                    <a:gd name="connsiteY5" fmla="*/ 41716 h 289061"/>
                    <a:gd name="connsiteX6" fmla="*/ 254357 w 431242"/>
                    <a:gd name="connsiteY6" fmla="*/ 20059 h 289061"/>
                    <a:gd name="connsiteX7" fmla="*/ 203104 w 431242"/>
                    <a:gd name="connsiteY7" fmla="*/ 10940 h 289061"/>
                    <a:gd name="connsiteX8" fmla="*/ 63011 w 431242"/>
                    <a:gd name="connsiteY8" fmla="*/ 171658 h 289061"/>
                    <a:gd name="connsiteX9" fmla="*/ 37954 w 431242"/>
                    <a:gd name="connsiteY9" fmla="*/ 185336 h 289061"/>
                    <a:gd name="connsiteX10" fmla="*/ 1507 w 431242"/>
                    <a:gd name="connsiteY10" fmla="*/ 232070 h 289061"/>
                    <a:gd name="connsiteX11" fmla="*/ 32259 w 431242"/>
                    <a:gd name="connsiteY11" fmla="*/ 287922 h 289061"/>
                    <a:gd name="connsiteX12" fmla="*/ 32259 w 431242"/>
                    <a:gd name="connsiteY12" fmla="*/ 287922 h 289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31242" h="289061">
                      <a:moveTo>
                        <a:pt x="31120" y="289062"/>
                      </a:moveTo>
                      <a:lnTo>
                        <a:pt x="422924" y="176217"/>
                      </a:lnTo>
                      <a:cubicBezTo>
                        <a:pt x="422924" y="176217"/>
                        <a:pt x="435453" y="159120"/>
                        <a:pt x="429758" y="130624"/>
                      </a:cubicBezTo>
                      <a:cubicBezTo>
                        <a:pt x="424063" y="105547"/>
                        <a:pt x="381922" y="24618"/>
                        <a:pt x="370532" y="2962"/>
                      </a:cubicBezTo>
                      <a:cubicBezTo>
                        <a:pt x="369393" y="-458"/>
                        <a:pt x="364837" y="-458"/>
                        <a:pt x="362559" y="682"/>
                      </a:cubicBezTo>
                      <a:cubicBezTo>
                        <a:pt x="355725" y="6381"/>
                        <a:pt x="342058" y="18919"/>
                        <a:pt x="336363" y="41716"/>
                      </a:cubicBezTo>
                      <a:cubicBezTo>
                        <a:pt x="327251" y="74771"/>
                        <a:pt x="270303" y="41716"/>
                        <a:pt x="254357" y="20059"/>
                      </a:cubicBezTo>
                      <a:cubicBezTo>
                        <a:pt x="238412" y="-1598"/>
                        <a:pt x="203104" y="10940"/>
                        <a:pt x="203104" y="10940"/>
                      </a:cubicBezTo>
                      <a:lnTo>
                        <a:pt x="63011" y="171658"/>
                      </a:lnTo>
                      <a:lnTo>
                        <a:pt x="37954" y="185336"/>
                      </a:lnTo>
                      <a:cubicBezTo>
                        <a:pt x="19730" y="195595"/>
                        <a:pt x="6063" y="211552"/>
                        <a:pt x="1507" y="232070"/>
                      </a:cubicBezTo>
                      <a:cubicBezTo>
                        <a:pt x="-3049" y="251447"/>
                        <a:pt x="1507" y="278803"/>
                        <a:pt x="32259" y="287922"/>
                      </a:cubicBezTo>
                      <a:lnTo>
                        <a:pt x="32259" y="287922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Freeform 115">
                  <a:extLst>
                    <a:ext uri="{FF2B5EF4-FFF2-40B4-BE49-F238E27FC236}">
                      <a16:creationId xmlns:a16="http://schemas.microsoft.com/office/drawing/2014/main" id="{08517D34-1AA6-F31A-BB6A-8EDA94F7E710}"/>
                    </a:ext>
                  </a:extLst>
                </p:cNvPr>
                <p:cNvSpPr/>
                <p:nvPr/>
              </p:nvSpPr>
              <p:spPr>
                <a:xfrm>
                  <a:off x="5029975" y="4930754"/>
                  <a:ext cx="215264" cy="316652"/>
                </a:xfrm>
                <a:custGeom>
                  <a:avLst/>
                  <a:gdLst>
                    <a:gd name="connsiteX0" fmla="*/ 0 w 215264"/>
                    <a:gd name="connsiteY0" fmla="*/ 98942 h 316652"/>
                    <a:gd name="connsiteX1" fmla="*/ 33030 w 215264"/>
                    <a:gd name="connsiteY1" fmla="*/ 198109 h 316652"/>
                    <a:gd name="connsiteX2" fmla="*/ 33030 w 215264"/>
                    <a:gd name="connsiteY2" fmla="*/ 203808 h 316652"/>
                    <a:gd name="connsiteX3" fmla="*/ 15945 w 215264"/>
                    <a:gd name="connsiteY3" fmla="*/ 316652 h 316652"/>
                    <a:gd name="connsiteX4" fmla="*/ 215265 w 215264"/>
                    <a:gd name="connsiteY4" fmla="*/ 208367 h 316652"/>
                    <a:gd name="connsiteX5" fmla="*/ 202736 w 215264"/>
                    <a:gd name="connsiteY5" fmla="*/ 191270 h 316652"/>
                    <a:gd name="connsiteX6" fmla="*/ 205014 w 215264"/>
                    <a:gd name="connsiteY6" fmla="*/ 188990 h 316652"/>
                    <a:gd name="connsiteX7" fmla="*/ 137815 w 215264"/>
                    <a:gd name="connsiteY7" fmla="*/ 23713 h 316652"/>
                    <a:gd name="connsiteX8" fmla="*/ 0 w 215264"/>
                    <a:gd name="connsiteY8" fmla="*/ 98942 h 316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5264" h="316652">
                      <a:moveTo>
                        <a:pt x="0" y="98942"/>
                      </a:moveTo>
                      <a:cubicBezTo>
                        <a:pt x="0" y="98942"/>
                        <a:pt x="19363" y="149096"/>
                        <a:pt x="33030" y="198109"/>
                      </a:cubicBezTo>
                      <a:lnTo>
                        <a:pt x="33030" y="203808"/>
                      </a:lnTo>
                      <a:cubicBezTo>
                        <a:pt x="46698" y="281317"/>
                        <a:pt x="15945" y="316652"/>
                        <a:pt x="15945" y="316652"/>
                      </a:cubicBezTo>
                      <a:lnTo>
                        <a:pt x="215265" y="208367"/>
                      </a:lnTo>
                      <a:lnTo>
                        <a:pt x="202736" y="191270"/>
                      </a:lnTo>
                      <a:lnTo>
                        <a:pt x="205014" y="188990"/>
                      </a:lnTo>
                      <a:cubicBezTo>
                        <a:pt x="185651" y="174172"/>
                        <a:pt x="162872" y="95523"/>
                        <a:pt x="137815" y="23713"/>
                      </a:cubicBezTo>
                      <a:cubicBezTo>
                        <a:pt x="108202" y="-58356"/>
                        <a:pt x="0" y="98942"/>
                        <a:pt x="0" y="98942"/>
                      </a:cubicBez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B1FF58FC-1B8E-F1B4-0F5E-1688E796290A}"/>
                    </a:ext>
                  </a:extLst>
                </p:cNvPr>
                <p:cNvSpPr/>
                <p:nvPr/>
              </p:nvSpPr>
              <p:spPr>
                <a:xfrm>
                  <a:off x="4844324" y="5100936"/>
                  <a:ext cx="469287" cy="260453"/>
                </a:xfrm>
                <a:custGeom>
                  <a:avLst/>
                  <a:gdLst>
                    <a:gd name="connsiteX0" fmla="*/ 42142 w 469287"/>
                    <a:gd name="connsiteY0" fmla="*/ 260454 h 260453"/>
                    <a:gd name="connsiteX1" fmla="*/ 259684 w 469287"/>
                    <a:gd name="connsiteY1" fmla="*/ 257034 h 260453"/>
                    <a:gd name="connsiteX2" fmla="*/ 465837 w 469287"/>
                    <a:gd name="connsiteY2" fmla="*/ 162427 h 260453"/>
                    <a:gd name="connsiteX3" fmla="*/ 463559 w 469287"/>
                    <a:gd name="connsiteY3" fmla="*/ 115694 h 260453"/>
                    <a:gd name="connsiteX4" fmla="*/ 380415 w 469287"/>
                    <a:gd name="connsiteY4" fmla="*/ 1710 h 260453"/>
                    <a:gd name="connsiteX5" fmla="*/ 372442 w 469287"/>
                    <a:gd name="connsiteY5" fmla="*/ 1710 h 260453"/>
                    <a:gd name="connsiteX6" fmla="*/ 354218 w 469287"/>
                    <a:gd name="connsiteY6" fmla="*/ 47304 h 260453"/>
                    <a:gd name="connsiteX7" fmla="*/ 269935 w 469287"/>
                    <a:gd name="connsiteY7" fmla="*/ 42744 h 260453"/>
                    <a:gd name="connsiteX8" fmla="*/ 217542 w 469287"/>
                    <a:gd name="connsiteY8" fmla="*/ 43884 h 260453"/>
                    <a:gd name="connsiteX9" fmla="*/ 145788 w 469287"/>
                    <a:gd name="connsiteY9" fmla="*/ 129372 h 260453"/>
                    <a:gd name="connsiteX10" fmla="*/ 34169 w 469287"/>
                    <a:gd name="connsiteY10" fmla="*/ 163567 h 260453"/>
                    <a:gd name="connsiteX11" fmla="*/ 0 w 469287"/>
                    <a:gd name="connsiteY11" fmla="*/ 209161 h 260453"/>
                    <a:gd name="connsiteX12" fmla="*/ 41003 w 469287"/>
                    <a:gd name="connsiteY12" fmla="*/ 258174 h 260453"/>
                    <a:gd name="connsiteX13" fmla="*/ 41003 w 469287"/>
                    <a:gd name="connsiteY13" fmla="*/ 260454 h 260453"/>
                    <a:gd name="connsiteX14" fmla="*/ 41003 w 469287"/>
                    <a:gd name="connsiteY14" fmla="*/ 260454 h 260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69287" h="260453">
                      <a:moveTo>
                        <a:pt x="42142" y="260454"/>
                      </a:moveTo>
                      <a:lnTo>
                        <a:pt x="259684" y="257034"/>
                      </a:lnTo>
                      <a:lnTo>
                        <a:pt x="465837" y="162427"/>
                      </a:lnTo>
                      <a:cubicBezTo>
                        <a:pt x="465837" y="162427"/>
                        <a:pt x="474949" y="143050"/>
                        <a:pt x="463559" y="115694"/>
                      </a:cubicBezTo>
                      <a:cubicBezTo>
                        <a:pt x="453309" y="91757"/>
                        <a:pt x="396360" y="21087"/>
                        <a:pt x="380415" y="1710"/>
                      </a:cubicBezTo>
                      <a:cubicBezTo>
                        <a:pt x="378137" y="-570"/>
                        <a:pt x="374720" y="-570"/>
                        <a:pt x="372442" y="1710"/>
                      </a:cubicBezTo>
                      <a:cubicBezTo>
                        <a:pt x="366747" y="8549"/>
                        <a:pt x="356496" y="23367"/>
                        <a:pt x="354218" y="47304"/>
                      </a:cubicBezTo>
                      <a:cubicBezTo>
                        <a:pt x="351941" y="81499"/>
                        <a:pt x="289297" y="59842"/>
                        <a:pt x="269935" y="42744"/>
                      </a:cubicBezTo>
                      <a:cubicBezTo>
                        <a:pt x="250573" y="24507"/>
                        <a:pt x="217542" y="43884"/>
                        <a:pt x="217542" y="43884"/>
                      </a:cubicBezTo>
                      <a:lnTo>
                        <a:pt x="145788" y="129372"/>
                      </a:lnTo>
                      <a:cubicBezTo>
                        <a:pt x="145788" y="129372"/>
                        <a:pt x="53531" y="154449"/>
                        <a:pt x="34169" y="163567"/>
                      </a:cubicBezTo>
                      <a:cubicBezTo>
                        <a:pt x="14806" y="172686"/>
                        <a:pt x="1139" y="188644"/>
                        <a:pt x="0" y="209161"/>
                      </a:cubicBezTo>
                      <a:cubicBezTo>
                        <a:pt x="0" y="228538"/>
                        <a:pt x="7973" y="254755"/>
                        <a:pt x="41003" y="258174"/>
                      </a:cubicBezTo>
                      <a:lnTo>
                        <a:pt x="41003" y="260454"/>
                      </a:lnTo>
                      <a:lnTo>
                        <a:pt x="41003" y="260454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A6C6E7E5-CE56-75E4-F071-D3AF6366D417}"/>
                    </a:ext>
                  </a:extLst>
                </p:cNvPr>
                <p:cNvSpPr/>
                <p:nvPr/>
              </p:nvSpPr>
              <p:spPr>
                <a:xfrm>
                  <a:off x="3473008" y="3262762"/>
                  <a:ext cx="1751730" cy="1854701"/>
                </a:xfrm>
                <a:custGeom>
                  <a:avLst/>
                  <a:gdLst>
                    <a:gd name="connsiteX0" fmla="*/ 1260836 w 1751730"/>
                    <a:gd name="connsiteY0" fmla="*/ 35514 h 1854701"/>
                    <a:gd name="connsiteX1" fmla="*/ 1233501 w 1751730"/>
                    <a:gd name="connsiteY1" fmla="*/ 179 h 1854701"/>
                    <a:gd name="connsiteX2" fmla="*/ 813222 w 1751730"/>
                    <a:gd name="connsiteY2" fmla="*/ 19557 h 1854701"/>
                    <a:gd name="connsiteX3" fmla="*/ 712993 w 1751730"/>
                    <a:gd name="connsiteY3" fmla="*/ 2459 h 1854701"/>
                    <a:gd name="connsiteX4" fmla="*/ 703882 w 1751730"/>
                    <a:gd name="connsiteY4" fmla="*/ 25256 h 1854701"/>
                    <a:gd name="connsiteX5" fmla="*/ 694770 w 1751730"/>
                    <a:gd name="connsiteY5" fmla="*/ 25256 h 1854701"/>
                    <a:gd name="connsiteX6" fmla="*/ 0 w 1751730"/>
                    <a:gd name="connsiteY6" fmla="*/ 682945 h 1854701"/>
                    <a:gd name="connsiteX7" fmla="*/ 162872 w 1751730"/>
                    <a:gd name="connsiteY7" fmla="*/ 1497931 h 1854701"/>
                    <a:gd name="connsiteX8" fmla="*/ 371303 w 1751730"/>
                    <a:gd name="connsiteY8" fmla="*/ 1431820 h 1854701"/>
                    <a:gd name="connsiteX9" fmla="*/ 441919 w 1751730"/>
                    <a:gd name="connsiteY9" fmla="*/ 687504 h 1854701"/>
                    <a:gd name="connsiteX10" fmla="*/ 936231 w 1751730"/>
                    <a:gd name="connsiteY10" fmla="*/ 565541 h 1854701"/>
                    <a:gd name="connsiteX11" fmla="*/ 1517104 w 1751730"/>
                    <a:gd name="connsiteY11" fmla="*/ 1854702 h 1854701"/>
                    <a:gd name="connsiteX12" fmla="*/ 1751731 w 1751730"/>
                    <a:gd name="connsiteY12" fmla="*/ 1758955 h 1854701"/>
                    <a:gd name="connsiteX13" fmla="*/ 1513687 w 1751730"/>
                    <a:gd name="connsiteY13" fmla="*/ 595177 h 1854701"/>
                    <a:gd name="connsiteX14" fmla="*/ 1260836 w 1751730"/>
                    <a:gd name="connsiteY14" fmla="*/ 36654 h 1854701"/>
                    <a:gd name="connsiteX15" fmla="*/ 1260836 w 1751730"/>
                    <a:gd name="connsiteY15" fmla="*/ 36654 h 1854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51730" h="1854701">
                      <a:moveTo>
                        <a:pt x="1260836" y="35514"/>
                      </a:moveTo>
                      <a:cubicBezTo>
                        <a:pt x="1251725" y="22976"/>
                        <a:pt x="1242613" y="11578"/>
                        <a:pt x="1233501" y="179"/>
                      </a:cubicBezTo>
                      <a:lnTo>
                        <a:pt x="813222" y="19557"/>
                      </a:lnTo>
                      <a:cubicBezTo>
                        <a:pt x="783609" y="3599"/>
                        <a:pt x="750579" y="-4380"/>
                        <a:pt x="712993" y="2459"/>
                      </a:cubicBezTo>
                      <a:lnTo>
                        <a:pt x="703882" y="25256"/>
                      </a:lnTo>
                      <a:lnTo>
                        <a:pt x="694770" y="25256"/>
                      </a:lnTo>
                      <a:cubicBezTo>
                        <a:pt x="677685" y="61731"/>
                        <a:pt x="0" y="331873"/>
                        <a:pt x="0" y="682945"/>
                      </a:cubicBezTo>
                      <a:lnTo>
                        <a:pt x="162872" y="1497931"/>
                      </a:lnTo>
                      <a:lnTo>
                        <a:pt x="371303" y="1431820"/>
                      </a:lnTo>
                      <a:cubicBezTo>
                        <a:pt x="371303" y="1431820"/>
                        <a:pt x="432807" y="782111"/>
                        <a:pt x="441919" y="687504"/>
                      </a:cubicBezTo>
                      <a:lnTo>
                        <a:pt x="936231" y="565541"/>
                      </a:lnTo>
                      <a:lnTo>
                        <a:pt x="1517104" y="1854702"/>
                      </a:lnTo>
                      <a:lnTo>
                        <a:pt x="1751731" y="1758955"/>
                      </a:lnTo>
                      <a:cubicBezTo>
                        <a:pt x="1751731" y="1758955"/>
                        <a:pt x="1559246" y="1041995"/>
                        <a:pt x="1513687" y="595177"/>
                      </a:cubicBezTo>
                      <a:cubicBezTo>
                        <a:pt x="1487491" y="342132"/>
                        <a:pt x="1330313" y="108464"/>
                        <a:pt x="1260836" y="36654"/>
                      </a:cubicBezTo>
                      <a:lnTo>
                        <a:pt x="1260836" y="36654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eform 118">
                  <a:extLst>
                    <a:ext uri="{FF2B5EF4-FFF2-40B4-BE49-F238E27FC236}">
                      <a16:creationId xmlns:a16="http://schemas.microsoft.com/office/drawing/2014/main" id="{DF385082-6E59-E5C9-CFCB-5313E9274F53}"/>
                    </a:ext>
                  </a:extLst>
                </p:cNvPr>
                <p:cNvSpPr/>
                <p:nvPr/>
              </p:nvSpPr>
              <p:spPr>
                <a:xfrm>
                  <a:off x="4174833" y="1848089"/>
                  <a:ext cx="433867" cy="546293"/>
                </a:xfrm>
                <a:custGeom>
                  <a:avLst/>
                  <a:gdLst>
                    <a:gd name="connsiteX0" fmla="*/ 423474 w 433867"/>
                    <a:gd name="connsiteY0" fmla="*/ 244235 h 546293"/>
                    <a:gd name="connsiteX1" fmla="*/ 336912 w 433867"/>
                    <a:gd name="connsiteY1" fmla="*/ 27665 h 546293"/>
                    <a:gd name="connsiteX2" fmla="*/ 94312 w 433867"/>
                    <a:gd name="connsiteY2" fmla="*/ 55022 h 546293"/>
                    <a:gd name="connsiteX3" fmla="*/ 45337 w 433867"/>
                    <a:gd name="connsiteY3" fmla="*/ 181544 h 546293"/>
                    <a:gd name="connsiteX4" fmla="*/ 4334 w 433867"/>
                    <a:gd name="connsiteY4" fmla="*/ 245375 h 546293"/>
                    <a:gd name="connsiteX5" fmla="*/ 917 w 433867"/>
                    <a:gd name="connsiteY5" fmla="*/ 265892 h 546293"/>
                    <a:gd name="connsiteX6" fmla="*/ 28252 w 433867"/>
                    <a:gd name="connsiteY6" fmla="*/ 286410 h 546293"/>
                    <a:gd name="connsiteX7" fmla="*/ 8890 w 433867"/>
                    <a:gd name="connsiteY7" fmla="*/ 305787 h 546293"/>
                    <a:gd name="connsiteX8" fmla="*/ 21418 w 433867"/>
                    <a:gd name="connsiteY8" fmla="*/ 330863 h 546293"/>
                    <a:gd name="connsiteX9" fmla="*/ 32808 w 433867"/>
                    <a:gd name="connsiteY9" fmla="*/ 341122 h 546293"/>
                    <a:gd name="connsiteX10" fmla="*/ 20280 w 433867"/>
                    <a:gd name="connsiteY10" fmla="*/ 371898 h 546293"/>
                    <a:gd name="connsiteX11" fmla="*/ 44198 w 433867"/>
                    <a:gd name="connsiteY11" fmla="*/ 378737 h 546293"/>
                    <a:gd name="connsiteX12" fmla="*/ 49892 w 433867"/>
                    <a:gd name="connsiteY12" fmla="*/ 419771 h 546293"/>
                    <a:gd name="connsiteX13" fmla="*/ 69255 w 433867"/>
                    <a:gd name="connsiteY13" fmla="*/ 428890 h 546293"/>
                    <a:gd name="connsiteX14" fmla="*/ 106841 w 433867"/>
                    <a:gd name="connsiteY14" fmla="*/ 425470 h 546293"/>
                    <a:gd name="connsiteX15" fmla="*/ 167206 w 433867"/>
                    <a:gd name="connsiteY15" fmla="*/ 401534 h 546293"/>
                    <a:gd name="connsiteX16" fmla="*/ 188847 w 433867"/>
                    <a:gd name="connsiteY16" fmla="*/ 546293 h 546293"/>
                    <a:gd name="connsiteX17" fmla="*/ 387027 w 433867"/>
                    <a:gd name="connsiteY17" fmla="*/ 471064 h 546293"/>
                    <a:gd name="connsiteX18" fmla="*/ 335773 w 433867"/>
                    <a:gd name="connsiteY18" fmla="*/ 355940 h 546293"/>
                    <a:gd name="connsiteX19" fmla="*/ 422335 w 433867"/>
                    <a:gd name="connsiteY19" fmla="*/ 243096 h 546293"/>
                    <a:gd name="connsiteX20" fmla="*/ 423474 w 433867"/>
                    <a:gd name="connsiteY20" fmla="*/ 243096 h 546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33867" h="546293">
                      <a:moveTo>
                        <a:pt x="423474" y="244235"/>
                      </a:moveTo>
                      <a:cubicBezTo>
                        <a:pt x="462198" y="147349"/>
                        <a:pt x="383610" y="60721"/>
                        <a:pt x="336912" y="27665"/>
                      </a:cubicBezTo>
                      <a:cubicBezTo>
                        <a:pt x="274269" y="-16788"/>
                        <a:pt x="161511" y="-7670"/>
                        <a:pt x="94312" y="55022"/>
                      </a:cubicBezTo>
                      <a:cubicBezTo>
                        <a:pt x="35086" y="110874"/>
                        <a:pt x="45337" y="166726"/>
                        <a:pt x="45337" y="181544"/>
                      </a:cubicBezTo>
                      <a:cubicBezTo>
                        <a:pt x="45337" y="211180"/>
                        <a:pt x="14585" y="237396"/>
                        <a:pt x="4334" y="245375"/>
                      </a:cubicBezTo>
                      <a:cubicBezTo>
                        <a:pt x="917" y="248795"/>
                        <a:pt x="-1361" y="261333"/>
                        <a:pt x="917" y="265892"/>
                      </a:cubicBezTo>
                      <a:cubicBezTo>
                        <a:pt x="8890" y="277291"/>
                        <a:pt x="31669" y="278431"/>
                        <a:pt x="28252" y="286410"/>
                      </a:cubicBezTo>
                      <a:cubicBezTo>
                        <a:pt x="28252" y="297808"/>
                        <a:pt x="8890" y="305787"/>
                        <a:pt x="8890" y="305787"/>
                      </a:cubicBezTo>
                      <a:cubicBezTo>
                        <a:pt x="8890" y="305787"/>
                        <a:pt x="-222" y="324024"/>
                        <a:pt x="21418" y="330863"/>
                      </a:cubicBezTo>
                      <a:cubicBezTo>
                        <a:pt x="71533" y="345681"/>
                        <a:pt x="32808" y="341122"/>
                        <a:pt x="32808" y="341122"/>
                      </a:cubicBezTo>
                      <a:cubicBezTo>
                        <a:pt x="11168" y="352520"/>
                        <a:pt x="20280" y="371898"/>
                        <a:pt x="20280" y="371898"/>
                      </a:cubicBezTo>
                      <a:lnTo>
                        <a:pt x="44198" y="378737"/>
                      </a:lnTo>
                      <a:cubicBezTo>
                        <a:pt x="44198" y="394695"/>
                        <a:pt x="40781" y="410652"/>
                        <a:pt x="49892" y="419771"/>
                      </a:cubicBezTo>
                      <a:cubicBezTo>
                        <a:pt x="55587" y="424330"/>
                        <a:pt x="62421" y="427750"/>
                        <a:pt x="69255" y="428890"/>
                      </a:cubicBezTo>
                      <a:cubicBezTo>
                        <a:pt x="81784" y="431169"/>
                        <a:pt x="95451" y="428890"/>
                        <a:pt x="106841" y="425470"/>
                      </a:cubicBezTo>
                      <a:lnTo>
                        <a:pt x="167206" y="401534"/>
                      </a:lnTo>
                      <a:cubicBezTo>
                        <a:pt x="176318" y="463085"/>
                        <a:pt x="188847" y="546293"/>
                        <a:pt x="188847" y="546293"/>
                      </a:cubicBezTo>
                      <a:lnTo>
                        <a:pt x="387027" y="471064"/>
                      </a:lnTo>
                      <a:cubicBezTo>
                        <a:pt x="363108" y="432309"/>
                        <a:pt x="347163" y="392415"/>
                        <a:pt x="335773" y="355940"/>
                      </a:cubicBezTo>
                      <a:cubicBezTo>
                        <a:pt x="359691" y="338842"/>
                        <a:pt x="397277" y="305787"/>
                        <a:pt x="422335" y="243096"/>
                      </a:cubicBezTo>
                      <a:lnTo>
                        <a:pt x="423474" y="243096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FB139E05-5E14-5577-84DB-172B9AE0ECDA}"/>
                    </a:ext>
                  </a:extLst>
                </p:cNvPr>
                <p:cNvSpPr/>
                <p:nvPr/>
              </p:nvSpPr>
              <p:spPr>
                <a:xfrm>
                  <a:off x="4282813" y="1813987"/>
                  <a:ext cx="608474" cy="389736"/>
                </a:xfrm>
                <a:custGeom>
                  <a:avLst/>
                  <a:gdLst>
                    <a:gd name="connsiteX0" fmla="*/ 591124 w 608474"/>
                    <a:gd name="connsiteY0" fmla="*/ 171192 h 389736"/>
                    <a:gd name="connsiteX1" fmla="*/ 607069 w 608474"/>
                    <a:gd name="connsiteY1" fmla="*/ 129018 h 389736"/>
                    <a:gd name="connsiteX2" fmla="*/ 576317 w 608474"/>
                    <a:gd name="connsiteY2" fmla="*/ 98242 h 389736"/>
                    <a:gd name="connsiteX3" fmla="*/ 576317 w 608474"/>
                    <a:gd name="connsiteY3" fmla="*/ 84564 h 389736"/>
                    <a:gd name="connsiteX4" fmla="*/ 513674 w 608474"/>
                    <a:gd name="connsiteY4" fmla="*/ 30992 h 389736"/>
                    <a:gd name="connsiteX5" fmla="*/ 487478 w 608474"/>
                    <a:gd name="connsiteY5" fmla="*/ 38971 h 389736"/>
                    <a:gd name="connsiteX6" fmla="*/ 428252 w 608474"/>
                    <a:gd name="connsiteY6" fmla="*/ 216 h 389736"/>
                    <a:gd name="connsiteX7" fmla="*/ 378137 w 608474"/>
                    <a:gd name="connsiteY7" fmla="*/ 40110 h 389736"/>
                    <a:gd name="connsiteX8" fmla="*/ 357635 w 608474"/>
                    <a:gd name="connsiteY8" fmla="*/ 40110 h 389736"/>
                    <a:gd name="connsiteX9" fmla="*/ 326884 w 608474"/>
                    <a:gd name="connsiteY9" fmla="*/ 89124 h 389736"/>
                    <a:gd name="connsiteX10" fmla="*/ 333717 w 608474"/>
                    <a:gd name="connsiteY10" fmla="*/ 103942 h 389736"/>
                    <a:gd name="connsiteX11" fmla="*/ 322328 w 608474"/>
                    <a:gd name="connsiteY11" fmla="*/ 110781 h 389736"/>
                    <a:gd name="connsiteX12" fmla="*/ 283603 w 608474"/>
                    <a:gd name="connsiteY12" fmla="*/ 54928 h 389736"/>
                    <a:gd name="connsiteX13" fmla="*/ 0 w 608474"/>
                    <a:gd name="connsiteY13" fmla="*/ 74306 h 389736"/>
                    <a:gd name="connsiteX14" fmla="*/ 36447 w 608474"/>
                    <a:gd name="connsiteY14" fmla="*/ 107361 h 389736"/>
                    <a:gd name="connsiteX15" fmla="*/ 72894 w 608474"/>
                    <a:gd name="connsiteY15" fmla="*/ 155235 h 389736"/>
                    <a:gd name="connsiteX16" fmla="*/ 95673 w 608474"/>
                    <a:gd name="connsiteY16" fmla="*/ 211087 h 389736"/>
                    <a:gd name="connsiteX17" fmla="*/ 117314 w 608474"/>
                    <a:gd name="connsiteY17" fmla="*/ 281757 h 389736"/>
                    <a:gd name="connsiteX18" fmla="*/ 187929 w 608474"/>
                    <a:gd name="connsiteY18" fmla="*/ 245282 h 389736"/>
                    <a:gd name="connsiteX19" fmla="*/ 187929 w 608474"/>
                    <a:gd name="connsiteY19" fmla="*/ 364965 h 389736"/>
                    <a:gd name="connsiteX20" fmla="*/ 231210 w 608474"/>
                    <a:gd name="connsiteY20" fmla="*/ 387762 h 389736"/>
                    <a:gd name="connsiteX21" fmla="*/ 294992 w 608474"/>
                    <a:gd name="connsiteY21" fmla="*/ 323931 h 389736"/>
                    <a:gd name="connsiteX22" fmla="*/ 340551 w 608474"/>
                    <a:gd name="connsiteY22" fmla="*/ 214506 h 389736"/>
                    <a:gd name="connsiteX23" fmla="*/ 374720 w 608474"/>
                    <a:gd name="connsiteY23" fmla="*/ 224765 h 389736"/>
                    <a:gd name="connsiteX24" fmla="*/ 378137 w 608474"/>
                    <a:gd name="connsiteY24" fmla="*/ 224765 h 389736"/>
                    <a:gd name="connsiteX25" fmla="*/ 376998 w 608474"/>
                    <a:gd name="connsiteY25" fmla="*/ 246422 h 389736"/>
                    <a:gd name="connsiteX26" fmla="*/ 421418 w 608474"/>
                    <a:gd name="connsiteY26" fmla="*/ 273778 h 389736"/>
                    <a:gd name="connsiteX27" fmla="*/ 435085 w 608474"/>
                    <a:gd name="connsiteY27" fmla="*/ 268079 h 389736"/>
                    <a:gd name="connsiteX28" fmla="*/ 481783 w 608474"/>
                    <a:gd name="connsiteY28" fmla="*/ 287456 h 389736"/>
                    <a:gd name="connsiteX29" fmla="*/ 515952 w 608474"/>
                    <a:gd name="connsiteY29" fmla="*/ 240723 h 389736"/>
                    <a:gd name="connsiteX30" fmla="*/ 564928 w 608474"/>
                    <a:gd name="connsiteY30" fmla="*/ 257820 h 389736"/>
                    <a:gd name="connsiteX31" fmla="*/ 602513 w 608474"/>
                    <a:gd name="connsiteY31" fmla="*/ 198548 h 389736"/>
                    <a:gd name="connsiteX32" fmla="*/ 587707 w 608474"/>
                    <a:gd name="connsiteY32" fmla="*/ 173472 h 389736"/>
                    <a:gd name="connsiteX33" fmla="*/ 591124 w 608474"/>
                    <a:gd name="connsiteY33" fmla="*/ 171192 h 389736"/>
                    <a:gd name="connsiteX34" fmla="*/ 591124 w 608474"/>
                    <a:gd name="connsiteY34" fmla="*/ 171192 h 389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8474" h="389736">
                      <a:moveTo>
                        <a:pt x="591124" y="171192"/>
                      </a:moveTo>
                      <a:cubicBezTo>
                        <a:pt x="604791" y="162074"/>
                        <a:pt x="611625" y="144976"/>
                        <a:pt x="607069" y="129018"/>
                      </a:cubicBezTo>
                      <a:cubicBezTo>
                        <a:pt x="603652" y="113060"/>
                        <a:pt x="591124" y="101662"/>
                        <a:pt x="576317" y="98242"/>
                      </a:cubicBezTo>
                      <a:lnTo>
                        <a:pt x="576317" y="84564"/>
                      </a:lnTo>
                      <a:cubicBezTo>
                        <a:pt x="574039" y="52649"/>
                        <a:pt x="545565" y="28712"/>
                        <a:pt x="513674" y="30992"/>
                      </a:cubicBezTo>
                      <a:cubicBezTo>
                        <a:pt x="504562" y="30992"/>
                        <a:pt x="495450" y="34411"/>
                        <a:pt x="487478" y="38971"/>
                      </a:cubicBezTo>
                      <a:cubicBezTo>
                        <a:pt x="479505" y="13894"/>
                        <a:pt x="455587" y="-2064"/>
                        <a:pt x="428252" y="216"/>
                      </a:cubicBezTo>
                      <a:cubicBezTo>
                        <a:pt x="404333" y="2496"/>
                        <a:pt x="384971" y="18454"/>
                        <a:pt x="378137" y="40110"/>
                      </a:cubicBezTo>
                      <a:cubicBezTo>
                        <a:pt x="371303" y="37831"/>
                        <a:pt x="364469" y="37831"/>
                        <a:pt x="357635" y="40110"/>
                      </a:cubicBezTo>
                      <a:cubicBezTo>
                        <a:pt x="335995" y="44670"/>
                        <a:pt x="322328" y="67467"/>
                        <a:pt x="326884" y="89124"/>
                      </a:cubicBezTo>
                      <a:cubicBezTo>
                        <a:pt x="328023" y="94823"/>
                        <a:pt x="330300" y="99382"/>
                        <a:pt x="333717" y="103942"/>
                      </a:cubicBezTo>
                      <a:cubicBezTo>
                        <a:pt x="329161" y="106221"/>
                        <a:pt x="325745" y="108501"/>
                        <a:pt x="322328" y="110781"/>
                      </a:cubicBezTo>
                      <a:cubicBezTo>
                        <a:pt x="313216" y="92543"/>
                        <a:pt x="300687" y="74306"/>
                        <a:pt x="283603" y="54928"/>
                      </a:cubicBezTo>
                      <a:cubicBezTo>
                        <a:pt x="209570" y="-27140"/>
                        <a:pt x="6834" y="27572"/>
                        <a:pt x="0" y="74306"/>
                      </a:cubicBezTo>
                      <a:cubicBezTo>
                        <a:pt x="0" y="74306"/>
                        <a:pt x="22779" y="78865"/>
                        <a:pt x="36447" y="107361"/>
                      </a:cubicBezTo>
                      <a:cubicBezTo>
                        <a:pt x="52393" y="140417"/>
                        <a:pt x="63782" y="149535"/>
                        <a:pt x="72894" y="155235"/>
                      </a:cubicBezTo>
                      <a:cubicBezTo>
                        <a:pt x="89978" y="164353"/>
                        <a:pt x="100229" y="190570"/>
                        <a:pt x="95673" y="211087"/>
                      </a:cubicBezTo>
                      <a:cubicBezTo>
                        <a:pt x="85422" y="260100"/>
                        <a:pt x="117314" y="281757"/>
                        <a:pt x="117314" y="281757"/>
                      </a:cubicBezTo>
                      <a:cubicBezTo>
                        <a:pt x="117314" y="281757"/>
                        <a:pt x="148066" y="229324"/>
                        <a:pt x="187929" y="245282"/>
                      </a:cubicBezTo>
                      <a:cubicBezTo>
                        <a:pt x="264240" y="276058"/>
                        <a:pt x="187929" y="364965"/>
                        <a:pt x="187929" y="364965"/>
                      </a:cubicBezTo>
                      <a:cubicBezTo>
                        <a:pt x="187929" y="364965"/>
                        <a:pt x="203875" y="398021"/>
                        <a:pt x="231210" y="387762"/>
                      </a:cubicBezTo>
                      <a:cubicBezTo>
                        <a:pt x="240322" y="384343"/>
                        <a:pt x="277908" y="350147"/>
                        <a:pt x="294992" y="323931"/>
                      </a:cubicBezTo>
                      <a:cubicBezTo>
                        <a:pt x="307521" y="303414"/>
                        <a:pt x="334856" y="264659"/>
                        <a:pt x="340551" y="214506"/>
                      </a:cubicBezTo>
                      <a:cubicBezTo>
                        <a:pt x="349663" y="223625"/>
                        <a:pt x="362192" y="227045"/>
                        <a:pt x="374720" y="224765"/>
                      </a:cubicBezTo>
                      <a:lnTo>
                        <a:pt x="378137" y="224765"/>
                      </a:lnTo>
                      <a:cubicBezTo>
                        <a:pt x="375859" y="231604"/>
                        <a:pt x="374720" y="238443"/>
                        <a:pt x="376998" y="246422"/>
                      </a:cubicBezTo>
                      <a:cubicBezTo>
                        <a:pt x="381554" y="266939"/>
                        <a:pt x="402055" y="278337"/>
                        <a:pt x="421418" y="273778"/>
                      </a:cubicBezTo>
                      <a:cubicBezTo>
                        <a:pt x="425973" y="273778"/>
                        <a:pt x="430530" y="270359"/>
                        <a:pt x="435085" y="268079"/>
                      </a:cubicBezTo>
                      <a:cubicBezTo>
                        <a:pt x="445336" y="282897"/>
                        <a:pt x="463560" y="292016"/>
                        <a:pt x="481783" y="287456"/>
                      </a:cubicBezTo>
                      <a:cubicBezTo>
                        <a:pt x="503423" y="282897"/>
                        <a:pt x="517091" y="262380"/>
                        <a:pt x="515952" y="240723"/>
                      </a:cubicBezTo>
                      <a:cubicBezTo>
                        <a:pt x="527342" y="254401"/>
                        <a:pt x="546704" y="262380"/>
                        <a:pt x="564928" y="257820"/>
                      </a:cubicBezTo>
                      <a:cubicBezTo>
                        <a:pt x="591124" y="252121"/>
                        <a:pt x="608208" y="224765"/>
                        <a:pt x="602513" y="198548"/>
                      </a:cubicBezTo>
                      <a:cubicBezTo>
                        <a:pt x="600236" y="188290"/>
                        <a:pt x="594541" y="180311"/>
                        <a:pt x="587707" y="173472"/>
                      </a:cubicBezTo>
                      <a:lnTo>
                        <a:pt x="591124" y="171192"/>
                      </a:lnTo>
                      <a:lnTo>
                        <a:pt x="591124" y="171192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581DEC05-1E94-11C3-7060-8DF6E7FC8C28}"/>
                    </a:ext>
                  </a:extLst>
                </p:cNvPr>
                <p:cNvSpPr/>
                <p:nvPr/>
              </p:nvSpPr>
              <p:spPr>
                <a:xfrm>
                  <a:off x="5001501" y="3123881"/>
                  <a:ext cx="214873" cy="348915"/>
                </a:xfrm>
                <a:custGeom>
                  <a:avLst/>
                  <a:gdLst>
                    <a:gd name="connsiteX0" fmla="*/ 125286 w 214873"/>
                    <a:gd name="connsiteY0" fmla="*/ 1140 h 348915"/>
                    <a:gd name="connsiteX1" fmla="*/ 116175 w 214873"/>
                    <a:gd name="connsiteY1" fmla="*/ 34195 h 348915"/>
                    <a:gd name="connsiteX2" fmla="*/ 113897 w 214873"/>
                    <a:gd name="connsiteY2" fmla="*/ 34195 h 348915"/>
                    <a:gd name="connsiteX3" fmla="*/ 43281 w 214873"/>
                    <a:gd name="connsiteY3" fmla="*/ 126522 h 348915"/>
                    <a:gd name="connsiteX4" fmla="*/ 26196 w 214873"/>
                    <a:gd name="connsiteY4" fmla="*/ 160718 h 348915"/>
                    <a:gd name="connsiteX5" fmla="*/ 0 w 214873"/>
                    <a:gd name="connsiteY5" fmla="*/ 233668 h 348915"/>
                    <a:gd name="connsiteX6" fmla="*/ 45559 w 214873"/>
                    <a:gd name="connsiteY6" fmla="*/ 205172 h 348915"/>
                    <a:gd name="connsiteX7" fmla="*/ 66060 w 214873"/>
                    <a:gd name="connsiteY7" fmla="*/ 173256 h 348915"/>
                    <a:gd name="connsiteX8" fmla="*/ 71755 w 214873"/>
                    <a:gd name="connsiteY8" fmla="*/ 204032 h 348915"/>
                    <a:gd name="connsiteX9" fmla="*/ 15945 w 214873"/>
                    <a:gd name="connsiteY9" fmla="*/ 304338 h 348915"/>
                    <a:gd name="connsiteX10" fmla="*/ 41003 w 214873"/>
                    <a:gd name="connsiteY10" fmla="*/ 316876 h 348915"/>
                    <a:gd name="connsiteX11" fmla="*/ 104785 w 214873"/>
                    <a:gd name="connsiteY11" fmla="*/ 223409 h 348915"/>
                    <a:gd name="connsiteX12" fmla="*/ 54670 w 214873"/>
                    <a:gd name="connsiteY12" fmla="*/ 311177 h 348915"/>
                    <a:gd name="connsiteX13" fmla="*/ 70616 w 214873"/>
                    <a:gd name="connsiteY13" fmla="*/ 347652 h 348915"/>
                    <a:gd name="connsiteX14" fmla="*/ 140093 w 214873"/>
                    <a:gd name="connsiteY14" fmla="*/ 226828 h 348915"/>
                    <a:gd name="connsiteX15" fmla="*/ 100229 w 214873"/>
                    <a:gd name="connsiteY15" fmla="*/ 318016 h 348915"/>
                    <a:gd name="connsiteX16" fmla="*/ 118452 w 214873"/>
                    <a:gd name="connsiteY16" fmla="*/ 338533 h 348915"/>
                    <a:gd name="connsiteX17" fmla="*/ 171984 w 214873"/>
                    <a:gd name="connsiteY17" fmla="*/ 230248 h 348915"/>
                    <a:gd name="connsiteX18" fmla="*/ 149205 w 214873"/>
                    <a:gd name="connsiteY18" fmla="*/ 304338 h 348915"/>
                    <a:gd name="connsiteX19" fmla="*/ 167428 w 214873"/>
                    <a:gd name="connsiteY19" fmla="*/ 316876 h 348915"/>
                    <a:gd name="connsiteX20" fmla="*/ 212987 w 214873"/>
                    <a:gd name="connsiteY20" fmla="*/ 214290 h 348915"/>
                    <a:gd name="connsiteX21" fmla="*/ 208431 w 214873"/>
                    <a:gd name="connsiteY21" fmla="*/ 102586 h 348915"/>
                    <a:gd name="connsiteX22" fmla="*/ 202736 w 214873"/>
                    <a:gd name="connsiteY22" fmla="*/ 44454 h 348915"/>
                    <a:gd name="connsiteX23" fmla="*/ 212987 w 214873"/>
                    <a:gd name="connsiteY23" fmla="*/ 19377 h 348915"/>
                    <a:gd name="connsiteX24" fmla="*/ 127564 w 214873"/>
                    <a:gd name="connsiteY24" fmla="*/ 0 h 348915"/>
                    <a:gd name="connsiteX25" fmla="*/ 125286 w 214873"/>
                    <a:gd name="connsiteY25" fmla="*/ 0 h 348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14873" h="348915">
                      <a:moveTo>
                        <a:pt x="125286" y="1140"/>
                      </a:moveTo>
                      <a:cubicBezTo>
                        <a:pt x="121870" y="13678"/>
                        <a:pt x="118452" y="25076"/>
                        <a:pt x="116175" y="34195"/>
                      </a:cubicBezTo>
                      <a:lnTo>
                        <a:pt x="113897" y="34195"/>
                      </a:lnTo>
                      <a:cubicBezTo>
                        <a:pt x="113897" y="34195"/>
                        <a:pt x="53532" y="112844"/>
                        <a:pt x="43281" y="126522"/>
                      </a:cubicBezTo>
                      <a:cubicBezTo>
                        <a:pt x="33030" y="140200"/>
                        <a:pt x="26196" y="160718"/>
                        <a:pt x="26196" y="160718"/>
                      </a:cubicBezTo>
                      <a:cubicBezTo>
                        <a:pt x="20501" y="188074"/>
                        <a:pt x="15945" y="216570"/>
                        <a:pt x="0" y="233668"/>
                      </a:cubicBezTo>
                      <a:cubicBezTo>
                        <a:pt x="0" y="233668"/>
                        <a:pt x="31891" y="246206"/>
                        <a:pt x="45559" y="205172"/>
                      </a:cubicBezTo>
                      <a:cubicBezTo>
                        <a:pt x="48975" y="196053"/>
                        <a:pt x="56948" y="183514"/>
                        <a:pt x="66060" y="173256"/>
                      </a:cubicBezTo>
                      <a:cubicBezTo>
                        <a:pt x="68338" y="185794"/>
                        <a:pt x="70616" y="199472"/>
                        <a:pt x="71755" y="204032"/>
                      </a:cubicBezTo>
                      <a:cubicBezTo>
                        <a:pt x="74033" y="219989"/>
                        <a:pt x="14806" y="291799"/>
                        <a:pt x="15945" y="304338"/>
                      </a:cubicBezTo>
                      <a:cubicBezTo>
                        <a:pt x="15945" y="314596"/>
                        <a:pt x="30752" y="325995"/>
                        <a:pt x="41003" y="316876"/>
                      </a:cubicBezTo>
                      <a:cubicBezTo>
                        <a:pt x="56948" y="303198"/>
                        <a:pt x="104785" y="223409"/>
                        <a:pt x="104785" y="223409"/>
                      </a:cubicBezTo>
                      <a:cubicBezTo>
                        <a:pt x="94534" y="249625"/>
                        <a:pt x="60365" y="298639"/>
                        <a:pt x="54670" y="311177"/>
                      </a:cubicBezTo>
                      <a:cubicBezTo>
                        <a:pt x="48975" y="323715"/>
                        <a:pt x="47837" y="355631"/>
                        <a:pt x="70616" y="347652"/>
                      </a:cubicBezTo>
                      <a:cubicBezTo>
                        <a:pt x="94534" y="339673"/>
                        <a:pt x="140093" y="226828"/>
                        <a:pt x="140093" y="226828"/>
                      </a:cubicBezTo>
                      <a:cubicBezTo>
                        <a:pt x="140093" y="226828"/>
                        <a:pt x="113897" y="284960"/>
                        <a:pt x="100229" y="318016"/>
                      </a:cubicBezTo>
                      <a:cubicBezTo>
                        <a:pt x="86562" y="351071"/>
                        <a:pt x="118452" y="338533"/>
                        <a:pt x="118452" y="338533"/>
                      </a:cubicBezTo>
                      <a:cubicBezTo>
                        <a:pt x="145788" y="313456"/>
                        <a:pt x="170845" y="237087"/>
                        <a:pt x="171984" y="230248"/>
                      </a:cubicBezTo>
                      <a:cubicBezTo>
                        <a:pt x="177679" y="243926"/>
                        <a:pt x="149205" y="304338"/>
                        <a:pt x="149205" y="304338"/>
                      </a:cubicBezTo>
                      <a:cubicBezTo>
                        <a:pt x="149205" y="304338"/>
                        <a:pt x="149205" y="324855"/>
                        <a:pt x="167428" y="316876"/>
                      </a:cubicBezTo>
                      <a:cubicBezTo>
                        <a:pt x="189069" y="306617"/>
                        <a:pt x="208431" y="248485"/>
                        <a:pt x="212987" y="214290"/>
                      </a:cubicBezTo>
                      <a:cubicBezTo>
                        <a:pt x="217543" y="180095"/>
                        <a:pt x="212987" y="152739"/>
                        <a:pt x="208431" y="102586"/>
                      </a:cubicBezTo>
                      <a:cubicBezTo>
                        <a:pt x="203875" y="52433"/>
                        <a:pt x="208431" y="54712"/>
                        <a:pt x="202736" y="44454"/>
                      </a:cubicBezTo>
                      <a:cubicBezTo>
                        <a:pt x="208431" y="29636"/>
                        <a:pt x="207292" y="34195"/>
                        <a:pt x="212987" y="19377"/>
                      </a:cubicBezTo>
                      <a:lnTo>
                        <a:pt x="127564" y="0"/>
                      </a:lnTo>
                      <a:lnTo>
                        <a:pt x="125286" y="0"/>
                      </a:lnTo>
                      <a:close/>
                    </a:path>
                  </a:pathLst>
                </a:custGeom>
                <a:solidFill>
                  <a:srgbClr val="9B5D2D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eform 121">
                  <a:extLst>
                    <a:ext uri="{FF2B5EF4-FFF2-40B4-BE49-F238E27FC236}">
                      <a16:creationId xmlns:a16="http://schemas.microsoft.com/office/drawing/2014/main" id="{476FFBD6-ED13-19C4-0EB0-C5CBF2E82480}"/>
                    </a:ext>
                  </a:extLst>
                </p:cNvPr>
                <p:cNvSpPr/>
                <p:nvPr/>
              </p:nvSpPr>
              <p:spPr>
                <a:xfrm>
                  <a:off x="3526540" y="2232934"/>
                  <a:ext cx="1815592" cy="1059644"/>
                </a:xfrm>
                <a:custGeom>
                  <a:avLst/>
                  <a:gdLst>
                    <a:gd name="connsiteX0" fmla="*/ 1690226 w 1815592"/>
                    <a:gd name="connsiteY0" fmla="*/ 446409 h 1059644"/>
                    <a:gd name="connsiteX1" fmla="*/ 1272226 w 1815592"/>
                    <a:gd name="connsiteY1" fmla="*/ 207043 h 1059644"/>
                    <a:gd name="connsiteX2" fmla="*/ 1232362 w 1815592"/>
                    <a:gd name="connsiteY2" fmla="*/ 193364 h 1059644"/>
                    <a:gd name="connsiteX3" fmla="*/ 1216416 w 1815592"/>
                    <a:gd name="connsiteY3" fmla="*/ 18969 h 1059644"/>
                    <a:gd name="connsiteX4" fmla="*/ 1216416 w 1815592"/>
                    <a:gd name="connsiteY4" fmla="*/ 18969 h 1059644"/>
                    <a:gd name="connsiteX5" fmla="*/ 888394 w 1815592"/>
                    <a:gd name="connsiteY5" fmla="*/ 24668 h 1059644"/>
                    <a:gd name="connsiteX6" fmla="*/ 838280 w 1815592"/>
                    <a:gd name="connsiteY6" fmla="*/ 153470 h 1059644"/>
                    <a:gd name="connsiteX7" fmla="*/ 820056 w 1815592"/>
                    <a:gd name="connsiteY7" fmla="*/ 38346 h 1059644"/>
                    <a:gd name="connsiteX8" fmla="*/ 740328 w 1815592"/>
                    <a:gd name="connsiteY8" fmla="*/ 144351 h 1059644"/>
                    <a:gd name="connsiteX9" fmla="*/ 748301 w 1815592"/>
                    <a:gd name="connsiteY9" fmla="*/ 162589 h 1059644"/>
                    <a:gd name="connsiteX10" fmla="*/ 643516 w 1815592"/>
                    <a:gd name="connsiteY10" fmla="*/ 188805 h 1059644"/>
                    <a:gd name="connsiteX11" fmla="*/ 602513 w 1815592"/>
                    <a:gd name="connsiteY11" fmla="*/ 201343 h 1059644"/>
                    <a:gd name="connsiteX12" fmla="*/ 515952 w 1815592"/>
                    <a:gd name="connsiteY12" fmla="*/ 287971 h 1059644"/>
                    <a:gd name="connsiteX13" fmla="*/ 448753 w 1815592"/>
                    <a:gd name="connsiteY13" fmla="*/ 486304 h 1059644"/>
                    <a:gd name="connsiteX14" fmla="*/ 395222 w 1815592"/>
                    <a:gd name="connsiteY14" fmla="*/ 689196 h 1059644"/>
                    <a:gd name="connsiteX15" fmla="*/ 80867 w 1815592"/>
                    <a:gd name="connsiteY15" fmla="*/ 373459 h 1059644"/>
                    <a:gd name="connsiteX16" fmla="*/ 0 w 1815592"/>
                    <a:gd name="connsiteY16" fmla="*/ 477185 h 1059644"/>
                    <a:gd name="connsiteX17" fmla="*/ 230071 w 1815592"/>
                    <a:gd name="connsiteY17" fmla="*/ 839655 h 1059644"/>
                    <a:gd name="connsiteX18" fmla="*/ 313216 w 1815592"/>
                    <a:gd name="connsiteY18" fmla="*/ 931982 h 1059644"/>
                    <a:gd name="connsiteX19" fmla="*/ 364469 w 1815592"/>
                    <a:gd name="connsiteY19" fmla="*/ 973016 h 1059644"/>
                    <a:gd name="connsiteX20" fmla="*/ 550121 w 1815592"/>
                    <a:gd name="connsiteY20" fmla="*/ 909185 h 1059644"/>
                    <a:gd name="connsiteX21" fmla="*/ 550121 w 1815592"/>
                    <a:gd name="connsiteY21" fmla="*/ 906905 h 1059644"/>
                    <a:gd name="connsiteX22" fmla="*/ 550121 w 1815592"/>
                    <a:gd name="connsiteY22" fmla="*/ 906905 h 1059644"/>
                    <a:gd name="connsiteX23" fmla="*/ 559233 w 1815592"/>
                    <a:gd name="connsiteY23" fmla="*/ 887528 h 1059644"/>
                    <a:gd name="connsiteX24" fmla="*/ 593402 w 1815592"/>
                    <a:gd name="connsiteY24" fmla="*/ 811159 h 1059644"/>
                    <a:gd name="connsiteX25" fmla="*/ 621876 w 1815592"/>
                    <a:gd name="connsiteY25" fmla="*/ 1059644 h 1059644"/>
                    <a:gd name="connsiteX26" fmla="*/ 1209583 w 1815592"/>
                    <a:gd name="connsiteY26" fmla="*/ 1059644 h 1059644"/>
                    <a:gd name="connsiteX27" fmla="*/ 1232362 w 1815592"/>
                    <a:gd name="connsiteY27" fmla="*/ 1039127 h 1059644"/>
                    <a:gd name="connsiteX28" fmla="*/ 1271087 w 1815592"/>
                    <a:gd name="connsiteY28" fmla="*/ 530758 h 1059644"/>
                    <a:gd name="connsiteX29" fmla="*/ 1582025 w 1815592"/>
                    <a:gd name="connsiteY29" fmla="*/ 656140 h 1059644"/>
                    <a:gd name="connsiteX30" fmla="*/ 1576330 w 1815592"/>
                    <a:gd name="connsiteY30" fmla="*/ 897787 h 1059644"/>
                    <a:gd name="connsiteX31" fmla="*/ 1710728 w 1815592"/>
                    <a:gd name="connsiteY31" fmla="*/ 944520 h 1059644"/>
                    <a:gd name="connsiteX32" fmla="*/ 1810957 w 1815592"/>
                    <a:gd name="connsiteY32" fmla="*/ 637903 h 1059644"/>
                    <a:gd name="connsiteX33" fmla="*/ 1796151 w 1815592"/>
                    <a:gd name="connsiteY33" fmla="*/ 530758 h 1059644"/>
                    <a:gd name="connsiteX34" fmla="*/ 1691365 w 1815592"/>
                    <a:gd name="connsiteY34" fmla="*/ 444130 h 1059644"/>
                    <a:gd name="connsiteX35" fmla="*/ 1691365 w 1815592"/>
                    <a:gd name="connsiteY35" fmla="*/ 446409 h 1059644"/>
                    <a:gd name="connsiteX36" fmla="*/ 1691365 w 1815592"/>
                    <a:gd name="connsiteY36" fmla="*/ 446409 h 1059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815592" h="1059644">
                      <a:moveTo>
                        <a:pt x="1690226" y="446409"/>
                      </a:moveTo>
                      <a:cubicBezTo>
                        <a:pt x="1657196" y="427032"/>
                        <a:pt x="1307534" y="216161"/>
                        <a:pt x="1272226" y="207043"/>
                      </a:cubicBezTo>
                      <a:lnTo>
                        <a:pt x="1232362" y="193364"/>
                      </a:lnTo>
                      <a:cubicBezTo>
                        <a:pt x="1339425" y="102177"/>
                        <a:pt x="1243752" y="29227"/>
                        <a:pt x="1216416" y="18969"/>
                      </a:cubicBezTo>
                      <a:lnTo>
                        <a:pt x="1216416" y="18969"/>
                      </a:lnTo>
                      <a:cubicBezTo>
                        <a:pt x="1169719" y="-2688"/>
                        <a:pt x="1007985" y="-11807"/>
                        <a:pt x="888394" y="24668"/>
                      </a:cubicBezTo>
                      <a:lnTo>
                        <a:pt x="838280" y="153470"/>
                      </a:lnTo>
                      <a:lnTo>
                        <a:pt x="820056" y="38346"/>
                      </a:lnTo>
                      <a:cubicBezTo>
                        <a:pt x="820056" y="38346"/>
                        <a:pt x="726661" y="82800"/>
                        <a:pt x="740328" y="144351"/>
                      </a:cubicBezTo>
                      <a:cubicBezTo>
                        <a:pt x="741467" y="151190"/>
                        <a:pt x="744884" y="156889"/>
                        <a:pt x="748301" y="162589"/>
                      </a:cubicBezTo>
                      <a:lnTo>
                        <a:pt x="643516" y="188805"/>
                      </a:lnTo>
                      <a:cubicBezTo>
                        <a:pt x="629848" y="191085"/>
                        <a:pt x="616181" y="195644"/>
                        <a:pt x="602513" y="201343"/>
                      </a:cubicBezTo>
                      <a:cubicBezTo>
                        <a:pt x="569483" y="215021"/>
                        <a:pt x="538731" y="241238"/>
                        <a:pt x="515952" y="287971"/>
                      </a:cubicBezTo>
                      <a:cubicBezTo>
                        <a:pt x="492034" y="336984"/>
                        <a:pt x="469254" y="408795"/>
                        <a:pt x="448753" y="486304"/>
                      </a:cubicBezTo>
                      <a:cubicBezTo>
                        <a:pt x="429391" y="553554"/>
                        <a:pt x="410028" y="625364"/>
                        <a:pt x="395222" y="689196"/>
                      </a:cubicBezTo>
                      <a:cubicBezTo>
                        <a:pt x="271074" y="546715"/>
                        <a:pt x="80867" y="373459"/>
                        <a:pt x="80867" y="373459"/>
                      </a:cubicBezTo>
                      <a:lnTo>
                        <a:pt x="0" y="477185"/>
                      </a:lnTo>
                      <a:lnTo>
                        <a:pt x="230071" y="839655"/>
                      </a:lnTo>
                      <a:cubicBezTo>
                        <a:pt x="252851" y="874990"/>
                        <a:pt x="280186" y="905765"/>
                        <a:pt x="313216" y="931982"/>
                      </a:cubicBezTo>
                      <a:lnTo>
                        <a:pt x="364469" y="973016"/>
                      </a:lnTo>
                      <a:cubicBezTo>
                        <a:pt x="476088" y="993533"/>
                        <a:pt x="519369" y="955919"/>
                        <a:pt x="550121" y="909185"/>
                      </a:cubicBezTo>
                      <a:lnTo>
                        <a:pt x="550121" y="906905"/>
                      </a:lnTo>
                      <a:lnTo>
                        <a:pt x="550121" y="906905"/>
                      </a:lnTo>
                      <a:cubicBezTo>
                        <a:pt x="550121" y="906905"/>
                        <a:pt x="553538" y="900066"/>
                        <a:pt x="559233" y="887528"/>
                      </a:cubicBezTo>
                      <a:lnTo>
                        <a:pt x="593402" y="811159"/>
                      </a:lnTo>
                      <a:lnTo>
                        <a:pt x="621876" y="1059644"/>
                      </a:lnTo>
                      <a:lnTo>
                        <a:pt x="1209583" y="1059644"/>
                      </a:lnTo>
                      <a:lnTo>
                        <a:pt x="1232362" y="1039127"/>
                      </a:lnTo>
                      <a:lnTo>
                        <a:pt x="1271087" y="530758"/>
                      </a:lnTo>
                      <a:lnTo>
                        <a:pt x="1582025" y="656140"/>
                      </a:lnTo>
                      <a:cubicBezTo>
                        <a:pt x="1578608" y="673238"/>
                        <a:pt x="1556968" y="797480"/>
                        <a:pt x="1576330" y="897787"/>
                      </a:cubicBezTo>
                      <a:cubicBezTo>
                        <a:pt x="1611638" y="910325"/>
                        <a:pt x="1710728" y="944520"/>
                        <a:pt x="1710728" y="944520"/>
                      </a:cubicBezTo>
                      <a:lnTo>
                        <a:pt x="1810957" y="637903"/>
                      </a:lnTo>
                      <a:cubicBezTo>
                        <a:pt x="1822347" y="593449"/>
                        <a:pt x="1810957" y="551275"/>
                        <a:pt x="1796151" y="530758"/>
                      </a:cubicBezTo>
                      <a:cubicBezTo>
                        <a:pt x="1761982" y="484024"/>
                        <a:pt x="1724395" y="464647"/>
                        <a:pt x="1691365" y="444130"/>
                      </a:cubicBezTo>
                      <a:lnTo>
                        <a:pt x="1691365" y="446409"/>
                      </a:lnTo>
                      <a:lnTo>
                        <a:pt x="1691365" y="446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1287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2000DE26-CF18-568F-1AE3-E5F9FBB6E161}"/>
                  </a:ext>
                </a:extLst>
              </p:cNvPr>
              <p:cNvSpPr/>
              <p:nvPr/>
            </p:nvSpPr>
            <p:spPr>
              <a:xfrm>
                <a:off x="4421767" y="1793686"/>
                <a:ext cx="54670" cy="304337"/>
              </a:xfrm>
              <a:custGeom>
                <a:avLst/>
                <a:gdLst>
                  <a:gd name="connsiteX0" fmla="*/ 27335 w 54670"/>
                  <a:gd name="connsiteY0" fmla="*/ 0 h 304337"/>
                  <a:gd name="connsiteX1" fmla="*/ 27335 w 54670"/>
                  <a:gd name="connsiteY1" fmla="*/ 0 h 304337"/>
                  <a:gd name="connsiteX2" fmla="*/ 54670 w 54670"/>
                  <a:gd name="connsiteY2" fmla="*/ 27356 h 304337"/>
                  <a:gd name="connsiteX3" fmla="*/ 54670 w 54670"/>
                  <a:gd name="connsiteY3" fmla="*/ 276981 h 304337"/>
                  <a:gd name="connsiteX4" fmla="*/ 27335 w 54670"/>
                  <a:gd name="connsiteY4" fmla="*/ 304338 h 304337"/>
                  <a:gd name="connsiteX5" fmla="*/ 27335 w 54670"/>
                  <a:gd name="connsiteY5" fmla="*/ 304338 h 304337"/>
                  <a:gd name="connsiteX6" fmla="*/ 0 w 54670"/>
                  <a:gd name="connsiteY6" fmla="*/ 276981 h 304337"/>
                  <a:gd name="connsiteX7" fmla="*/ 0 w 54670"/>
                  <a:gd name="connsiteY7" fmla="*/ 27356 h 304337"/>
                  <a:gd name="connsiteX8" fmla="*/ 27335 w 54670"/>
                  <a:gd name="connsiteY8" fmla="*/ 0 h 30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670" h="304337">
                    <a:moveTo>
                      <a:pt x="27335" y="0"/>
                    </a:moveTo>
                    <a:lnTo>
                      <a:pt x="27335" y="0"/>
                    </a:lnTo>
                    <a:cubicBezTo>
                      <a:pt x="42142" y="0"/>
                      <a:pt x="54670" y="12538"/>
                      <a:pt x="54670" y="27356"/>
                    </a:cubicBezTo>
                    <a:lnTo>
                      <a:pt x="54670" y="276981"/>
                    </a:lnTo>
                    <a:cubicBezTo>
                      <a:pt x="54670" y="291799"/>
                      <a:pt x="42142" y="304338"/>
                      <a:pt x="27335" y="304338"/>
                    </a:cubicBezTo>
                    <a:lnTo>
                      <a:pt x="27335" y="304338"/>
                    </a:lnTo>
                    <a:cubicBezTo>
                      <a:pt x="12529" y="304338"/>
                      <a:pt x="0" y="291799"/>
                      <a:pt x="0" y="276981"/>
                    </a:cubicBezTo>
                    <a:lnTo>
                      <a:pt x="0" y="27356"/>
                    </a:lnTo>
                    <a:cubicBezTo>
                      <a:pt x="0" y="12538"/>
                      <a:pt x="12529" y="0"/>
                      <a:pt x="27335" y="0"/>
                    </a:cubicBezTo>
                    <a:close/>
                  </a:path>
                </a:pathLst>
              </a:custGeom>
              <a:solidFill>
                <a:srgbClr val="FA69FF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D76A8020-6D41-F91C-B661-CC4D1050E4C4}"/>
                  </a:ext>
                </a:extLst>
              </p:cNvPr>
              <p:cNvSpPr/>
              <p:nvPr/>
            </p:nvSpPr>
            <p:spPr>
              <a:xfrm>
                <a:off x="4357985" y="1984039"/>
                <a:ext cx="182234" cy="182374"/>
              </a:xfrm>
              <a:custGeom>
                <a:avLst/>
                <a:gdLst>
                  <a:gd name="connsiteX0" fmla="*/ 182235 w 182234"/>
                  <a:gd name="connsiteY0" fmla="*/ 91187 h 182374"/>
                  <a:gd name="connsiteX1" fmla="*/ 91117 w 182234"/>
                  <a:gd name="connsiteY1" fmla="*/ 182375 h 182374"/>
                  <a:gd name="connsiteX2" fmla="*/ 0 w 182234"/>
                  <a:gd name="connsiteY2" fmla="*/ 91187 h 182374"/>
                  <a:gd name="connsiteX3" fmla="*/ 91117 w 182234"/>
                  <a:gd name="connsiteY3" fmla="*/ 0 h 182374"/>
                  <a:gd name="connsiteX4" fmla="*/ 182235 w 182234"/>
                  <a:gd name="connsiteY4" fmla="*/ 91187 h 182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234" h="182374">
                    <a:moveTo>
                      <a:pt x="182235" y="91187"/>
                    </a:moveTo>
                    <a:cubicBezTo>
                      <a:pt x="182235" y="141549"/>
                      <a:pt x="141440" y="182375"/>
                      <a:pt x="91117" y="182375"/>
                    </a:cubicBezTo>
                    <a:cubicBezTo>
                      <a:pt x="40795" y="182375"/>
                      <a:pt x="0" y="141549"/>
                      <a:pt x="0" y="91187"/>
                    </a:cubicBezTo>
                    <a:cubicBezTo>
                      <a:pt x="0" y="40826"/>
                      <a:pt x="40795" y="0"/>
                      <a:pt x="91117" y="0"/>
                    </a:cubicBezTo>
                    <a:cubicBezTo>
                      <a:pt x="141440" y="0"/>
                      <a:pt x="182235" y="40826"/>
                      <a:pt x="182235" y="91187"/>
                    </a:cubicBezTo>
                    <a:close/>
                  </a:path>
                </a:pathLst>
              </a:custGeom>
              <a:solidFill>
                <a:srgbClr val="FA69FF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3B3D198A-536A-0EDE-8685-B5DFE830C980}"/>
                  </a:ext>
                </a:extLst>
              </p:cNvPr>
              <p:cNvSpPr/>
              <p:nvPr/>
            </p:nvSpPr>
            <p:spPr>
              <a:xfrm>
                <a:off x="4409239" y="2035332"/>
                <a:ext cx="79727" cy="79788"/>
              </a:xfrm>
              <a:custGeom>
                <a:avLst/>
                <a:gdLst>
                  <a:gd name="connsiteX0" fmla="*/ 79728 w 79727"/>
                  <a:gd name="connsiteY0" fmla="*/ 39894 h 79788"/>
                  <a:gd name="connsiteX1" fmla="*/ 39864 w 79727"/>
                  <a:gd name="connsiteY1" fmla="*/ 79789 h 79788"/>
                  <a:gd name="connsiteX2" fmla="*/ 0 w 79727"/>
                  <a:gd name="connsiteY2" fmla="*/ 39894 h 79788"/>
                  <a:gd name="connsiteX3" fmla="*/ 39864 w 79727"/>
                  <a:gd name="connsiteY3" fmla="*/ 0 h 79788"/>
                  <a:gd name="connsiteX4" fmla="*/ 79728 w 79727"/>
                  <a:gd name="connsiteY4" fmla="*/ 39894 h 79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27" h="79788">
                    <a:moveTo>
                      <a:pt x="79728" y="39894"/>
                    </a:moveTo>
                    <a:cubicBezTo>
                      <a:pt x="79728" y="61928"/>
                      <a:pt x="61880" y="79789"/>
                      <a:pt x="39864" y="79789"/>
                    </a:cubicBezTo>
                    <a:cubicBezTo>
                      <a:pt x="17848" y="79789"/>
                      <a:pt x="0" y="61928"/>
                      <a:pt x="0" y="39894"/>
                    </a:cubicBezTo>
                    <a:cubicBezTo>
                      <a:pt x="0" y="17861"/>
                      <a:pt x="17848" y="0"/>
                      <a:pt x="39864" y="0"/>
                    </a:cubicBezTo>
                    <a:cubicBezTo>
                      <a:pt x="61880" y="0"/>
                      <a:pt x="79728" y="17861"/>
                      <a:pt x="79728" y="39894"/>
                    </a:cubicBezTo>
                    <a:close/>
                  </a:path>
                </a:pathLst>
              </a:custGeom>
              <a:solidFill>
                <a:srgbClr val="281805"/>
              </a:solidFill>
              <a:ln w="11287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7514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069" userDrawn="1">
          <p15:clr>
            <a:srgbClr val="FBAE40"/>
          </p15:clr>
        </p15:guide>
        <p15:guide id="4" pos="4611" userDrawn="1">
          <p15:clr>
            <a:srgbClr val="FBAE40"/>
          </p15:clr>
        </p15:guide>
        <p15:guide id="5" pos="5382" userDrawn="1">
          <p15:clr>
            <a:srgbClr val="FBAE40"/>
          </p15:clr>
        </p15:guide>
        <p15:guide id="6" pos="2320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pter slide G">
    <p:bg>
      <p:bgPr>
        <a:solidFill>
          <a:srgbClr val="FA6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phic 51">
            <a:extLst>
              <a:ext uri="{FF2B5EF4-FFF2-40B4-BE49-F238E27FC236}">
                <a16:creationId xmlns:a16="http://schemas.microsoft.com/office/drawing/2014/main" id="{1A2B3138-3EF9-1DB8-AA8B-41623F2A66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4070" y="0"/>
            <a:ext cx="5078438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A0E266-F964-65E1-891C-CDA4DA0AD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A9D98A-37CA-8C93-55F2-9BCBDDE6EADB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C04BA471-F584-A735-72E7-5FC178393303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" name="Logo">
              <a:extLst>
                <a:ext uri="{FF2B5EF4-FFF2-40B4-BE49-F238E27FC236}">
                  <a16:creationId xmlns:a16="http://schemas.microsoft.com/office/drawing/2014/main" id="{95E113AE-2F66-84CB-E048-AFB79B333A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44D4FDD-6B9F-9931-E9E5-506B38B45F71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2" name="Logo">
                <a:extLst>
                  <a:ext uri="{FF2B5EF4-FFF2-40B4-BE49-F238E27FC236}">
                    <a16:creationId xmlns:a16="http://schemas.microsoft.com/office/drawing/2014/main" id="{07DB8141-7150-3A77-335F-69E0AA9A84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066810C2-BC02-F42B-60E0-FA3F3111C744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6808531A-0D2A-8529-D8B6-C1F4B7B30344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1D49FDCD-1F1E-6CEC-1E29-978D6CEBA894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0624DC68-3E0E-C632-E315-56C7EE121B1C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F2C9FC2C-0D12-D8F9-1045-45077749AF8E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D3F51CB1-9CC9-189F-8DE9-51D55EEC97C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13654" y="744193"/>
            <a:ext cx="7632091" cy="5369613"/>
          </a:xfrm>
          <a:prstGeom prst="rect">
            <a:avLst/>
          </a:prstGeom>
        </p:spPr>
      </p:pic>
      <p:sp>
        <p:nvSpPr>
          <p:cNvPr id="53" name="Slide Number Static">
            <a:extLst>
              <a:ext uri="{FF2B5EF4-FFF2-40B4-BE49-F238E27FC236}">
                <a16:creationId xmlns:a16="http://schemas.microsoft.com/office/drawing/2014/main" id="{08C5605D-607D-EC63-AF6D-C9CF711299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721462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56C73C-25DD-7097-39E4-2D20265F6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175C6DB-678A-BCBB-8C16-E865FC85D4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233915"/>
            <a:ext cx="11053763" cy="50519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91C39A56-741F-B8F4-B176-CC0D1AF4E3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302ACDC-9250-A1C0-0A6F-9B134B93CF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8" name="footnotes">
            <a:extLst>
              <a:ext uri="{FF2B5EF4-FFF2-40B4-BE49-F238E27FC236}">
                <a16:creationId xmlns:a16="http://schemas.microsoft.com/office/drawing/2014/main" id="{58CD325F-C945-B496-80B5-4FE33BBCEC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28554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368">
          <p15:clr>
            <a:srgbClr val="FBAE40"/>
          </p15:clr>
        </p15:guide>
        <p15:guide id="6" orient="horz" pos="3952">
          <p15:clr>
            <a:srgbClr val="FBAE40"/>
          </p15:clr>
        </p15:guide>
        <p15:guide id="7" pos="3069">
          <p15:clr>
            <a:srgbClr val="FBAE40"/>
          </p15:clr>
        </p15:guide>
        <p15:guide id="8" pos="2298">
          <p15:clr>
            <a:srgbClr val="FBAE40"/>
          </p15:clr>
        </p15:guide>
        <p15:guide id="9" pos="4611">
          <p15:clr>
            <a:srgbClr val="FBAE40"/>
          </p15:clr>
        </p15:guide>
        <p15:guide id="10" pos="5382">
          <p15:clr>
            <a:srgbClr val="FBAE40"/>
          </p15:clr>
        </p15:guide>
        <p15:guide id="11" orient="horz" pos="1729">
          <p15:clr>
            <a:srgbClr val="FBAE40"/>
          </p15:clr>
        </p15:guide>
        <p15:guide id="12" orient="horz" pos="259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194F66D-A539-E559-86B4-73A25EC278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798983"/>
            <a:ext cx="11053763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DE4BC9-EFD2-644B-17DA-E56AC986A9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2CA3DD6-C439-D3E0-433D-E68B7C8D8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8B6C9CE9-29B1-29BD-1F90-32E4D0C395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EB856692-F994-B347-D828-4FA1D13F2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194968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368">
          <p15:clr>
            <a:srgbClr val="FBAE40"/>
          </p15:clr>
        </p15:guide>
        <p15:guide id="6" orient="horz" pos="3952">
          <p15:clr>
            <a:srgbClr val="FBAE40"/>
          </p15:clr>
        </p15:guide>
        <p15:guide id="7" pos="3069">
          <p15:clr>
            <a:srgbClr val="FBAE40"/>
          </p15:clr>
        </p15:guide>
        <p15:guide id="8" pos="2298">
          <p15:clr>
            <a:srgbClr val="FBAE40"/>
          </p15:clr>
        </p15:guide>
        <p15:guide id="9" pos="4611">
          <p15:clr>
            <a:srgbClr val="FBAE40"/>
          </p15:clr>
        </p15:guide>
        <p15:guide id="10" pos="5382">
          <p15:clr>
            <a:srgbClr val="FBAE40"/>
          </p15:clr>
        </p15:guide>
        <p15:guide id="11" orient="horz" pos="1729">
          <p15:clr>
            <a:srgbClr val="FBAE40"/>
          </p15:clr>
        </p15:guide>
        <p15:guide id="12" orient="horz" pos="2591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0835F2-D108-1FEE-FE4D-C4F53B6E0D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D3E9C5F-B0BC-EDDB-EA49-5F66661E0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669774"/>
            <a:ext cx="11053763" cy="44383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BDD5564F-1724-C85B-2CBC-0E0A311183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E87D00BD-1C50-8C43-DB87-859043E715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4112122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368">
          <p15:clr>
            <a:srgbClr val="FBAE40"/>
          </p15:clr>
        </p15:guide>
        <p15:guide id="6" orient="horz" pos="3952">
          <p15:clr>
            <a:srgbClr val="FBAE40"/>
          </p15:clr>
        </p15:guide>
        <p15:guide id="7" pos="3069">
          <p15:clr>
            <a:srgbClr val="FBAE40"/>
          </p15:clr>
        </p15:guide>
        <p15:guide id="8" pos="2298">
          <p15:clr>
            <a:srgbClr val="FBAE40"/>
          </p15:clr>
        </p15:guide>
        <p15:guide id="9" pos="4611">
          <p15:clr>
            <a:srgbClr val="FBAE40"/>
          </p15:clr>
        </p15:guide>
        <p15:guide id="10" pos="5382">
          <p15:clr>
            <a:srgbClr val="FBAE40"/>
          </p15:clr>
        </p15:guide>
        <p15:guide id="11" orient="horz" pos="1729">
          <p15:clr>
            <a:srgbClr val="FBAE40"/>
          </p15:clr>
        </p15:guide>
        <p15:guide id="12" orient="horz" pos="2591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0835F2-D108-1FEE-FE4D-C4F53B6E0D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D3E9C5F-B0BC-EDDB-EA49-5F66661E0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2126974"/>
            <a:ext cx="11053763" cy="41468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F14210FC-AD88-1825-867D-BA953FEF03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509057"/>
            <a:ext cx="11053762" cy="35848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5D6949-7E33-F0EC-FDA3-808FFFC412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6" name="footnotes">
            <a:extLst>
              <a:ext uri="{FF2B5EF4-FFF2-40B4-BE49-F238E27FC236}">
                <a16:creationId xmlns:a16="http://schemas.microsoft.com/office/drawing/2014/main" id="{7B787E87-306D-4576-1145-3A52DF7AB6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733569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368">
          <p15:clr>
            <a:srgbClr val="FBAE40"/>
          </p15:clr>
        </p15:guide>
        <p15:guide id="6" orient="horz" pos="3952">
          <p15:clr>
            <a:srgbClr val="FBAE40"/>
          </p15:clr>
        </p15:guide>
        <p15:guide id="7" pos="3069">
          <p15:clr>
            <a:srgbClr val="FBAE40"/>
          </p15:clr>
        </p15:guide>
        <p15:guide id="8" pos="2298">
          <p15:clr>
            <a:srgbClr val="FBAE40"/>
          </p15:clr>
        </p15:guide>
        <p15:guide id="9" pos="4611">
          <p15:clr>
            <a:srgbClr val="FBAE40"/>
          </p15:clr>
        </p15:guide>
        <p15:guide id="10" pos="5382">
          <p15:clr>
            <a:srgbClr val="FBAE40"/>
          </p15:clr>
        </p15:guide>
        <p15:guide id="11" orient="horz" pos="1729">
          <p15:clr>
            <a:srgbClr val="FBAE40"/>
          </p15:clr>
        </p15:guide>
        <p15:guide id="12" orient="horz" pos="259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F96ADCF-7224-423F-C403-4AC51AA1E6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0F67AD-9F14-2E45-2577-8148586493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233915"/>
            <a:ext cx="11053763" cy="50519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EF6640B-C90C-1896-2811-058596EB33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8C3E9274-5A26-418F-F676-381FA45E97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B0A42442-6925-8259-46CC-41A76FF6F6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95735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221883"/>
            <a:ext cx="5328000" cy="48016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1221883"/>
            <a:ext cx="5328000" cy="48016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FD3DCE4-6ED4-376D-F6D0-D9D88A562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F0AFDB5-AB87-1184-7559-A856E865F0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80C48EF2-A5C4-546C-D22C-59A643794C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95627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CF0AFDB5-AB87-1184-7559-A856E865F0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80C48EF2-A5C4-546C-D22C-59A643794C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D532F8-51D8-AC62-7EA5-382E727FF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2593014-77AA-BA33-9A3A-9094EA3F8F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759351"/>
            <a:ext cx="5328000" cy="426414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3DAE10F-FE46-4FE9-AE1E-088C8766D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1759351"/>
            <a:ext cx="5328000" cy="426414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6024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CF0AFDB5-AB87-1184-7559-A856E865F0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80C48EF2-A5C4-546C-D22C-59A643794C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D532F8-51D8-AC62-7EA5-382E727FF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4D125B6-513A-00DF-032C-49AFF7E919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1509057"/>
            <a:ext cx="11053762" cy="35848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E080D80-25B0-E28E-D9DB-C7D524FEA0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2152891"/>
            <a:ext cx="5328000" cy="387060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C85B42F-E2F1-DF6A-8E7B-6F9BC27D35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2152891"/>
            <a:ext cx="5328000" cy="387060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651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1EFABDC-EEF4-54B3-BBDC-B0C3063AA4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21B1B1B-D06A-743E-D382-CE0E7B09FF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EBF21F3-9EB5-DBBE-F145-91E0BB28BF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7AD331A4-6D2E-134F-3DAA-A26EC28759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6ECF512-2C37-0E38-86BB-547C8ED77F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851949"/>
            <a:ext cx="5328000" cy="417154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15B3E884-E9AB-F1B7-5386-D2081177AB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1851949"/>
            <a:ext cx="5328000" cy="417154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8212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53D3D7D9-0EBD-828C-DFA4-36243877AE3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5594" y="0"/>
            <a:ext cx="3448822" cy="6858000"/>
          </a:xfrm>
          <a:prstGeom prst="rect">
            <a:avLst/>
          </a:prstGeom>
        </p:spPr>
      </p:pic>
      <p:graphicFrame>
        <p:nvGraphicFramePr>
          <p:cNvPr id="107" name="think-cell data - do not delete" hidden="1">
            <a:extLst>
              <a:ext uri="{FF2B5EF4-FFF2-40B4-BE49-F238E27FC236}">
                <a16:creationId xmlns:a16="http://schemas.microsoft.com/office/drawing/2014/main" id="{E344D579-EFFA-CB08-7550-795A1D5F11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07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44D579-EFFA-CB08-7550-795A1D5F11AE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E547EBA7-0F9D-B1D0-FAC4-D0B08441E7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4296" y="149095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936E5692-013B-1533-67BD-251533B39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4296" y="204233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5E7B4412-1997-B2F4-2CE6-23D58C8785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4580" y="1490428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ABE22D9F-E579-CFEA-ED2C-5C47A536AC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4580" y="2041804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87CE19CF-53A1-ADDB-5196-555034F9E76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28001" y="1481125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CBB4B3D0-586F-A2CE-8546-F559D89AA1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28001" y="2032501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0" name="Slide Number Static">
            <a:extLst>
              <a:ext uri="{FF2B5EF4-FFF2-40B4-BE49-F238E27FC236}">
                <a16:creationId xmlns:a16="http://schemas.microsoft.com/office/drawing/2014/main" id="{937BD67B-C175-2488-50E8-9F092322A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EE0424CA-744A-514C-1626-CBA47864F3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31" name="Title Placeholder 1">
            <a:extLst>
              <a:ext uri="{FF2B5EF4-FFF2-40B4-BE49-F238E27FC236}">
                <a16:creationId xmlns:a16="http://schemas.microsoft.com/office/drawing/2014/main" id="{CDC55609-5BDB-69CE-F670-322BBFF63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4297" y="596235"/>
            <a:ext cx="7106840" cy="551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3600"/>
            </a:lvl1pPr>
          </a:lstStyle>
          <a:p>
            <a:r>
              <a:rPr lang="en-GB"/>
              <a:t>Click to edit one line master title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1A5F1015-448A-0F13-E51F-D80C8CC5A2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4296" y="3192563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911CD6C2-BD8E-C773-3B7A-8CB028CAF0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34296" y="3743939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494918EE-DCB1-0116-AE84-49A9864D38C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74580" y="3192032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428DA18-1738-1195-154F-A77FFDF92C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74580" y="3743408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36" name="Text Placeholder 19">
            <a:extLst>
              <a:ext uri="{FF2B5EF4-FFF2-40B4-BE49-F238E27FC236}">
                <a16:creationId xmlns:a16="http://schemas.microsoft.com/office/drawing/2014/main" id="{1A31CFA5-F74E-B2E0-7CD0-DB0A69D666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828001" y="318272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1B291D29-4600-D69E-E552-7E68A6978CB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828001" y="373410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B3AA82C2-B43A-574C-17BC-F14D0121CD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47432" y="489192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2064E8FA-E03D-39A8-4004-4D8FB6E3BE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47432" y="544329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B7B74472-B075-D42D-5B9C-B38E93378F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87716" y="489138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13B85192-6C47-8CB3-48B6-566E2F97827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87716" y="544276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75E05921-5DA0-FC85-6234-FE6D8AA994D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841137" y="4882086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978DDC12-6CA5-6196-6C95-9556D1A50D2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841137" y="5433462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B5E50CF-1806-A384-483A-B320CECAA7E0}"/>
              </a:ext>
            </a:extLst>
          </p:cNvPr>
          <p:cNvGrpSpPr/>
          <p:nvPr userDrawn="1"/>
        </p:nvGrpSpPr>
        <p:grpSpPr>
          <a:xfrm>
            <a:off x="159250" y="1147610"/>
            <a:ext cx="4162455" cy="4953325"/>
            <a:chOff x="-4403419" y="888265"/>
            <a:chExt cx="3962930" cy="4715889"/>
          </a:xfrm>
        </p:grpSpPr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B2B7E014-2FF4-B1AE-9268-4B9E517DCCFD}"/>
                </a:ext>
              </a:extLst>
            </p:cNvPr>
            <p:cNvSpPr/>
            <p:nvPr/>
          </p:nvSpPr>
          <p:spPr>
            <a:xfrm>
              <a:off x="-3048684" y="2553698"/>
              <a:ext cx="155398" cy="68701"/>
            </a:xfrm>
            <a:custGeom>
              <a:avLst/>
              <a:gdLst>
                <a:gd name="connsiteX0" fmla="*/ 18253 w 155398"/>
                <a:gd name="connsiteY0" fmla="*/ 0 h 68701"/>
                <a:gd name="connsiteX1" fmla="*/ 152867 w 155398"/>
                <a:gd name="connsiteY1" fmla="*/ 4572 h 68701"/>
                <a:gd name="connsiteX2" fmla="*/ 115220 w 155398"/>
                <a:gd name="connsiteY2" fmla="*/ 68575 h 68701"/>
                <a:gd name="connsiteX3" fmla="*/ 0 w 155398"/>
                <a:gd name="connsiteY3" fmla="*/ 59432 h 68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398" h="68701">
                  <a:moveTo>
                    <a:pt x="18253" y="0"/>
                  </a:moveTo>
                  <a:cubicBezTo>
                    <a:pt x="83278" y="4572"/>
                    <a:pt x="152867" y="4572"/>
                    <a:pt x="152867" y="4572"/>
                  </a:cubicBezTo>
                  <a:cubicBezTo>
                    <a:pt x="152867" y="4572"/>
                    <a:pt x="169979" y="72004"/>
                    <a:pt x="115220" y="68575"/>
                  </a:cubicBezTo>
                  <a:cubicBezTo>
                    <a:pt x="60462" y="65146"/>
                    <a:pt x="0" y="59432"/>
                    <a:pt x="0" y="59432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EAAE6E04-9344-46EF-20F2-22348F261EEF}"/>
                </a:ext>
              </a:extLst>
            </p:cNvPr>
            <p:cNvSpPr/>
            <p:nvPr/>
          </p:nvSpPr>
          <p:spPr>
            <a:xfrm>
              <a:off x="-2512509" y="5159558"/>
              <a:ext cx="621888" cy="444596"/>
            </a:xfrm>
            <a:custGeom>
              <a:avLst/>
              <a:gdLst>
                <a:gd name="connsiteX0" fmla="*/ 47913 w 621888"/>
                <a:gd name="connsiteY0" fmla="*/ 62861 h 444596"/>
                <a:gd name="connsiteX1" fmla="*/ 7985 w 621888"/>
                <a:gd name="connsiteY1" fmla="*/ 53717 h 444596"/>
                <a:gd name="connsiteX2" fmla="*/ 18253 w 621888"/>
                <a:gd name="connsiteY2" fmla="*/ 243442 h 444596"/>
                <a:gd name="connsiteX3" fmla="*/ 0 w 621888"/>
                <a:gd name="connsiteY3" fmla="*/ 368020 h 444596"/>
                <a:gd name="connsiteX4" fmla="*/ 0 w 621888"/>
                <a:gd name="connsiteY4" fmla="*/ 444596 h 444596"/>
                <a:gd name="connsiteX5" fmla="*/ 192795 w 621888"/>
                <a:gd name="connsiteY5" fmla="*/ 444596 h 444596"/>
                <a:gd name="connsiteX6" fmla="*/ 203062 w 621888"/>
                <a:gd name="connsiteY6" fmla="*/ 400022 h 444596"/>
                <a:gd name="connsiteX7" fmla="*/ 311438 w 621888"/>
                <a:gd name="connsiteY7" fmla="*/ 444596 h 444596"/>
                <a:gd name="connsiteX8" fmla="*/ 616031 w 621888"/>
                <a:gd name="connsiteY8" fmla="*/ 444596 h 444596"/>
                <a:gd name="connsiteX9" fmla="*/ 620594 w 621888"/>
                <a:gd name="connsiteY9" fmla="*/ 388593 h 444596"/>
                <a:gd name="connsiteX10" fmla="*/ 564695 w 621888"/>
                <a:gd name="connsiteY10" fmla="*/ 306303 h 444596"/>
                <a:gd name="connsiteX11" fmla="*/ 304593 w 621888"/>
                <a:gd name="connsiteY11" fmla="*/ 160009 h 444596"/>
                <a:gd name="connsiteX12" fmla="*/ 265806 w 621888"/>
                <a:gd name="connsiteY12" fmla="*/ 0 h 444596"/>
                <a:gd name="connsiteX13" fmla="*/ 150585 w 621888"/>
                <a:gd name="connsiteY13" fmla="*/ 33145 h 444596"/>
                <a:gd name="connsiteX14" fmla="*/ 47913 w 621888"/>
                <a:gd name="connsiteY14" fmla="*/ 61718 h 444596"/>
                <a:gd name="connsiteX15" fmla="*/ 47913 w 621888"/>
                <a:gd name="connsiteY15" fmla="*/ 61718 h 44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888" h="444596">
                  <a:moveTo>
                    <a:pt x="47913" y="62861"/>
                  </a:moveTo>
                  <a:cubicBezTo>
                    <a:pt x="47913" y="62861"/>
                    <a:pt x="-7986" y="17144"/>
                    <a:pt x="7985" y="53717"/>
                  </a:cubicBezTo>
                  <a:cubicBezTo>
                    <a:pt x="23957" y="90291"/>
                    <a:pt x="14830" y="222870"/>
                    <a:pt x="18253" y="243442"/>
                  </a:cubicBezTo>
                  <a:cubicBezTo>
                    <a:pt x="18253" y="243442"/>
                    <a:pt x="2281" y="285730"/>
                    <a:pt x="0" y="368020"/>
                  </a:cubicBezTo>
                  <a:lnTo>
                    <a:pt x="0" y="444596"/>
                  </a:lnTo>
                  <a:lnTo>
                    <a:pt x="192795" y="444596"/>
                  </a:lnTo>
                  <a:lnTo>
                    <a:pt x="203062" y="400022"/>
                  </a:lnTo>
                  <a:cubicBezTo>
                    <a:pt x="203062" y="400022"/>
                    <a:pt x="266947" y="400022"/>
                    <a:pt x="311438" y="444596"/>
                  </a:cubicBezTo>
                  <a:lnTo>
                    <a:pt x="616031" y="444596"/>
                  </a:lnTo>
                  <a:lnTo>
                    <a:pt x="620594" y="388593"/>
                  </a:lnTo>
                  <a:cubicBezTo>
                    <a:pt x="620594" y="388593"/>
                    <a:pt x="635424" y="329161"/>
                    <a:pt x="564695" y="306303"/>
                  </a:cubicBezTo>
                  <a:cubicBezTo>
                    <a:pt x="528189" y="294874"/>
                    <a:pt x="387871" y="301731"/>
                    <a:pt x="304593" y="160009"/>
                  </a:cubicBezTo>
                  <a:cubicBezTo>
                    <a:pt x="247553" y="62861"/>
                    <a:pt x="265806" y="0"/>
                    <a:pt x="265806" y="0"/>
                  </a:cubicBezTo>
                  <a:cubicBezTo>
                    <a:pt x="265806" y="0"/>
                    <a:pt x="171120" y="0"/>
                    <a:pt x="150585" y="33145"/>
                  </a:cubicBezTo>
                  <a:cubicBezTo>
                    <a:pt x="130051" y="66289"/>
                    <a:pt x="47913" y="61718"/>
                    <a:pt x="47913" y="61718"/>
                  </a:cubicBezTo>
                  <a:lnTo>
                    <a:pt x="47913" y="61718"/>
                  </a:lnTo>
                  <a:close/>
                </a:path>
              </a:pathLst>
            </a:custGeom>
            <a:solidFill>
              <a:srgbClr val="281805"/>
            </a:solidFill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D2AA6AC1-8145-7075-286E-1A4944567DC3}"/>
                </a:ext>
              </a:extLst>
            </p:cNvPr>
            <p:cNvSpPr/>
            <p:nvPr/>
          </p:nvSpPr>
          <p:spPr>
            <a:xfrm>
              <a:off x="-3600830" y="5019206"/>
              <a:ext cx="611708" cy="584948"/>
            </a:xfrm>
            <a:custGeom>
              <a:avLst/>
              <a:gdLst>
                <a:gd name="connsiteX0" fmla="*/ 172260 w 611708"/>
                <a:gd name="connsiteY0" fmla="*/ 35203 h 584948"/>
                <a:gd name="connsiteX1" fmla="*/ 138037 w 611708"/>
                <a:gd name="connsiteY1" fmla="*/ 13488 h 584948"/>
                <a:gd name="connsiteX2" fmla="*/ 84419 w 611708"/>
                <a:gd name="connsiteY2" fmla="*/ 196355 h 584948"/>
                <a:gd name="connsiteX3" fmla="*/ 25098 w 611708"/>
                <a:gd name="connsiteY3" fmla="*/ 307219 h 584948"/>
                <a:gd name="connsiteX4" fmla="*/ 0 w 611708"/>
                <a:gd name="connsiteY4" fmla="*/ 379223 h 584948"/>
                <a:gd name="connsiteX5" fmla="*/ 181387 w 611708"/>
                <a:gd name="connsiteY5" fmla="*/ 443226 h 584948"/>
                <a:gd name="connsiteX6" fmla="*/ 205344 w 611708"/>
                <a:gd name="connsiteY6" fmla="*/ 404367 h 584948"/>
                <a:gd name="connsiteX7" fmla="*/ 292044 w 611708"/>
                <a:gd name="connsiteY7" fmla="*/ 483229 h 584948"/>
                <a:gd name="connsiteX8" fmla="*/ 579525 w 611708"/>
                <a:gd name="connsiteY8" fmla="*/ 584949 h 584948"/>
                <a:gd name="connsiteX9" fmla="*/ 602341 w 611708"/>
                <a:gd name="connsiteY9" fmla="*/ 533517 h 584948"/>
                <a:gd name="connsiteX10" fmla="*/ 577244 w 611708"/>
                <a:gd name="connsiteY10" fmla="*/ 436369 h 584948"/>
                <a:gd name="connsiteX11" fmla="*/ 381026 w 611708"/>
                <a:gd name="connsiteY11" fmla="*/ 212356 h 584948"/>
                <a:gd name="connsiteX12" fmla="*/ 398138 w 611708"/>
                <a:gd name="connsiteY12" fmla="*/ 48919 h 584948"/>
                <a:gd name="connsiteX13" fmla="*/ 278355 w 611708"/>
                <a:gd name="connsiteY13" fmla="*/ 42061 h 584948"/>
                <a:gd name="connsiteX14" fmla="*/ 172260 w 611708"/>
                <a:gd name="connsiteY14" fmla="*/ 35203 h 584948"/>
                <a:gd name="connsiteX15" fmla="*/ 172260 w 611708"/>
                <a:gd name="connsiteY15" fmla="*/ 35203 h 58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11708" h="584948">
                  <a:moveTo>
                    <a:pt x="172260" y="35203"/>
                  </a:moveTo>
                  <a:cubicBezTo>
                    <a:pt x="172260" y="35203"/>
                    <a:pt x="134614" y="-26514"/>
                    <a:pt x="138037" y="13488"/>
                  </a:cubicBezTo>
                  <a:cubicBezTo>
                    <a:pt x="141459" y="53490"/>
                    <a:pt x="87841" y="175783"/>
                    <a:pt x="84419" y="196355"/>
                  </a:cubicBezTo>
                  <a:cubicBezTo>
                    <a:pt x="84419" y="196355"/>
                    <a:pt x="54758" y="230643"/>
                    <a:pt x="25098" y="307219"/>
                  </a:cubicBezTo>
                  <a:lnTo>
                    <a:pt x="0" y="379223"/>
                  </a:lnTo>
                  <a:lnTo>
                    <a:pt x="181387" y="443226"/>
                  </a:lnTo>
                  <a:lnTo>
                    <a:pt x="205344" y="404367"/>
                  </a:lnTo>
                  <a:cubicBezTo>
                    <a:pt x="205344" y="404367"/>
                    <a:pt x="265806" y="426083"/>
                    <a:pt x="292044" y="483229"/>
                  </a:cubicBezTo>
                  <a:lnTo>
                    <a:pt x="579525" y="584949"/>
                  </a:lnTo>
                  <a:lnTo>
                    <a:pt x="602341" y="533517"/>
                  </a:lnTo>
                  <a:cubicBezTo>
                    <a:pt x="602341" y="533517"/>
                    <a:pt x="635424" y="482086"/>
                    <a:pt x="577244" y="436369"/>
                  </a:cubicBezTo>
                  <a:cubicBezTo>
                    <a:pt x="547583" y="413510"/>
                    <a:pt x="412969" y="372365"/>
                    <a:pt x="381026" y="212356"/>
                  </a:cubicBezTo>
                  <a:cubicBezTo>
                    <a:pt x="359351" y="101493"/>
                    <a:pt x="398138" y="48919"/>
                    <a:pt x="398138" y="48919"/>
                  </a:cubicBezTo>
                  <a:cubicBezTo>
                    <a:pt x="398138" y="48919"/>
                    <a:pt x="309156" y="16917"/>
                    <a:pt x="278355" y="42061"/>
                  </a:cubicBezTo>
                  <a:cubicBezTo>
                    <a:pt x="247553" y="66062"/>
                    <a:pt x="172260" y="35203"/>
                    <a:pt x="172260" y="35203"/>
                  </a:cubicBezTo>
                  <a:lnTo>
                    <a:pt x="172260" y="35203"/>
                  </a:lnTo>
                  <a:close/>
                </a:path>
              </a:pathLst>
            </a:custGeom>
            <a:solidFill>
              <a:srgbClr val="281805"/>
            </a:solidFill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ED6F58AB-A6BC-EE6F-925B-C1E58C472441}"/>
                </a:ext>
              </a:extLst>
            </p:cNvPr>
            <p:cNvSpPr/>
            <p:nvPr/>
          </p:nvSpPr>
          <p:spPr>
            <a:xfrm>
              <a:off x="-1763006" y="2043955"/>
              <a:ext cx="320543" cy="381761"/>
            </a:xfrm>
            <a:custGeom>
              <a:avLst/>
              <a:gdLst>
                <a:gd name="connsiteX0" fmla="*/ 1141 w 320543"/>
                <a:gd name="connsiteY0" fmla="*/ 234299 h 381761"/>
                <a:gd name="connsiteX1" fmla="*/ 82138 w 320543"/>
                <a:gd name="connsiteY1" fmla="*/ 76576 h 381761"/>
                <a:gd name="connsiteX2" fmla="*/ 144881 w 320543"/>
                <a:gd name="connsiteY2" fmla="*/ 0 h 381761"/>
                <a:gd name="connsiteX3" fmla="*/ 163134 w 320543"/>
                <a:gd name="connsiteY3" fmla="*/ 65146 h 381761"/>
                <a:gd name="connsiteX4" fmla="*/ 136896 w 320543"/>
                <a:gd name="connsiteY4" fmla="*/ 91434 h 381761"/>
                <a:gd name="connsiteX5" fmla="*/ 250975 w 320543"/>
                <a:gd name="connsiteY5" fmla="*/ 56003 h 381761"/>
                <a:gd name="connsiteX6" fmla="*/ 318283 w 320543"/>
                <a:gd name="connsiteY6" fmla="*/ 254871 h 381761"/>
                <a:gd name="connsiteX7" fmla="*/ 221315 w 320543"/>
                <a:gd name="connsiteY7" fmla="*/ 316589 h 381761"/>
                <a:gd name="connsiteX8" fmla="*/ 95827 w 320543"/>
                <a:gd name="connsiteY8" fmla="*/ 348591 h 381761"/>
                <a:gd name="connsiteX9" fmla="*/ 55899 w 320543"/>
                <a:gd name="connsiteY9" fmla="*/ 381736 h 381761"/>
                <a:gd name="connsiteX10" fmla="*/ 0 w 320543"/>
                <a:gd name="connsiteY10" fmla="*/ 234299 h 381761"/>
                <a:gd name="connsiteX11" fmla="*/ 0 w 320543"/>
                <a:gd name="connsiteY11" fmla="*/ 234299 h 381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543" h="381761">
                  <a:moveTo>
                    <a:pt x="1141" y="234299"/>
                  </a:moveTo>
                  <a:cubicBezTo>
                    <a:pt x="19394" y="177153"/>
                    <a:pt x="49054" y="106292"/>
                    <a:pt x="82138" y="76576"/>
                  </a:cubicBezTo>
                  <a:cubicBezTo>
                    <a:pt x="131192" y="33145"/>
                    <a:pt x="144881" y="0"/>
                    <a:pt x="144881" y="0"/>
                  </a:cubicBezTo>
                  <a:cubicBezTo>
                    <a:pt x="144881" y="0"/>
                    <a:pt x="193936" y="19430"/>
                    <a:pt x="163134" y="65146"/>
                  </a:cubicBezTo>
                  <a:cubicBezTo>
                    <a:pt x="138037" y="101720"/>
                    <a:pt x="136896" y="91434"/>
                    <a:pt x="136896" y="91434"/>
                  </a:cubicBezTo>
                  <a:cubicBezTo>
                    <a:pt x="188232" y="72004"/>
                    <a:pt x="198499" y="37716"/>
                    <a:pt x="250975" y="56003"/>
                  </a:cubicBezTo>
                  <a:cubicBezTo>
                    <a:pt x="303452" y="73147"/>
                    <a:pt x="328550" y="217155"/>
                    <a:pt x="318283" y="254871"/>
                  </a:cubicBezTo>
                  <a:cubicBezTo>
                    <a:pt x="306875" y="300588"/>
                    <a:pt x="274932" y="310875"/>
                    <a:pt x="221315" y="316589"/>
                  </a:cubicBezTo>
                  <a:cubicBezTo>
                    <a:pt x="175683" y="381736"/>
                    <a:pt x="95827" y="348591"/>
                    <a:pt x="95827" y="348591"/>
                  </a:cubicBezTo>
                  <a:lnTo>
                    <a:pt x="55899" y="381736"/>
                  </a:lnTo>
                  <a:cubicBezTo>
                    <a:pt x="51336" y="384022"/>
                    <a:pt x="0" y="234299"/>
                    <a:pt x="0" y="234299"/>
                  </a:cubicBezTo>
                  <a:lnTo>
                    <a:pt x="0" y="234299"/>
                  </a:lnTo>
                  <a:close/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99CE9712-0387-C631-1A52-B335DC0FD4D6}"/>
                </a:ext>
              </a:extLst>
            </p:cNvPr>
            <p:cNvSpPr/>
            <p:nvPr/>
          </p:nvSpPr>
          <p:spPr>
            <a:xfrm>
              <a:off x="-3656729" y="1440492"/>
              <a:ext cx="1108854" cy="1564659"/>
            </a:xfrm>
            <a:custGeom>
              <a:avLst/>
              <a:gdLst>
                <a:gd name="connsiteX0" fmla="*/ 890963 w 1108854"/>
                <a:gd name="connsiteY0" fmla="*/ 0 h 1564659"/>
                <a:gd name="connsiteX1" fmla="*/ 1108855 w 1108854"/>
                <a:gd name="connsiteY1" fmla="*/ 218298 h 1564659"/>
                <a:gd name="connsiteX2" fmla="*/ 1108855 w 1108854"/>
                <a:gd name="connsiteY2" fmla="*/ 1346361 h 1564659"/>
                <a:gd name="connsiteX3" fmla="*/ 890963 w 1108854"/>
                <a:gd name="connsiteY3" fmla="*/ 1564659 h 1564659"/>
                <a:gd name="connsiteX4" fmla="*/ 217892 w 1108854"/>
                <a:gd name="connsiteY4" fmla="*/ 1564659 h 1564659"/>
                <a:gd name="connsiteX5" fmla="*/ 0 w 1108854"/>
                <a:gd name="connsiteY5" fmla="*/ 1346361 h 1564659"/>
                <a:gd name="connsiteX6" fmla="*/ 0 w 1108854"/>
                <a:gd name="connsiteY6" fmla="*/ 218298 h 1564659"/>
                <a:gd name="connsiteX7" fmla="*/ 217892 w 1108854"/>
                <a:gd name="connsiteY7" fmla="*/ 0 h 156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8854" h="1564659">
                  <a:moveTo>
                    <a:pt x="890963" y="0"/>
                  </a:moveTo>
                  <a:cubicBezTo>
                    <a:pt x="1011301" y="0"/>
                    <a:pt x="1108855" y="97735"/>
                    <a:pt x="1108855" y="218298"/>
                  </a:cubicBezTo>
                  <a:lnTo>
                    <a:pt x="1108855" y="1346361"/>
                  </a:lnTo>
                  <a:cubicBezTo>
                    <a:pt x="1108855" y="1466924"/>
                    <a:pt x="1011301" y="1564659"/>
                    <a:pt x="890963" y="1564659"/>
                  </a:cubicBezTo>
                  <a:lnTo>
                    <a:pt x="217892" y="1564659"/>
                  </a:lnTo>
                  <a:cubicBezTo>
                    <a:pt x="97554" y="1564659"/>
                    <a:pt x="0" y="1466924"/>
                    <a:pt x="0" y="1346361"/>
                  </a:cubicBezTo>
                  <a:lnTo>
                    <a:pt x="0" y="218298"/>
                  </a:lnTo>
                  <a:cubicBezTo>
                    <a:pt x="0" y="97735"/>
                    <a:pt x="97554" y="0"/>
                    <a:pt x="217892" y="0"/>
                  </a:cubicBez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95F208FD-3588-83A0-4181-A08C9D08C922}"/>
                </a:ext>
              </a:extLst>
            </p:cNvPr>
            <p:cNvSpPr/>
            <p:nvPr/>
          </p:nvSpPr>
          <p:spPr>
            <a:xfrm>
              <a:off x="-3523256" y="1135332"/>
              <a:ext cx="1032421" cy="441167"/>
            </a:xfrm>
            <a:custGeom>
              <a:avLst/>
              <a:gdLst>
                <a:gd name="connsiteX0" fmla="*/ 869288 w 1032421"/>
                <a:gd name="connsiteY0" fmla="*/ 0 h 441167"/>
                <a:gd name="connsiteX1" fmla="*/ 0 w 1032421"/>
                <a:gd name="connsiteY1" fmla="*/ 0 h 441167"/>
                <a:gd name="connsiteX2" fmla="*/ 0 w 1032421"/>
                <a:gd name="connsiteY2" fmla="*/ 441168 h 441167"/>
                <a:gd name="connsiteX3" fmla="*/ 869288 w 1032421"/>
                <a:gd name="connsiteY3" fmla="*/ 441168 h 441167"/>
                <a:gd name="connsiteX4" fmla="*/ 1032422 w 1032421"/>
                <a:gd name="connsiteY4" fmla="*/ 220584 h 441167"/>
                <a:gd name="connsiteX5" fmla="*/ 869288 w 1032421"/>
                <a:gd name="connsiteY5" fmla="*/ 0 h 4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2421" h="441167">
                  <a:moveTo>
                    <a:pt x="869288" y="0"/>
                  </a:moveTo>
                  <a:lnTo>
                    <a:pt x="0" y="0"/>
                  </a:lnTo>
                  <a:lnTo>
                    <a:pt x="0" y="441168"/>
                  </a:lnTo>
                  <a:lnTo>
                    <a:pt x="869288" y="441168"/>
                  </a:lnTo>
                  <a:cubicBezTo>
                    <a:pt x="959411" y="441168"/>
                    <a:pt x="1032422" y="342876"/>
                    <a:pt x="1032422" y="220584"/>
                  </a:cubicBezTo>
                  <a:cubicBezTo>
                    <a:pt x="1032422" y="98291"/>
                    <a:pt x="959411" y="0"/>
                    <a:pt x="869288" y="0"/>
                  </a:cubicBez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652BE43F-1122-AE20-4D29-86494567D42B}"/>
                </a:ext>
              </a:extLst>
            </p:cNvPr>
            <p:cNvSpPr/>
            <p:nvPr/>
          </p:nvSpPr>
          <p:spPr>
            <a:xfrm>
              <a:off x="-3687531" y="1134189"/>
              <a:ext cx="326268" cy="441167"/>
            </a:xfrm>
            <a:custGeom>
              <a:avLst/>
              <a:gdLst>
                <a:gd name="connsiteX0" fmla="*/ 326268 w 326268"/>
                <a:gd name="connsiteY0" fmla="*/ 220584 h 441167"/>
                <a:gd name="connsiteX1" fmla="*/ 163134 w 326268"/>
                <a:gd name="connsiteY1" fmla="*/ 441168 h 441167"/>
                <a:gd name="connsiteX2" fmla="*/ 0 w 326268"/>
                <a:gd name="connsiteY2" fmla="*/ 220584 h 441167"/>
                <a:gd name="connsiteX3" fmla="*/ 163134 w 326268"/>
                <a:gd name="connsiteY3" fmla="*/ 0 h 441167"/>
                <a:gd name="connsiteX4" fmla="*/ 326268 w 326268"/>
                <a:gd name="connsiteY4" fmla="*/ 220584 h 4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268" h="441167">
                  <a:moveTo>
                    <a:pt x="326268" y="220584"/>
                  </a:moveTo>
                  <a:cubicBezTo>
                    <a:pt x="326268" y="342409"/>
                    <a:pt x="253230" y="441168"/>
                    <a:pt x="163134" y="441168"/>
                  </a:cubicBezTo>
                  <a:cubicBezTo>
                    <a:pt x="73037" y="441168"/>
                    <a:pt x="0" y="342409"/>
                    <a:pt x="0" y="220584"/>
                  </a:cubicBezTo>
                  <a:cubicBezTo>
                    <a:pt x="0" y="98759"/>
                    <a:pt x="73037" y="0"/>
                    <a:pt x="163134" y="0"/>
                  </a:cubicBezTo>
                  <a:cubicBezTo>
                    <a:pt x="253230" y="0"/>
                    <a:pt x="326268" y="98759"/>
                    <a:pt x="326268" y="220584"/>
                  </a:cubicBez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4C50FD27-7D5F-BF47-E484-EDEAB16941D9}"/>
                </a:ext>
              </a:extLst>
            </p:cNvPr>
            <p:cNvSpPr/>
            <p:nvPr/>
          </p:nvSpPr>
          <p:spPr>
            <a:xfrm>
              <a:off x="-3499299" y="2960577"/>
              <a:ext cx="1314426" cy="2305271"/>
            </a:xfrm>
            <a:custGeom>
              <a:avLst/>
              <a:gdLst>
                <a:gd name="connsiteX0" fmla="*/ 303452 w 1314426"/>
                <a:gd name="connsiteY0" fmla="*/ 2217267 h 2305271"/>
                <a:gd name="connsiteX1" fmla="*/ 0 w 1314426"/>
                <a:gd name="connsiteY1" fmla="*/ 2140692 h 2305271"/>
                <a:gd name="connsiteX2" fmla="*/ 221315 w 1314426"/>
                <a:gd name="connsiteY2" fmla="*/ 1250356 h 2305271"/>
                <a:gd name="connsiteX3" fmla="*/ 185950 w 1314426"/>
                <a:gd name="connsiteY3" fmla="*/ 357734 h 2305271"/>
                <a:gd name="connsiteX4" fmla="*/ 213329 w 1314426"/>
                <a:gd name="connsiteY4" fmla="*/ 82290 h 2305271"/>
                <a:gd name="connsiteX5" fmla="*/ 1013028 w 1314426"/>
                <a:gd name="connsiteY5" fmla="*/ 0 h 2305271"/>
                <a:gd name="connsiteX6" fmla="*/ 1088321 w 1314426"/>
                <a:gd name="connsiteY6" fmla="*/ 297160 h 2305271"/>
                <a:gd name="connsiteX7" fmla="*/ 1314198 w 1314426"/>
                <a:gd name="connsiteY7" fmla="*/ 1189781 h 2305271"/>
                <a:gd name="connsiteX8" fmla="*/ 1295946 w 1314426"/>
                <a:gd name="connsiteY8" fmla="*/ 2298414 h 2305271"/>
                <a:gd name="connsiteX9" fmla="*/ 976523 w 1314426"/>
                <a:gd name="connsiteY9" fmla="*/ 2305272 h 2305271"/>
                <a:gd name="connsiteX10" fmla="*/ 897807 w 1314426"/>
                <a:gd name="connsiteY10" fmla="*/ 1315502 h 2305271"/>
                <a:gd name="connsiteX11" fmla="*/ 705013 w 1314426"/>
                <a:gd name="connsiteY11" fmla="*/ 648036 h 2305271"/>
                <a:gd name="connsiteX12" fmla="*/ 658240 w 1314426"/>
                <a:gd name="connsiteY12" fmla="*/ 1314360 h 2305271"/>
                <a:gd name="connsiteX13" fmla="*/ 304593 w 1314426"/>
                <a:gd name="connsiteY13" fmla="*/ 2218410 h 2305271"/>
                <a:gd name="connsiteX14" fmla="*/ 303452 w 1314426"/>
                <a:gd name="connsiteY14" fmla="*/ 2218410 h 230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14426" h="2305271">
                  <a:moveTo>
                    <a:pt x="303452" y="2217267"/>
                  </a:moveTo>
                  <a:lnTo>
                    <a:pt x="0" y="2140692"/>
                  </a:lnTo>
                  <a:cubicBezTo>
                    <a:pt x="0" y="2140692"/>
                    <a:pt x="216751" y="1397793"/>
                    <a:pt x="221315" y="1250356"/>
                  </a:cubicBezTo>
                  <a:cubicBezTo>
                    <a:pt x="227019" y="1101776"/>
                    <a:pt x="182528" y="498314"/>
                    <a:pt x="185950" y="357734"/>
                  </a:cubicBezTo>
                  <a:cubicBezTo>
                    <a:pt x="189372" y="217155"/>
                    <a:pt x="213329" y="82290"/>
                    <a:pt x="213329" y="82290"/>
                  </a:cubicBezTo>
                  <a:lnTo>
                    <a:pt x="1013028" y="0"/>
                  </a:lnTo>
                  <a:lnTo>
                    <a:pt x="1088321" y="297160"/>
                  </a:lnTo>
                  <a:cubicBezTo>
                    <a:pt x="1117981" y="377164"/>
                    <a:pt x="1322184" y="1104062"/>
                    <a:pt x="1314198" y="1189781"/>
                  </a:cubicBezTo>
                  <a:lnTo>
                    <a:pt x="1295946" y="2298414"/>
                  </a:lnTo>
                  <a:lnTo>
                    <a:pt x="976523" y="2305272"/>
                  </a:lnTo>
                  <a:lnTo>
                    <a:pt x="897807" y="1315502"/>
                  </a:lnTo>
                  <a:lnTo>
                    <a:pt x="705013" y="648036"/>
                  </a:lnTo>
                  <a:cubicBezTo>
                    <a:pt x="705013" y="648036"/>
                    <a:pt x="694746" y="1089204"/>
                    <a:pt x="658240" y="1314360"/>
                  </a:cubicBezTo>
                  <a:cubicBezTo>
                    <a:pt x="621735" y="1539515"/>
                    <a:pt x="304593" y="2218410"/>
                    <a:pt x="304593" y="2218410"/>
                  </a:cubicBezTo>
                  <a:lnTo>
                    <a:pt x="303452" y="2218410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4" name="Graphic 43">
              <a:extLst>
                <a:ext uri="{FF2B5EF4-FFF2-40B4-BE49-F238E27FC236}">
                  <a16:creationId xmlns:a16="http://schemas.microsoft.com/office/drawing/2014/main" id="{F120EBFB-8153-495C-12EA-1B65F3BA8D70}"/>
                </a:ext>
              </a:extLst>
            </p:cNvPr>
            <p:cNvGrpSpPr/>
            <p:nvPr/>
          </p:nvGrpSpPr>
          <p:grpSpPr>
            <a:xfrm>
              <a:off x="-3153130" y="888265"/>
              <a:ext cx="862447" cy="868816"/>
              <a:chOff x="2476010" y="1518205"/>
              <a:chExt cx="862447" cy="868816"/>
            </a:xfrm>
          </p:grpSpPr>
          <p:grpSp>
            <p:nvGrpSpPr>
              <p:cNvPr id="55" name="Graphic 43">
                <a:extLst>
                  <a:ext uri="{FF2B5EF4-FFF2-40B4-BE49-F238E27FC236}">
                    <a16:creationId xmlns:a16="http://schemas.microsoft.com/office/drawing/2014/main" id="{BDAC939D-0CD3-9EB1-A2EA-64323ECDD574}"/>
                  </a:ext>
                </a:extLst>
              </p:cNvPr>
              <p:cNvGrpSpPr/>
              <p:nvPr/>
            </p:nvGrpSpPr>
            <p:grpSpPr>
              <a:xfrm>
                <a:off x="2498720" y="1603673"/>
                <a:ext cx="673499" cy="783348"/>
                <a:chOff x="2498720" y="1603673"/>
                <a:chExt cx="673499" cy="783348"/>
              </a:xfrm>
              <a:solidFill>
                <a:srgbClr val="FFD78F"/>
              </a:solidFill>
            </p:grpSpPr>
            <p:sp>
              <p:nvSpPr>
                <p:cNvPr id="56" name="Freeform 55">
                  <a:extLst>
                    <a:ext uri="{FF2B5EF4-FFF2-40B4-BE49-F238E27FC236}">
                      <a16:creationId xmlns:a16="http://schemas.microsoft.com/office/drawing/2014/main" id="{7C79991A-D540-0B96-5668-5829569768C3}"/>
                    </a:ext>
                  </a:extLst>
                </p:cNvPr>
                <p:cNvSpPr/>
                <p:nvPr/>
              </p:nvSpPr>
              <p:spPr>
                <a:xfrm>
                  <a:off x="2538246" y="1959569"/>
                  <a:ext cx="294325" cy="427452"/>
                </a:xfrm>
                <a:custGeom>
                  <a:avLst/>
                  <a:gdLst>
                    <a:gd name="connsiteX0" fmla="*/ 29661 w 294325"/>
                    <a:gd name="connsiteY0" fmla="*/ 148580 h 427452"/>
                    <a:gd name="connsiteX1" fmla="*/ 53618 w 294325"/>
                    <a:gd name="connsiteY1" fmla="*/ 0 h 427452"/>
                    <a:gd name="connsiteX2" fmla="*/ 294326 w 294325"/>
                    <a:gd name="connsiteY2" fmla="*/ 0 h 427452"/>
                    <a:gd name="connsiteX3" fmla="*/ 255539 w 294325"/>
                    <a:gd name="connsiteY3" fmla="*/ 246871 h 427452"/>
                    <a:gd name="connsiteX4" fmla="*/ 152867 w 294325"/>
                    <a:gd name="connsiteY4" fmla="*/ 427452 h 427452"/>
                    <a:gd name="connsiteX5" fmla="*/ 23957 w 294325"/>
                    <a:gd name="connsiteY5" fmla="*/ 262872 h 427452"/>
                    <a:gd name="connsiteX6" fmla="*/ 0 w 294325"/>
                    <a:gd name="connsiteY6" fmla="*/ 219441 h 427452"/>
                    <a:gd name="connsiteX7" fmla="*/ 28520 w 294325"/>
                    <a:gd name="connsiteY7" fmla="*/ 148580 h 427452"/>
                    <a:gd name="connsiteX8" fmla="*/ 28520 w 294325"/>
                    <a:gd name="connsiteY8" fmla="*/ 148580 h 427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4325" h="427452">
                      <a:moveTo>
                        <a:pt x="29661" y="148580"/>
                      </a:moveTo>
                      <a:cubicBezTo>
                        <a:pt x="42210" y="101720"/>
                        <a:pt x="49054" y="49146"/>
                        <a:pt x="53618" y="0"/>
                      </a:cubicBezTo>
                      <a:lnTo>
                        <a:pt x="294326" y="0"/>
                      </a:lnTo>
                      <a:lnTo>
                        <a:pt x="255539" y="246871"/>
                      </a:lnTo>
                      <a:cubicBezTo>
                        <a:pt x="231582" y="301731"/>
                        <a:pt x="203062" y="397737"/>
                        <a:pt x="152867" y="427452"/>
                      </a:cubicBezTo>
                      <a:cubicBezTo>
                        <a:pt x="152867" y="427452"/>
                        <a:pt x="71870" y="372592"/>
                        <a:pt x="23957" y="262872"/>
                      </a:cubicBezTo>
                      <a:cubicBezTo>
                        <a:pt x="15971" y="245728"/>
                        <a:pt x="4563" y="233156"/>
                        <a:pt x="0" y="219441"/>
                      </a:cubicBezTo>
                      <a:cubicBezTo>
                        <a:pt x="11408" y="198868"/>
                        <a:pt x="20534" y="174867"/>
                        <a:pt x="28520" y="148580"/>
                      </a:cubicBezTo>
                      <a:lnTo>
                        <a:pt x="28520" y="148580"/>
                      </a:lnTo>
                      <a:close/>
                    </a:path>
                  </a:pathLst>
                </a:custGeom>
                <a:solidFill>
                  <a:srgbClr val="FFD78F"/>
                </a:solidFill>
                <a:ln w="12662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" name="Freeform 56">
                  <a:extLst>
                    <a:ext uri="{FF2B5EF4-FFF2-40B4-BE49-F238E27FC236}">
                      <a16:creationId xmlns:a16="http://schemas.microsoft.com/office/drawing/2014/main" id="{8AE9FF86-5854-8DB0-E57F-248290B26B82}"/>
                    </a:ext>
                  </a:extLst>
                </p:cNvPr>
                <p:cNvSpPr/>
                <p:nvPr/>
              </p:nvSpPr>
              <p:spPr>
                <a:xfrm>
                  <a:off x="2498720" y="1603673"/>
                  <a:ext cx="499380" cy="538048"/>
                </a:xfrm>
                <a:custGeom>
                  <a:avLst/>
                  <a:gdLst>
                    <a:gd name="connsiteX0" fmla="*/ 52075 w 499380"/>
                    <a:gd name="connsiteY0" fmla="*/ 374182 h 538048"/>
                    <a:gd name="connsiteX1" fmla="*/ 740 w 499380"/>
                    <a:gd name="connsiteY1" fmla="*/ 208459 h 538048"/>
                    <a:gd name="connsiteX2" fmla="*/ 199238 w 499380"/>
                    <a:gd name="connsiteY2" fmla="*/ 447 h 538048"/>
                    <a:gd name="connsiteX3" fmla="*/ 460481 w 499380"/>
                    <a:gd name="connsiteY3" fmla="*/ 258747 h 538048"/>
                    <a:gd name="connsiteX4" fmla="*/ 460481 w 499380"/>
                    <a:gd name="connsiteY4" fmla="*/ 258747 h 538048"/>
                    <a:gd name="connsiteX5" fmla="*/ 462762 w 499380"/>
                    <a:gd name="connsiteY5" fmla="*/ 265605 h 538048"/>
                    <a:gd name="connsiteX6" fmla="*/ 482156 w 499380"/>
                    <a:gd name="connsiteY6" fmla="*/ 306750 h 538048"/>
                    <a:gd name="connsiteX7" fmla="*/ 499268 w 499380"/>
                    <a:gd name="connsiteY7" fmla="*/ 347895 h 538048"/>
                    <a:gd name="connsiteX8" fmla="*/ 485578 w 499380"/>
                    <a:gd name="connsiteY8" fmla="*/ 369611 h 538048"/>
                    <a:gd name="connsiteX9" fmla="*/ 467326 w 499380"/>
                    <a:gd name="connsiteY9" fmla="*/ 369611 h 538048"/>
                    <a:gd name="connsiteX10" fmla="*/ 479874 w 499380"/>
                    <a:gd name="connsiteY10" fmla="*/ 402755 h 538048"/>
                    <a:gd name="connsiteX11" fmla="*/ 462762 w 499380"/>
                    <a:gd name="connsiteY11" fmla="*/ 424471 h 538048"/>
                    <a:gd name="connsiteX12" fmla="*/ 459340 w 499380"/>
                    <a:gd name="connsiteY12" fmla="*/ 454187 h 538048"/>
                    <a:gd name="connsiteX13" fmla="*/ 444510 w 499380"/>
                    <a:gd name="connsiteY13" fmla="*/ 465616 h 538048"/>
                    <a:gd name="connsiteX14" fmla="*/ 444510 w 499380"/>
                    <a:gd name="connsiteY14" fmla="*/ 502190 h 538048"/>
                    <a:gd name="connsiteX15" fmla="*/ 411427 w 499380"/>
                    <a:gd name="connsiteY15" fmla="*/ 536477 h 538048"/>
                    <a:gd name="connsiteX16" fmla="*/ 324726 w 499380"/>
                    <a:gd name="connsiteY16" fmla="*/ 534191 h 538048"/>
                    <a:gd name="connsiteX17" fmla="*/ 195816 w 499380"/>
                    <a:gd name="connsiteY17" fmla="*/ 479331 h 538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99380" h="538048">
                      <a:moveTo>
                        <a:pt x="52075" y="374182"/>
                      </a:moveTo>
                      <a:cubicBezTo>
                        <a:pt x="52075" y="374182"/>
                        <a:pt x="-7246" y="293035"/>
                        <a:pt x="740" y="208459"/>
                      </a:cubicBezTo>
                      <a:cubicBezTo>
                        <a:pt x="8725" y="123883"/>
                        <a:pt x="80595" y="32449"/>
                        <a:pt x="199238" y="447"/>
                      </a:cubicBezTo>
                      <a:cubicBezTo>
                        <a:pt x="199238" y="447"/>
                        <a:pt x="477593" y="-22411"/>
                        <a:pt x="460481" y="258747"/>
                      </a:cubicBezTo>
                      <a:lnTo>
                        <a:pt x="460481" y="258747"/>
                      </a:lnTo>
                      <a:cubicBezTo>
                        <a:pt x="460481" y="261033"/>
                        <a:pt x="460481" y="263319"/>
                        <a:pt x="462762" y="265605"/>
                      </a:cubicBezTo>
                      <a:cubicBezTo>
                        <a:pt x="469607" y="279320"/>
                        <a:pt x="476452" y="293035"/>
                        <a:pt x="482156" y="306750"/>
                      </a:cubicBezTo>
                      <a:lnTo>
                        <a:pt x="499268" y="347895"/>
                      </a:lnTo>
                      <a:cubicBezTo>
                        <a:pt x="499268" y="347895"/>
                        <a:pt x="501549" y="369611"/>
                        <a:pt x="485578" y="369611"/>
                      </a:cubicBezTo>
                      <a:cubicBezTo>
                        <a:pt x="469607" y="369611"/>
                        <a:pt x="467326" y="369611"/>
                        <a:pt x="467326" y="369611"/>
                      </a:cubicBezTo>
                      <a:cubicBezTo>
                        <a:pt x="463903" y="379897"/>
                        <a:pt x="470748" y="390183"/>
                        <a:pt x="479874" y="402755"/>
                      </a:cubicBezTo>
                      <a:cubicBezTo>
                        <a:pt x="479874" y="415327"/>
                        <a:pt x="470748" y="419899"/>
                        <a:pt x="462762" y="424471"/>
                      </a:cubicBezTo>
                      <a:cubicBezTo>
                        <a:pt x="462762" y="424471"/>
                        <a:pt x="470748" y="446186"/>
                        <a:pt x="459340" y="454187"/>
                      </a:cubicBezTo>
                      <a:cubicBezTo>
                        <a:pt x="447932" y="462187"/>
                        <a:pt x="444510" y="465616"/>
                        <a:pt x="444510" y="465616"/>
                      </a:cubicBezTo>
                      <a:lnTo>
                        <a:pt x="444510" y="502190"/>
                      </a:lnTo>
                      <a:cubicBezTo>
                        <a:pt x="443369" y="502190"/>
                        <a:pt x="433102" y="530763"/>
                        <a:pt x="411427" y="536477"/>
                      </a:cubicBezTo>
                      <a:cubicBezTo>
                        <a:pt x="388611" y="541049"/>
                        <a:pt x="324726" y="534191"/>
                        <a:pt x="324726" y="534191"/>
                      </a:cubicBezTo>
                      <a:cubicBezTo>
                        <a:pt x="324726" y="534191"/>
                        <a:pt x="215209" y="511333"/>
                        <a:pt x="195816" y="479331"/>
                      </a:cubicBezTo>
                    </a:path>
                  </a:pathLst>
                </a:custGeom>
                <a:solidFill>
                  <a:srgbClr val="FFD78F"/>
                </a:solidFill>
                <a:ln w="12662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3957DB93-0216-BDA2-23D7-D3A2F3F43A2E}"/>
                  </a:ext>
                </a:extLst>
              </p:cNvPr>
              <p:cNvSpPr/>
              <p:nvPr/>
            </p:nvSpPr>
            <p:spPr>
              <a:xfrm>
                <a:off x="2559921" y="1591094"/>
                <a:ext cx="386903" cy="150410"/>
              </a:xfrm>
              <a:custGeom>
                <a:avLst/>
                <a:gdLst>
                  <a:gd name="connsiteX0" fmla="*/ 375322 w 386903"/>
                  <a:gd name="connsiteY0" fmla="*/ 123890 h 150410"/>
                  <a:gd name="connsiteX1" fmla="*/ 108376 w 386903"/>
                  <a:gd name="connsiteY1" fmla="*/ 6169 h 150410"/>
                  <a:gd name="connsiteX2" fmla="*/ 0 w 386903"/>
                  <a:gd name="connsiteY2" fmla="*/ 71315 h 150410"/>
                  <a:gd name="connsiteX3" fmla="*/ 211047 w 386903"/>
                  <a:gd name="connsiteY3" fmla="*/ 126176 h 150410"/>
                  <a:gd name="connsiteX4" fmla="*/ 386730 w 386903"/>
                  <a:gd name="connsiteY4" fmla="*/ 150177 h 150410"/>
                  <a:gd name="connsiteX5" fmla="*/ 375322 w 386903"/>
                  <a:gd name="connsiteY5" fmla="*/ 122747 h 150410"/>
                  <a:gd name="connsiteX6" fmla="*/ 375322 w 386903"/>
                  <a:gd name="connsiteY6" fmla="*/ 122747 h 150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6903" h="150410">
                    <a:moveTo>
                      <a:pt x="375322" y="123890"/>
                    </a:moveTo>
                    <a:cubicBezTo>
                      <a:pt x="277214" y="-40691"/>
                      <a:pt x="108376" y="6169"/>
                      <a:pt x="108376" y="6169"/>
                    </a:cubicBezTo>
                    <a:cubicBezTo>
                      <a:pt x="60462" y="18741"/>
                      <a:pt x="26238" y="42742"/>
                      <a:pt x="0" y="71315"/>
                    </a:cubicBezTo>
                    <a:lnTo>
                      <a:pt x="211047" y="126176"/>
                    </a:lnTo>
                    <a:lnTo>
                      <a:pt x="386730" y="150177"/>
                    </a:lnTo>
                    <a:cubicBezTo>
                      <a:pt x="387871" y="152463"/>
                      <a:pt x="383308" y="137605"/>
                      <a:pt x="375322" y="122747"/>
                    </a:cubicBezTo>
                    <a:lnTo>
                      <a:pt x="375322" y="122747"/>
                    </a:lnTo>
                    <a:close/>
                  </a:path>
                </a:pathLst>
              </a:custGeom>
              <a:solidFill>
                <a:srgbClr val="281805"/>
              </a:solidFill>
              <a:ln w="84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ADA63993-9190-7805-F4D2-248C2BDC7E28}"/>
                  </a:ext>
                </a:extLst>
              </p:cNvPr>
              <p:cNvSpPr/>
              <p:nvPr/>
            </p:nvSpPr>
            <p:spPr>
              <a:xfrm>
                <a:off x="2498163" y="1644123"/>
                <a:ext cx="486850" cy="524835"/>
              </a:xfrm>
              <a:custGeom>
                <a:avLst/>
                <a:gdLst>
                  <a:gd name="connsiteX0" fmla="*/ 470164 w 486850"/>
                  <a:gd name="connsiteY0" fmla="*/ 329161 h 524835"/>
                  <a:gd name="connsiteX1" fmla="*/ 401716 w 486850"/>
                  <a:gd name="connsiteY1" fmla="*/ 340590 h 524835"/>
                  <a:gd name="connsiteX2" fmla="*/ 329846 w 486850"/>
                  <a:gd name="connsiteY2" fmla="*/ 432024 h 524835"/>
                  <a:gd name="connsiteX3" fmla="*/ 288777 w 486850"/>
                  <a:gd name="connsiteY3" fmla="*/ 218298 h 524835"/>
                  <a:gd name="connsiteX4" fmla="*/ 301326 w 486850"/>
                  <a:gd name="connsiteY4" fmla="*/ 189725 h 524835"/>
                  <a:gd name="connsiteX5" fmla="*/ 318438 w 486850"/>
                  <a:gd name="connsiteY5" fmla="*/ 187439 h 524835"/>
                  <a:gd name="connsiteX6" fmla="*/ 357225 w 486850"/>
                  <a:gd name="connsiteY6" fmla="*/ 138293 h 524835"/>
                  <a:gd name="connsiteX7" fmla="*/ 332128 w 486850"/>
                  <a:gd name="connsiteY7" fmla="*/ 44574 h 524835"/>
                  <a:gd name="connsiteX8" fmla="*/ 80011 w 486850"/>
                  <a:gd name="connsiteY8" fmla="*/ 0 h 524835"/>
                  <a:gd name="connsiteX9" fmla="*/ 1296 w 486850"/>
                  <a:gd name="connsiteY9" fmla="*/ 168009 h 524835"/>
                  <a:gd name="connsiteX10" fmla="*/ 86856 w 486850"/>
                  <a:gd name="connsiteY10" fmla="*/ 395451 h 524835"/>
                  <a:gd name="connsiteX11" fmla="*/ 143896 w 486850"/>
                  <a:gd name="connsiteY11" fmla="*/ 334876 h 524835"/>
                  <a:gd name="connsiteX12" fmla="*/ 149600 w 486850"/>
                  <a:gd name="connsiteY12" fmla="*/ 286873 h 524835"/>
                  <a:gd name="connsiteX13" fmla="*/ 251131 w 486850"/>
                  <a:gd name="connsiteY13" fmla="*/ 208012 h 524835"/>
                  <a:gd name="connsiteX14" fmla="*/ 227174 w 486850"/>
                  <a:gd name="connsiteY14" fmla="*/ 340590 h 524835"/>
                  <a:gd name="connsiteX15" fmla="*/ 178120 w 486850"/>
                  <a:gd name="connsiteY15" fmla="*/ 452597 h 524835"/>
                  <a:gd name="connsiteX16" fmla="*/ 392590 w 486850"/>
                  <a:gd name="connsiteY16" fmla="*/ 524601 h 524835"/>
                  <a:gd name="connsiteX17" fmla="*/ 442785 w 486850"/>
                  <a:gd name="connsiteY17" fmla="*/ 429738 h 524835"/>
                  <a:gd name="connsiteX18" fmla="*/ 383463 w 486850"/>
                  <a:gd name="connsiteY18" fmla="*/ 418309 h 524835"/>
                  <a:gd name="connsiteX19" fmla="*/ 402857 w 486850"/>
                  <a:gd name="connsiteY19" fmla="*/ 374878 h 524835"/>
                  <a:gd name="connsiteX20" fmla="*/ 470164 w 486850"/>
                  <a:gd name="connsiteY20" fmla="*/ 380593 h 524835"/>
                  <a:gd name="connsiteX21" fmla="*/ 470164 w 486850"/>
                  <a:gd name="connsiteY21" fmla="*/ 329161 h 524835"/>
                  <a:gd name="connsiteX22" fmla="*/ 470164 w 486850"/>
                  <a:gd name="connsiteY22" fmla="*/ 329161 h 52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6850" h="524835">
                    <a:moveTo>
                      <a:pt x="470164" y="329161"/>
                    </a:moveTo>
                    <a:cubicBezTo>
                      <a:pt x="448489" y="332590"/>
                      <a:pt x="429095" y="332590"/>
                      <a:pt x="401716" y="340590"/>
                    </a:cubicBezTo>
                    <a:cubicBezTo>
                      <a:pt x="332128" y="362306"/>
                      <a:pt x="335550" y="435453"/>
                      <a:pt x="329846" y="432024"/>
                    </a:cubicBezTo>
                    <a:cubicBezTo>
                      <a:pt x="278510" y="400022"/>
                      <a:pt x="288777" y="222870"/>
                      <a:pt x="288777" y="218298"/>
                    </a:cubicBezTo>
                    <a:cubicBezTo>
                      <a:pt x="288777" y="205726"/>
                      <a:pt x="288777" y="190868"/>
                      <a:pt x="301326" y="189725"/>
                    </a:cubicBezTo>
                    <a:lnTo>
                      <a:pt x="318438" y="187439"/>
                    </a:lnTo>
                    <a:cubicBezTo>
                      <a:pt x="341254" y="185153"/>
                      <a:pt x="362929" y="162295"/>
                      <a:pt x="357225" y="138293"/>
                    </a:cubicBezTo>
                    <a:lnTo>
                      <a:pt x="332128" y="44574"/>
                    </a:lnTo>
                    <a:lnTo>
                      <a:pt x="80011" y="0"/>
                    </a:lnTo>
                    <a:cubicBezTo>
                      <a:pt x="28675" y="44574"/>
                      <a:pt x="9282" y="109720"/>
                      <a:pt x="1296" y="168009"/>
                    </a:cubicBezTo>
                    <a:cubicBezTo>
                      <a:pt x="-12393" y="269729"/>
                      <a:pt x="86856" y="395451"/>
                      <a:pt x="86856" y="395451"/>
                    </a:cubicBezTo>
                    <a:lnTo>
                      <a:pt x="143896" y="334876"/>
                    </a:lnTo>
                    <a:cubicBezTo>
                      <a:pt x="156445" y="316589"/>
                      <a:pt x="157586" y="304017"/>
                      <a:pt x="149600" y="286873"/>
                    </a:cubicBezTo>
                    <a:cubicBezTo>
                      <a:pt x="106250" y="190868"/>
                      <a:pt x="220330" y="130293"/>
                      <a:pt x="251131" y="208012"/>
                    </a:cubicBezTo>
                    <a:cubicBezTo>
                      <a:pt x="264821" y="245728"/>
                      <a:pt x="238582" y="320018"/>
                      <a:pt x="227174" y="340590"/>
                    </a:cubicBezTo>
                    <a:cubicBezTo>
                      <a:pt x="214625" y="363449"/>
                      <a:pt x="175838" y="441168"/>
                      <a:pt x="178120" y="452597"/>
                    </a:cubicBezTo>
                    <a:cubicBezTo>
                      <a:pt x="180401" y="464026"/>
                      <a:pt x="248849" y="518886"/>
                      <a:pt x="392590" y="524601"/>
                    </a:cubicBezTo>
                    <a:cubicBezTo>
                      <a:pt x="536330" y="530315"/>
                      <a:pt x="442785" y="429738"/>
                      <a:pt x="442785" y="429738"/>
                    </a:cubicBezTo>
                    <a:cubicBezTo>
                      <a:pt x="442785" y="429738"/>
                      <a:pt x="388027" y="432024"/>
                      <a:pt x="383463" y="418309"/>
                    </a:cubicBezTo>
                    <a:cubicBezTo>
                      <a:pt x="378900" y="403451"/>
                      <a:pt x="380041" y="380593"/>
                      <a:pt x="402857" y="374878"/>
                    </a:cubicBezTo>
                    <a:cubicBezTo>
                      <a:pt x="425673" y="369164"/>
                      <a:pt x="433658" y="371449"/>
                      <a:pt x="470164" y="380593"/>
                    </a:cubicBezTo>
                    <a:cubicBezTo>
                      <a:pt x="492980" y="361163"/>
                      <a:pt x="491839" y="325733"/>
                      <a:pt x="470164" y="329161"/>
                    </a:cubicBezTo>
                    <a:lnTo>
                      <a:pt x="470164" y="329161"/>
                    </a:lnTo>
                    <a:close/>
                  </a:path>
                </a:pathLst>
              </a:custGeom>
              <a:solidFill>
                <a:srgbClr val="4D260F"/>
              </a:solidFill>
              <a:ln w="12662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B7BAF44D-76E1-878F-7B1E-AFAA4B9121BD}"/>
                  </a:ext>
                </a:extLst>
              </p:cNvPr>
              <p:cNvSpPr/>
              <p:nvPr/>
            </p:nvSpPr>
            <p:spPr>
              <a:xfrm>
                <a:off x="2476010" y="1518205"/>
                <a:ext cx="470641" cy="327072"/>
              </a:xfrm>
              <a:custGeom>
                <a:avLst/>
                <a:gdLst>
                  <a:gd name="connsiteX0" fmla="*/ 435277 w 470641"/>
                  <a:gd name="connsiteY0" fmla="*/ 72201 h 327072"/>
                  <a:gd name="connsiteX1" fmla="*/ 331464 w 470641"/>
                  <a:gd name="connsiteY1" fmla="*/ 197 h 327072"/>
                  <a:gd name="connsiteX2" fmla="*/ 10900 w 470641"/>
                  <a:gd name="connsiteY2" fmla="*/ 327072 h 327072"/>
                  <a:gd name="connsiteX3" fmla="*/ 233356 w 470641"/>
                  <a:gd name="connsiteY3" fmla="*/ 280213 h 327072"/>
                  <a:gd name="connsiteX4" fmla="*/ 470642 w 470641"/>
                  <a:gd name="connsiteY4" fmla="*/ 224209 h 327072"/>
                  <a:gd name="connsiteX5" fmla="*/ 435277 w 470641"/>
                  <a:gd name="connsiteY5" fmla="*/ 72201 h 327072"/>
                  <a:gd name="connsiteX6" fmla="*/ 435277 w 470641"/>
                  <a:gd name="connsiteY6" fmla="*/ 72201 h 327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0641" h="327072">
                    <a:moveTo>
                      <a:pt x="435277" y="72201"/>
                    </a:moveTo>
                    <a:cubicBezTo>
                      <a:pt x="435277" y="72201"/>
                      <a:pt x="422728" y="-4375"/>
                      <a:pt x="331464" y="197"/>
                    </a:cubicBezTo>
                    <a:cubicBezTo>
                      <a:pt x="129543" y="9340"/>
                      <a:pt x="-46140" y="92773"/>
                      <a:pt x="10900" y="327072"/>
                    </a:cubicBezTo>
                    <a:lnTo>
                      <a:pt x="233356" y="280213"/>
                    </a:lnTo>
                    <a:lnTo>
                      <a:pt x="470642" y="224209"/>
                    </a:lnTo>
                    <a:lnTo>
                      <a:pt x="435277" y="72201"/>
                    </a:lnTo>
                    <a:lnTo>
                      <a:pt x="435277" y="72201"/>
                    </a:lnTo>
                    <a:close/>
                  </a:path>
                </a:pathLst>
              </a:custGeom>
              <a:solidFill>
                <a:srgbClr val="FFFFFF"/>
              </a:solidFill>
              <a:ln w="12662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14CCA06A-721F-B9A3-9297-05B26C951BFF}"/>
                  </a:ext>
                </a:extLst>
              </p:cNvPr>
              <p:cNvSpPr/>
              <p:nvPr/>
            </p:nvSpPr>
            <p:spPr>
              <a:xfrm>
                <a:off x="2752716" y="1715680"/>
                <a:ext cx="362773" cy="80955"/>
              </a:xfrm>
              <a:custGeom>
                <a:avLst/>
                <a:gdLst>
                  <a:gd name="connsiteX0" fmla="*/ 0 w 362773"/>
                  <a:gd name="connsiteY0" fmla="*/ 72451 h 80955"/>
                  <a:gd name="connsiteX1" fmla="*/ 362773 w 362773"/>
                  <a:gd name="connsiteY1" fmla="*/ 27877 h 80955"/>
                  <a:gd name="connsiteX2" fmla="*/ 182528 w 362773"/>
                  <a:gd name="connsiteY2" fmla="*/ 447 h 80955"/>
                  <a:gd name="connsiteX3" fmla="*/ 0 w 362773"/>
                  <a:gd name="connsiteY3" fmla="*/ 73594 h 80955"/>
                  <a:gd name="connsiteX4" fmla="*/ 0 w 362773"/>
                  <a:gd name="connsiteY4" fmla="*/ 73594 h 8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773" h="80955">
                    <a:moveTo>
                      <a:pt x="0" y="72451"/>
                    </a:moveTo>
                    <a:cubicBezTo>
                      <a:pt x="208766" y="77023"/>
                      <a:pt x="319423" y="104453"/>
                      <a:pt x="362773" y="27877"/>
                    </a:cubicBezTo>
                    <a:cubicBezTo>
                      <a:pt x="362773" y="27877"/>
                      <a:pt x="167697" y="-4125"/>
                      <a:pt x="182528" y="447"/>
                    </a:cubicBezTo>
                    <a:lnTo>
                      <a:pt x="0" y="73594"/>
                    </a:lnTo>
                    <a:lnTo>
                      <a:pt x="0" y="73594"/>
                    </a:lnTo>
                    <a:close/>
                  </a:path>
                </a:pathLst>
              </a:custGeom>
              <a:solidFill>
                <a:srgbClr val="FFFFFF"/>
              </a:solidFill>
              <a:ln w="12662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2F8A710C-F5DA-5154-EBCE-43B8E2AA57A5}"/>
                  </a:ext>
                </a:extLst>
              </p:cNvPr>
              <p:cNvSpPr/>
              <p:nvPr/>
            </p:nvSpPr>
            <p:spPr>
              <a:xfrm>
                <a:off x="2823445" y="1584691"/>
                <a:ext cx="106094" cy="116578"/>
              </a:xfrm>
              <a:custGeom>
                <a:avLst/>
                <a:gdLst>
                  <a:gd name="connsiteX0" fmla="*/ 86701 w 106094"/>
                  <a:gd name="connsiteY0" fmla="*/ 0 h 116578"/>
                  <a:gd name="connsiteX1" fmla="*/ 0 w 106094"/>
                  <a:gd name="connsiteY1" fmla="*/ 25144 h 116578"/>
                  <a:gd name="connsiteX2" fmla="*/ 23957 w 106094"/>
                  <a:gd name="connsiteY2" fmla="*/ 116578 h 116578"/>
                  <a:gd name="connsiteX3" fmla="*/ 106094 w 106094"/>
                  <a:gd name="connsiteY3" fmla="*/ 85719 h 116578"/>
                  <a:gd name="connsiteX4" fmla="*/ 86701 w 106094"/>
                  <a:gd name="connsiteY4" fmla="*/ 0 h 116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94" h="116578">
                    <a:moveTo>
                      <a:pt x="86701" y="0"/>
                    </a:moveTo>
                    <a:lnTo>
                      <a:pt x="0" y="25144"/>
                    </a:lnTo>
                    <a:lnTo>
                      <a:pt x="23957" y="116578"/>
                    </a:lnTo>
                    <a:lnTo>
                      <a:pt x="106094" y="85719"/>
                    </a:lnTo>
                    <a:lnTo>
                      <a:pt x="8670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662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B4EBF36-0669-2E85-B77A-6AF893315844}"/>
                </a:ext>
              </a:extLst>
            </p:cNvPr>
            <p:cNvSpPr/>
            <p:nvPr/>
          </p:nvSpPr>
          <p:spPr>
            <a:xfrm>
              <a:off x="-3839855" y="1507925"/>
              <a:ext cx="2146438" cy="1686951"/>
            </a:xfrm>
            <a:custGeom>
              <a:avLst/>
              <a:gdLst>
                <a:gd name="connsiteX0" fmla="*/ 446650 w 2146438"/>
                <a:gd name="connsiteY0" fmla="*/ 992056 h 1686951"/>
                <a:gd name="connsiteX1" fmla="*/ 453495 w 2146438"/>
                <a:gd name="connsiteY1" fmla="*/ 755471 h 1686951"/>
                <a:gd name="connsiteX2" fmla="*/ 316599 w 2146438"/>
                <a:gd name="connsiteY2" fmla="*/ 955482 h 1686951"/>
                <a:gd name="connsiteX3" fmla="*/ 637164 w 2146438"/>
                <a:gd name="connsiteY3" fmla="*/ 1068631 h 1686951"/>
                <a:gd name="connsiteX4" fmla="*/ 573279 w 2146438"/>
                <a:gd name="connsiteY4" fmla="*/ 1286929 h 1686951"/>
                <a:gd name="connsiteX5" fmla="*/ 87299 w 2146438"/>
                <a:gd name="connsiteY5" fmla="*/ 1174923 h 1686951"/>
                <a:gd name="connsiteX6" fmla="*/ 265264 w 2146438"/>
                <a:gd name="connsiteY6" fmla="*/ 315446 h 1686951"/>
                <a:gd name="connsiteX7" fmla="*/ 445510 w 2146438"/>
                <a:gd name="connsiteY7" fmla="*/ 173724 h 1686951"/>
                <a:gd name="connsiteX8" fmla="*/ 599517 w 2146438"/>
                <a:gd name="connsiteY8" fmla="*/ 128007 h 1686951"/>
                <a:gd name="connsiteX9" fmla="*/ 599517 w 2146438"/>
                <a:gd name="connsiteY9" fmla="*/ 128007 h 1686951"/>
                <a:gd name="connsiteX10" fmla="*/ 769496 w 2146438"/>
                <a:gd name="connsiteY10" fmla="*/ 0 h 1686951"/>
                <a:gd name="connsiteX11" fmla="*/ 767214 w 2146438"/>
                <a:gd name="connsiteY11" fmla="*/ 49146 h 1686951"/>
                <a:gd name="connsiteX12" fmla="*/ 786608 w 2146438"/>
                <a:gd name="connsiteY12" fmla="*/ 90291 h 1686951"/>
                <a:gd name="connsiteX13" fmla="*/ 891561 w 2146438"/>
                <a:gd name="connsiteY13" fmla="*/ 203440 h 1686951"/>
                <a:gd name="connsiteX14" fmla="*/ 893843 w 2146438"/>
                <a:gd name="connsiteY14" fmla="*/ 203440 h 1686951"/>
                <a:gd name="connsiteX15" fmla="*/ 985107 w 2146438"/>
                <a:gd name="connsiteY15" fmla="*/ 78862 h 1686951"/>
                <a:gd name="connsiteX16" fmla="*/ 1013627 w 2146438"/>
                <a:gd name="connsiteY16" fmla="*/ 29716 h 1686951"/>
                <a:gd name="connsiteX17" fmla="*/ 1143677 w 2146438"/>
                <a:gd name="connsiteY17" fmla="*/ 131436 h 1686951"/>
                <a:gd name="connsiteX18" fmla="*/ 1294263 w 2146438"/>
                <a:gd name="connsiteY18" fmla="*/ 177153 h 1686951"/>
                <a:gd name="connsiteX19" fmla="*/ 1461960 w 2146438"/>
                <a:gd name="connsiteY19" fmla="*/ 325733 h 1686951"/>
                <a:gd name="connsiteX20" fmla="*/ 1682134 w 2146438"/>
                <a:gd name="connsiteY20" fmla="*/ 861763 h 1686951"/>
                <a:gd name="connsiteX21" fmla="*/ 2064301 w 2146438"/>
                <a:gd name="connsiteY21" fmla="*/ 746328 h 1686951"/>
                <a:gd name="connsiteX22" fmla="*/ 2146438 w 2146438"/>
                <a:gd name="connsiteY22" fmla="*/ 942910 h 1686951"/>
                <a:gd name="connsiteX23" fmla="*/ 1522422 w 2146438"/>
                <a:gd name="connsiteY23" fmla="*/ 1148636 h 1686951"/>
                <a:gd name="connsiteX24" fmla="*/ 1393512 w 2146438"/>
                <a:gd name="connsiteY24" fmla="*/ 961197 h 1686951"/>
                <a:gd name="connsiteX25" fmla="*/ 1436863 w 2146438"/>
                <a:gd name="connsiteY25" fmla="*/ 1644664 h 1686951"/>
                <a:gd name="connsiteX26" fmla="*/ 467185 w 2146438"/>
                <a:gd name="connsiteY26" fmla="*/ 1686952 h 1686951"/>
                <a:gd name="connsiteX27" fmla="*/ 445510 w 2146438"/>
                <a:gd name="connsiteY27" fmla="*/ 1276643 h 1686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46438" h="1686951">
                  <a:moveTo>
                    <a:pt x="446650" y="992056"/>
                  </a:moveTo>
                  <a:cubicBezTo>
                    <a:pt x="446650" y="992056"/>
                    <a:pt x="443228" y="853762"/>
                    <a:pt x="453495" y="755471"/>
                  </a:cubicBezTo>
                  <a:lnTo>
                    <a:pt x="316599" y="955482"/>
                  </a:lnTo>
                  <a:cubicBezTo>
                    <a:pt x="316599" y="955482"/>
                    <a:pt x="642867" y="1042344"/>
                    <a:pt x="637164" y="1068631"/>
                  </a:cubicBezTo>
                  <a:cubicBezTo>
                    <a:pt x="629178" y="1108634"/>
                    <a:pt x="609784" y="1265214"/>
                    <a:pt x="573279" y="1286929"/>
                  </a:cubicBezTo>
                  <a:cubicBezTo>
                    <a:pt x="548181" y="1301787"/>
                    <a:pt x="132931" y="1203496"/>
                    <a:pt x="87299" y="1174923"/>
                  </a:cubicBezTo>
                  <a:cubicBezTo>
                    <a:pt x="-179647" y="1004628"/>
                    <a:pt x="249292" y="346305"/>
                    <a:pt x="265264" y="315446"/>
                  </a:cubicBezTo>
                  <a:cubicBezTo>
                    <a:pt x="300628" y="248014"/>
                    <a:pt x="373639" y="197725"/>
                    <a:pt x="445510" y="173724"/>
                  </a:cubicBezTo>
                  <a:lnTo>
                    <a:pt x="599517" y="128007"/>
                  </a:lnTo>
                  <a:lnTo>
                    <a:pt x="599517" y="128007"/>
                  </a:lnTo>
                  <a:cubicBezTo>
                    <a:pt x="634882" y="1143"/>
                    <a:pt x="739835" y="0"/>
                    <a:pt x="769496" y="0"/>
                  </a:cubicBezTo>
                  <a:cubicBezTo>
                    <a:pt x="762651" y="25144"/>
                    <a:pt x="769496" y="28573"/>
                    <a:pt x="767214" y="49146"/>
                  </a:cubicBezTo>
                  <a:cubicBezTo>
                    <a:pt x="770637" y="61718"/>
                    <a:pt x="775200" y="76576"/>
                    <a:pt x="786608" y="90291"/>
                  </a:cubicBezTo>
                  <a:cubicBezTo>
                    <a:pt x="820832" y="133722"/>
                    <a:pt x="866464" y="185153"/>
                    <a:pt x="891561" y="203440"/>
                  </a:cubicBezTo>
                  <a:lnTo>
                    <a:pt x="893843" y="203440"/>
                  </a:lnTo>
                  <a:cubicBezTo>
                    <a:pt x="944038" y="176010"/>
                    <a:pt x="962291" y="130293"/>
                    <a:pt x="985107" y="78862"/>
                  </a:cubicBezTo>
                  <a:lnTo>
                    <a:pt x="1013627" y="29716"/>
                  </a:lnTo>
                  <a:cubicBezTo>
                    <a:pt x="1013627" y="29716"/>
                    <a:pt x="1117439" y="40002"/>
                    <a:pt x="1143677" y="131436"/>
                  </a:cubicBezTo>
                  <a:lnTo>
                    <a:pt x="1294263" y="177153"/>
                  </a:lnTo>
                  <a:cubicBezTo>
                    <a:pt x="1366133" y="201154"/>
                    <a:pt x="1426595" y="258300"/>
                    <a:pt x="1461960" y="325733"/>
                  </a:cubicBezTo>
                  <a:cubicBezTo>
                    <a:pt x="1481354" y="364592"/>
                    <a:pt x="1682134" y="861763"/>
                    <a:pt x="1682134" y="861763"/>
                  </a:cubicBezTo>
                  <a:cubicBezTo>
                    <a:pt x="1718639" y="876621"/>
                    <a:pt x="2064301" y="746328"/>
                    <a:pt x="2064301" y="746328"/>
                  </a:cubicBezTo>
                  <a:lnTo>
                    <a:pt x="2146438" y="942910"/>
                  </a:lnTo>
                  <a:cubicBezTo>
                    <a:pt x="2146438" y="942910"/>
                    <a:pt x="1662740" y="1338361"/>
                    <a:pt x="1522422" y="1148636"/>
                  </a:cubicBezTo>
                  <a:cubicBezTo>
                    <a:pt x="1382104" y="958911"/>
                    <a:pt x="1393512" y="961197"/>
                    <a:pt x="1393512" y="961197"/>
                  </a:cubicBezTo>
                  <a:lnTo>
                    <a:pt x="1436863" y="1644664"/>
                  </a:lnTo>
                  <a:lnTo>
                    <a:pt x="467185" y="1686952"/>
                  </a:lnTo>
                  <a:cubicBezTo>
                    <a:pt x="459199" y="1506370"/>
                    <a:pt x="450073" y="1416079"/>
                    <a:pt x="445510" y="1276643"/>
                  </a:cubicBezTo>
                </a:path>
              </a:pathLst>
            </a:custGeom>
            <a:solidFill>
              <a:srgbClr val="281805"/>
            </a:solidFill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B38896EF-A25B-8951-43C9-EAB00027BD11}"/>
                </a:ext>
              </a:extLst>
            </p:cNvPr>
            <p:cNvSpPr/>
            <p:nvPr/>
          </p:nvSpPr>
          <p:spPr>
            <a:xfrm>
              <a:off x="-3458231" y="1634550"/>
              <a:ext cx="267479" cy="821999"/>
            </a:xfrm>
            <a:custGeom>
              <a:avLst/>
              <a:gdLst>
                <a:gd name="connsiteX0" fmla="*/ 2282 w 267479"/>
                <a:gd name="connsiteY0" fmla="*/ 73386 h 821999"/>
                <a:gd name="connsiteX1" fmla="*/ 63885 w 267479"/>
                <a:gd name="connsiteY1" fmla="*/ 653990 h 821999"/>
                <a:gd name="connsiteX2" fmla="*/ 63885 w 267479"/>
                <a:gd name="connsiteY2" fmla="*/ 821999 h 821999"/>
                <a:gd name="connsiteX3" fmla="*/ 188232 w 267479"/>
                <a:gd name="connsiteY3" fmla="*/ 8239 h 821999"/>
                <a:gd name="connsiteX4" fmla="*/ 0 w 267479"/>
                <a:gd name="connsiteY4" fmla="*/ 74529 h 821999"/>
                <a:gd name="connsiteX5" fmla="*/ 0 w 267479"/>
                <a:gd name="connsiteY5" fmla="*/ 74529 h 82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479" h="821999">
                  <a:moveTo>
                    <a:pt x="2282" y="73386"/>
                  </a:moveTo>
                  <a:cubicBezTo>
                    <a:pt x="2282" y="73386"/>
                    <a:pt x="189372" y="218537"/>
                    <a:pt x="63885" y="653990"/>
                  </a:cubicBezTo>
                  <a:cubicBezTo>
                    <a:pt x="67307" y="736280"/>
                    <a:pt x="63885" y="821999"/>
                    <a:pt x="63885" y="821999"/>
                  </a:cubicBezTo>
                  <a:cubicBezTo>
                    <a:pt x="63885" y="821999"/>
                    <a:pt x="422095" y="527126"/>
                    <a:pt x="188232" y="8239"/>
                  </a:cubicBezTo>
                  <a:cubicBezTo>
                    <a:pt x="74152" y="-29477"/>
                    <a:pt x="0" y="74529"/>
                    <a:pt x="0" y="74529"/>
                  </a:cubicBezTo>
                  <a:lnTo>
                    <a:pt x="0" y="74529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29175C6A-810F-DB87-9F75-C4531ECB3BF8}"/>
                </a:ext>
              </a:extLst>
            </p:cNvPr>
            <p:cNvSpPr/>
            <p:nvPr/>
          </p:nvSpPr>
          <p:spPr>
            <a:xfrm>
              <a:off x="-2693896" y="1623349"/>
              <a:ext cx="300027" cy="840057"/>
            </a:xfrm>
            <a:custGeom>
              <a:avLst/>
              <a:gdLst>
                <a:gd name="connsiteX0" fmla="*/ 0 w 300027"/>
                <a:gd name="connsiteY0" fmla="*/ 11440 h 840057"/>
                <a:gd name="connsiteX1" fmla="*/ 248694 w 300027"/>
                <a:gd name="connsiteY1" fmla="*/ 840058 h 840057"/>
                <a:gd name="connsiteX2" fmla="*/ 203062 w 300027"/>
                <a:gd name="connsiteY2" fmla="*/ 86873 h 840057"/>
                <a:gd name="connsiteX3" fmla="*/ 0 w 300027"/>
                <a:gd name="connsiteY3" fmla="*/ 11440 h 840057"/>
                <a:gd name="connsiteX4" fmla="*/ 0 w 300027"/>
                <a:gd name="connsiteY4" fmla="*/ 11440 h 84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27" h="840057">
                  <a:moveTo>
                    <a:pt x="0" y="11440"/>
                  </a:moveTo>
                  <a:cubicBezTo>
                    <a:pt x="106094" y="115446"/>
                    <a:pt x="257820" y="528040"/>
                    <a:pt x="248694" y="840058"/>
                  </a:cubicBezTo>
                  <a:cubicBezTo>
                    <a:pt x="310297" y="739481"/>
                    <a:pt x="338817" y="350887"/>
                    <a:pt x="203062" y="86873"/>
                  </a:cubicBezTo>
                  <a:cubicBezTo>
                    <a:pt x="149444" y="-1132"/>
                    <a:pt x="46772" y="-13704"/>
                    <a:pt x="0" y="11440"/>
                  </a:cubicBezTo>
                  <a:lnTo>
                    <a:pt x="0" y="11440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44A87FA7-88FD-AF28-2BD4-BCFC98680AC7}"/>
                </a:ext>
              </a:extLst>
            </p:cNvPr>
            <p:cNvSpPr/>
            <p:nvPr/>
          </p:nvSpPr>
          <p:spPr>
            <a:xfrm>
              <a:off x="-3240338" y="1629074"/>
              <a:ext cx="165415" cy="158866"/>
            </a:xfrm>
            <a:custGeom>
              <a:avLst/>
              <a:gdLst>
                <a:gd name="connsiteX0" fmla="*/ 0 w 165415"/>
                <a:gd name="connsiteY0" fmla="*/ 0 h 158866"/>
                <a:gd name="connsiteX1" fmla="*/ 165416 w 165415"/>
                <a:gd name="connsiteY1" fmla="*/ 158866 h 15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15" h="158866">
                  <a:moveTo>
                    <a:pt x="0" y="0"/>
                  </a:moveTo>
                  <a:cubicBezTo>
                    <a:pt x="0" y="0"/>
                    <a:pt x="51336" y="112006"/>
                    <a:pt x="165416" y="158866"/>
                  </a:cubicBezTo>
                </a:path>
              </a:pathLst>
            </a:custGeom>
            <a:noFill/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985E961C-45CB-65D2-7A57-923BBEAFA26A}"/>
                </a:ext>
              </a:extLst>
            </p:cNvPr>
            <p:cNvSpPr/>
            <p:nvPr/>
          </p:nvSpPr>
          <p:spPr>
            <a:xfrm>
              <a:off x="-2846763" y="1634789"/>
              <a:ext cx="153522" cy="150865"/>
            </a:xfrm>
            <a:custGeom>
              <a:avLst/>
              <a:gdLst>
                <a:gd name="connsiteX0" fmla="*/ 152867 w 153522"/>
                <a:gd name="connsiteY0" fmla="*/ 0 h 150865"/>
                <a:gd name="connsiteX1" fmla="*/ 0 w 153522"/>
                <a:gd name="connsiteY1" fmla="*/ 150866 h 15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522" h="150865">
                  <a:moveTo>
                    <a:pt x="152867" y="0"/>
                  </a:moveTo>
                  <a:cubicBezTo>
                    <a:pt x="152867" y="0"/>
                    <a:pt x="172260" y="59432"/>
                    <a:pt x="0" y="150866"/>
                  </a:cubicBezTo>
                </a:path>
              </a:pathLst>
            </a:custGeom>
            <a:noFill/>
            <a:ln w="12662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A4CB7FBC-3E6E-9A17-668B-2E5CD8095B7A}"/>
                </a:ext>
              </a:extLst>
            </p:cNvPr>
            <p:cNvSpPr/>
            <p:nvPr/>
          </p:nvSpPr>
          <p:spPr>
            <a:xfrm rot="20388001">
              <a:off x="-1064028" y="2330994"/>
              <a:ext cx="41068" cy="2671006"/>
            </a:xfrm>
            <a:custGeom>
              <a:avLst/>
              <a:gdLst>
                <a:gd name="connsiteX0" fmla="*/ 0 w 41068"/>
                <a:gd name="connsiteY0" fmla="*/ 0 h 2671006"/>
                <a:gd name="connsiteX1" fmla="*/ 41069 w 41068"/>
                <a:gd name="connsiteY1" fmla="*/ 0 h 2671006"/>
                <a:gd name="connsiteX2" fmla="*/ 41069 w 41068"/>
                <a:gd name="connsiteY2" fmla="*/ 2671007 h 2671006"/>
                <a:gd name="connsiteX3" fmla="*/ 0 w 41068"/>
                <a:gd name="connsiteY3" fmla="*/ 2671007 h 267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68" h="2671006">
                  <a:moveTo>
                    <a:pt x="0" y="0"/>
                  </a:moveTo>
                  <a:lnTo>
                    <a:pt x="41069" y="0"/>
                  </a:lnTo>
                  <a:lnTo>
                    <a:pt x="41069" y="2671007"/>
                  </a:lnTo>
                  <a:lnTo>
                    <a:pt x="0" y="2671007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36A52455-AEAF-18BB-A832-D401E38F26D4}"/>
                </a:ext>
              </a:extLst>
            </p:cNvPr>
            <p:cNvSpPr/>
            <p:nvPr/>
          </p:nvSpPr>
          <p:spPr>
            <a:xfrm>
              <a:off x="-600533" y="4910401"/>
              <a:ext cx="90122" cy="166866"/>
            </a:xfrm>
            <a:custGeom>
              <a:avLst/>
              <a:gdLst>
                <a:gd name="connsiteX0" fmla="*/ 38787 w 90122"/>
                <a:gd name="connsiteY0" fmla="*/ 0 h 166866"/>
                <a:gd name="connsiteX1" fmla="*/ 0 w 90122"/>
                <a:gd name="connsiteY1" fmla="*/ 14858 h 166866"/>
                <a:gd name="connsiteX2" fmla="*/ 63884 w 90122"/>
                <a:gd name="connsiteY2" fmla="*/ 166867 h 166866"/>
                <a:gd name="connsiteX3" fmla="*/ 90123 w 90122"/>
                <a:gd name="connsiteY3" fmla="*/ 155437 h 166866"/>
                <a:gd name="connsiteX4" fmla="*/ 38787 w 90122"/>
                <a:gd name="connsiteY4" fmla="*/ 0 h 16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122" h="166866">
                  <a:moveTo>
                    <a:pt x="38787" y="0"/>
                  </a:moveTo>
                  <a:lnTo>
                    <a:pt x="0" y="14858"/>
                  </a:lnTo>
                  <a:lnTo>
                    <a:pt x="63884" y="166867"/>
                  </a:lnTo>
                  <a:lnTo>
                    <a:pt x="90123" y="155437"/>
                  </a:lnTo>
                  <a:lnTo>
                    <a:pt x="38787" y="0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874F3555-4593-753D-2E9B-C919E29261B7}"/>
                </a:ext>
              </a:extLst>
            </p:cNvPr>
            <p:cNvSpPr/>
            <p:nvPr/>
          </p:nvSpPr>
          <p:spPr>
            <a:xfrm rot="20388001">
              <a:off x="-1600317" y="2013710"/>
              <a:ext cx="60462" cy="441167"/>
            </a:xfrm>
            <a:custGeom>
              <a:avLst/>
              <a:gdLst>
                <a:gd name="connsiteX0" fmla="*/ 0 w 60462"/>
                <a:gd name="connsiteY0" fmla="*/ 0 h 441167"/>
                <a:gd name="connsiteX1" fmla="*/ 60462 w 60462"/>
                <a:gd name="connsiteY1" fmla="*/ 0 h 441167"/>
                <a:gd name="connsiteX2" fmla="*/ 60462 w 60462"/>
                <a:gd name="connsiteY2" fmla="*/ 441168 h 441167"/>
                <a:gd name="connsiteX3" fmla="*/ 0 w 60462"/>
                <a:gd name="connsiteY3" fmla="*/ 441168 h 4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462" h="441167">
                  <a:moveTo>
                    <a:pt x="0" y="0"/>
                  </a:moveTo>
                  <a:lnTo>
                    <a:pt x="60462" y="0"/>
                  </a:lnTo>
                  <a:lnTo>
                    <a:pt x="60462" y="441168"/>
                  </a:lnTo>
                  <a:lnTo>
                    <a:pt x="0" y="441168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5C1D1EC9-24AB-A9D7-3794-E4B01E5D338B}"/>
                </a:ext>
              </a:extLst>
            </p:cNvPr>
            <p:cNvSpPr/>
            <p:nvPr/>
          </p:nvSpPr>
          <p:spPr>
            <a:xfrm>
              <a:off x="-1634832" y="2133103"/>
              <a:ext cx="176419" cy="232421"/>
            </a:xfrm>
            <a:custGeom>
              <a:avLst/>
              <a:gdLst>
                <a:gd name="connsiteX0" fmla="*/ 76030 w 176419"/>
                <a:gd name="connsiteY0" fmla="*/ 0 h 232421"/>
                <a:gd name="connsiteX1" fmla="*/ 5300 w 176419"/>
                <a:gd name="connsiteY1" fmla="*/ 66289 h 232421"/>
                <a:gd name="connsiteX2" fmla="*/ 31538 w 176419"/>
                <a:gd name="connsiteY2" fmla="*/ 107435 h 232421"/>
                <a:gd name="connsiteX3" fmla="*/ 26975 w 176419"/>
                <a:gd name="connsiteY3" fmla="*/ 156580 h 232421"/>
                <a:gd name="connsiteX4" fmla="*/ 61199 w 176419"/>
                <a:gd name="connsiteY4" fmla="*/ 157723 h 232421"/>
                <a:gd name="connsiteX5" fmla="*/ 56636 w 176419"/>
                <a:gd name="connsiteY5" fmla="*/ 194297 h 232421"/>
                <a:gd name="connsiteX6" fmla="*/ 79452 w 176419"/>
                <a:gd name="connsiteY6" fmla="*/ 204583 h 232421"/>
                <a:gd name="connsiteX7" fmla="*/ 176420 w 176419"/>
                <a:gd name="connsiteY7" fmla="*/ 194297 h 23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419" h="232421">
                  <a:moveTo>
                    <a:pt x="76030" y="0"/>
                  </a:moveTo>
                  <a:cubicBezTo>
                    <a:pt x="76030" y="0"/>
                    <a:pt x="15567" y="42288"/>
                    <a:pt x="5300" y="66289"/>
                  </a:cubicBezTo>
                  <a:cubicBezTo>
                    <a:pt x="-11812" y="105149"/>
                    <a:pt x="16708" y="113149"/>
                    <a:pt x="31538" y="107435"/>
                  </a:cubicBezTo>
                  <a:cubicBezTo>
                    <a:pt x="32679" y="112006"/>
                    <a:pt x="16708" y="141722"/>
                    <a:pt x="26975" y="156580"/>
                  </a:cubicBezTo>
                  <a:cubicBezTo>
                    <a:pt x="37242" y="171438"/>
                    <a:pt x="53214" y="158866"/>
                    <a:pt x="61199" y="157723"/>
                  </a:cubicBezTo>
                  <a:cubicBezTo>
                    <a:pt x="58918" y="163438"/>
                    <a:pt x="49791" y="177153"/>
                    <a:pt x="56636" y="194297"/>
                  </a:cubicBezTo>
                  <a:cubicBezTo>
                    <a:pt x="64622" y="211440"/>
                    <a:pt x="77170" y="197725"/>
                    <a:pt x="79452" y="204583"/>
                  </a:cubicBezTo>
                  <a:cubicBezTo>
                    <a:pt x="84015" y="264015"/>
                    <a:pt x="163871" y="212583"/>
                    <a:pt x="176420" y="194297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F5504BC7-5775-5DA3-941B-666EB7214B73}"/>
                </a:ext>
              </a:extLst>
            </p:cNvPr>
            <p:cNvSpPr/>
            <p:nvPr/>
          </p:nvSpPr>
          <p:spPr>
            <a:xfrm>
              <a:off x="-1718515" y="2049669"/>
              <a:ext cx="149089" cy="137150"/>
            </a:xfrm>
            <a:custGeom>
              <a:avLst/>
              <a:gdLst>
                <a:gd name="connsiteX0" fmla="*/ 0 w 149089"/>
                <a:gd name="connsiteY0" fmla="*/ 122293 h 137150"/>
                <a:gd name="connsiteX1" fmla="*/ 37646 w 149089"/>
                <a:gd name="connsiteY1" fmla="*/ 70861 h 137150"/>
                <a:gd name="connsiteX2" fmla="*/ 125488 w 149089"/>
                <a:gd name="connsiteY2" fmla="*/ 0 h 137150"/>
                <a:gd name="connsiteX3" fmla="*/ 138036 w 149089"/>
                <a:gd name="connsiteY3" fmla="*/ 76576 h 137150"/>
                <a:gd name="connsiteX4" fmla="*/ 70729 w 149089"/>
                <a:gd name="connsiteY4" fmla="*/ 137151 h 13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089" h="137150">
                  <a:moveTo>
                    <a:pt x="0" y="122293"/>
                  </a:moveTo>
                  <a:cubicBezTo>
                    <a:pt x="13689" y="101720"/>
                    <a:pt x="26238" y="80004"/>
                    <a:pt x="37646" y="70861"/>
                  </a:cubicBezTo>
                  <a:cubicBezTo>
                    <a:pt x="86700" y="27430"/>
                    <a:pt x="125488" y="0"/>
                    <a:pt x="125488" y="0"/>
                  </a:cubicBezTo>
                  <a:cubicBezTo>
                    <a:pt x="125488" y="0"/>
                    <a:pt x="168838" y="30859"/>
                    <a:pt x="138036" y="76576"/>
                  </a:cubicBezTo>
                  <a:cubicBezTo>
                    <a:pt x="112939" y="113149"/>
                    <a:pt x="84419" y="108578"/>
                    <a:pt x="70729" y="137151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129C9D01-C92E-EBBA-D88C-2401573E5C38}"/>
                </a:ext>
              </a:extLst>
            </p:cNvPr>
            <p:cNvSpPr/>
            <p:nvPr/>
          </p:nvSpPr>
          <p:spPr>
            <a:xfrm>
              <a:off x="-3076063" y="2557126"/>
              <a:ext cx="183023" cy="81147"/>
            </a:xfrm>
            <a:custGeom>
              <a:avLst/>
              <a:gdLst>
                <a:gd name="connsiteX0" fmla="*/ 27379 w 183023"/>
                <a:gd name="connsiteY0" fmla="*/ 1143 h 81147"/>
                <a:gd name="connsiteX1" fmla="*/ 168838 w 183023"/>
                <a:gd name="connsiteY1" fmla="*/ 17144 h 81147"/>
                <a:gd name="connsiteX2" fmla="*/ 151726 w 183023"/>
                <a:gd name="connsiteY2" fmla="*/ 81147 h 81147"/>
                <a:gd name="connsiteX3" fmla="*/ 0 w 183023"/>
                <a:gd name="connsiteY3" fmla="*/ 59432 h 81147"/>
                <a:gd name="connsiteX4" fmla="*/ 26238 w 183023"/>
                <a:gd name="connsiteY4" fmla="*/ 0 h 81147"/>
                <a:gd name="connsiteX5" fmla="*/ 27379 w 183023"/>
                <a:gd name="connsiteY5" fmla="*/ 0 h 8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023" h="81147">
                  <a:moveTo>
                    <a:pt x="27379" y="1143"/>
                  </a:moveTo>
                  <a:cubicBezTo>
                    <a:pt x="27379" y="1143"/>
                    <a:pt x="130051" y="-5715"/>
                    <a:pt x="168838" y="17144"/>
                  </a:cubicBezTo>
                  <a:cubicBezTo>
                    <a:pt x="208766" y="40002"/>
                    <a:pt x="151726" y="81147"/>
                    <a:pt x="151726" y="81147"/>
                  </a:cubicBezTo>
                  <a:lnTo>
                    <a:pt x="0" y="59432"/>
                  </a:lnTo>
                  <a:lnTo>
                    <a:pt x="26238" y="0"/>
                  </a:lnTo>
                  <a:lnTo>
                    <a:pt x="27379" y="0"/>
                  </a:lnTo>
                  <a:close/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03F39181-4F9C-5818-77BF-5A76424A53FC}"/>
                </a:ext>
              </a:extLst>
            </p:cNvPr>
            <p:cNvSpPr/>
            <p:nvPr/>
          </p:nvSpPr>
          <p:spPr>
            <a:xfrm rot="17730000">
              <a:off x="-5022561" y="4074170"/>
              <a:ext cx="2666042" cy="41145"/>
            </a:xfrm>
            <a:custGeom>
              <a:avLst/>
              <a:gdLst>
                <a:gd name="connsiteX0" fmla="*/ 0 w 2666042"/>
                <a:gd name="connsiteY0" fmla="*/ 0 h 41145"/>
                <a:gd name="connsiteX1" fmla="*/ 2666042 w 2666042"/>
                <a:gd name="connsiteY1" fmla="*/ 0 h 41145"/>
                <a:gd name="connsiteX2" fmla="*/ 2666042 w 2666042"/>
                <a:gd name="connsiteY2" fmla="*/ 41145 h 41145"/>
                <a:gd name="connsiteX3" fmla="*/ 0 w 2666042"/>
                <a:gd name="connsiteY3" fmla="*/ 41145 h 4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6042" h="41145">
                  <a:moveTo>
                    <a:pt x="0" y="0"/>
                  </a:moveTo>
                  <a:lnTo>
                    <a:pt x="2666042" y="0"/>
                  </a:lnTo>
                  <a:lnTo>
                    <a:pt x="2666042" y="41145"/>
                  </a:lnTo>
                  <a:lnTo>
                    <a:pt x="0" y="41145"/>
                  </a:lnTo>
                  <a:close/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9B81388E-ADD3-FB2A-9247-B16EEB83D51F}"/>
                </a:ext>
              </a:extLst>
            </p:cNvPr>
            <p:cNvSpPr/>
            <p:nvPr/>
          </p:nvSpPr>
          <p:spPr>
            <a:xfrm rot="17730000">
              <a:off x="-3254597" y="2685503"/>
              <a:ext cx="440347" cy="60574"/>
            </a:xfrm>
            <a:custGeom>
              <a:avLst/>
              <a:gdLst>
                <a:gd name="connsiteX0" fmla="*/ 0 w 440347"/>
                <a:gd name="connsiteY0" fmla="*/ 0 h 60574"/>
                <a:gd name="connsiteX1" fmla="*/ 440348 w 440347"/>
                <a:gd name="connsiteY1" fmla="*/ 0 h 60574"/>
                <a:gd name="connsiteX2" fmla="*/ 440348 w 440347"/>
                <a:gd name="connsiteY2" fmla="*/ 60575 h 60574"/>
                <a:gd name="connsiteX3" fmla="*/ 0 w 440347"/>
                <a:gd name="connsiteY3" fmla="*/ 60575 h 60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0347" h="60574">
                  <a:moveTo>
                    <a:pt x="0" y="0"/>
                  </a:moveTo>
                  <a:lnTo>
                    <a:pt x="440348" y="0"/>
                  </a:lnTo>
                  <a:lnTo>
                    <a:pt x="440348" y="60575"/>
                  </a:lnTo>
                  <a:lnTo>
                    <a:pt x="0" y="60575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56B30EE4-6B51-F16E-C42B-29E5F91B6184}"/>
                </a:ext>
              </a:extLst>
            </p:cNvPr>
            <p:cNvSpPr/>
            <p:nvPr/>
          </p:nvSpPr>
          <p:spPr>
            <a:xfrm rot="20327999">
              <a:off x="-705154" y="4913215"/>
              <a:ext cx="264665" cy="37716"/>
            </a:xfrm>
            <a:custGeom>
              <a:avLst/>
              <a:gdLst>
                <a:gd name="connsiteX0" fmla="*/ 0 w 264665"/>
                <a:gd name="connsiteY0" fmla="*/ 0 h 37716"/>
                <a:gd name="connsiteX1" fmla="*/ 264665 w 264665"/>
                <a:gd name="connsiteY1" fmla="*/ 0 h 37716"/>
                <a:gd name="connsiteX2" fmla="*/ 264665 w 264665"/>
                <a:gd name="connsiteY2" fmla="*/ 37716 h 37716"/>
                <a:gd name="connsiteX3" fmla="*/ 0 w 264665"/>
                <a:gd name="connsiteY3" fmla="*/ 37716 h 37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665" h="37716">
                  <a:moveTo>
                    <a:pt x="0" y="0"/>
                  </a:moveTo>
                  <a:lnTo>
                    <a:pt x="264665" y="0"/>
                  </a:lnTo>
                  <a:lnTo>
                    <a:pt x="264665" y="37716"/>
                  </a:lnTo>
                  <a:lnTo>
                    <a:pt x="0" y="37716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3C3D2CAE-2E8A-81A0-1FDE-5CBD2F43EABB}"/>
                </a:ext>
              </a:extLst>
            </p:cNvPr>
            <p:cNvSpPr/>
            <p:nvPr/>
          </p:nvSpPr>
          <p:spPr>
            <a:xfrm>
              <a:off x="-4349193" y="5289851"/>
              <a:ext cx="102671" cy="163437"/>
            </a:xfrm>
            <a:custGeom>
              <a:avLst/>
              <a:gdLst>
                <a:gd name="connsiteX0" fmla="*/ 102672 w 102671"/>
                <a:gd name="connsiteY0" fmla="*/ 18287 h 163437"/>
                <a:gd name="connsiteX1" fmla="*/ 66166 w 102671"/>
                <a:gd name="connsiteY1" fmla="*/ 0 h 163437"/>
                <a:gd name="connsiteX2" fmla="*/ 0 w 102671"/>
                <a:gd name="connsiteY2" fmla="*/ 152008 h 163437"/>
                <a:gd name="connsiteX3" fmla="*/ 27379 w 102671"/>
                <a:gd name="connsiteY3" fmla="*/ 163438 h 163437"/>
                <a:gd name="connsiteX4" fmla="*/ 102672 w 102671"/>
                <a:gd name="connsiteY4" fmla="*/ 18287 h 16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71" h="163437">
                  <a:moveTo>
                    <a:pt x="102672" y="18287"/>
                  </a:moveTo>
                  <a:lnTo>
                    <a:pt x="66166" y="0"/>
                  </a:lnTo>
                  <a:lnTo>
                    <a:pt x="0" y="152008"/>
                  </a:lnTo>
                  <a:lnTo>
                    <a:pt x="27379" y="163438"/>
                  </a:lnTo>
                  <a:lnTo>
                    <a:pt x="102672" y="18287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2C53654A-520F-4805-D2F3-E4D796EB40CC}"/>
                </a:ext>
              </a:extLst>
            </p:cNvPr>
            <p:cNvSpPr/>
            <p:nvPr/>
          </p:nvSpPr>
          <p:spPr>
            <a:xfrm rot="17711999">
              <a:off x="-4289663" y="5183991"/>
              <a:ext cx="37646" cy="265157"/>
            </a:xfrm>
            <a:custGeom>
              <a:avLst/>
              <a:gdLst>
                <a:gd name="connsiteX0" fmla="*/ 0 w 37646"/>
                <a:gd name="connsiteY0" fmla="*/ 0 h 265157"/>
                <a:gd name="connsiteX1" fmla="*/ 37646 w 37646"/>
                <a:gd name="connsiteY1" fmla="*/ 0 h 265157"/>
                <a:gd name="connsiteX2" fmla="*/ 37646 w 37646"/>
                <a:gd name="connsiteY2" fmla="*/ 265158 h 265157"/>
                <a:gd name="connsiteX3" fmla="*/ 0 w 37646"/>
                <a:gd name="connsiteY3" fmla="*/ 265158 h 26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46" h="265157">
                  <a:moveTo>
                    <a:pt x="0" y="0"/>
                  </a:moveTo>
                  <a:lnTo>
                    <a:pt x="37646" y="0"/>
                  </a:lnTo>
                  <a:lnTo>
                    <a:pt x="37646" y="265158"/>
                  </a:lnTo>
                  <a:lnTo>
                    <a:pt x="0" y="265158"/>
                  </a:lnTo>
                  <a:close/>
                </a:path>
              </a:pathLst>
            </a:custGeom>
            <a:solidFill>
              <a:srgbClr val="6F6B66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15D92021-6BE9-D233-4C13-D87114AFC150}"/>
                </a:ext>
              </a:extLst>
            </p:cNvPr>
            <p:cNvSpPr/>
            <p:nvPr/>
          </p:nvSpPr>
          <p:spPr>
            <a:xfrm>
              <a:off x="-3266883" y="2555983"/>
              <a:ext cx="373662" cy="309222"/>
            </a:xfrm>
            <a:custGeom>
              <a:avLst/>
              <a:gdLst>
                <a:gd name="connsiteX0" fmla="*/ 217058 w 373662"/>
                <a:gd name="connsiteY0" fmla="*/ 58289 h 309222"/>
                <a:gd name="connsiteX1" fmla="*/ 367643 w 373662"/>
                <a:gd name="connsiteY1" fmla="*/ 109720 h 309222"/>
                <a:gd name="connsiteX2" fmla="*/ 367643 w 373662"/>
                <a:gd name="connsiteY2" fmla="*/ 154294 h 309222"/>
                <a:gd name="connsiteX3" fmla="*/ 359658 w 373662"/>
                <a:gd name="connsiteY3" fmla="*/ 192011 h 309222"/>
                <a:gd name="connsiteX4" fmla="*/ 332279 w 373662"/>
                <a:gd name="connsiteY4" fmla="*/ 220584 h 309222"/>
                <a:gd name="connsiteX5" fmla="*/ 317448 w 373662"/>
                <a:gd name="connsiteY5" fmla="*/ 256014 h 309222"/>
                <a:gd name="connsiteX6" fmla="*/ 282083 w 373662"/>
                <a:gd name="connsiteY6" fmla="*/ 275444 h 309222"/>
                <a:gd name="connsiteX7" fmla="*/ 264971 w 373662"/>
                <a:gd name="connsiteY7" fmla="*/ 299445 h 309222"/>
                <a:gd name="connsiteX8" fmla="*/ 58487 w 373662"/>
                <a:gd name="connsiteY8" fmla="*/ 233156 h 309222"/>
                <a:gd name="connsiteX9" fmla="*/ 306 w 373662"/>
                <a:gd name="connsiteY9" fmla="*/ 193154 h 309222"/>
                <a:gd name="connsiteX10" fmla="*/ 43657 w 373662"/>
                <a:gd name="connsiteY10" fmla="*/ 53717 h 309222"/>
                <a:gd name="connsiteX11" fmla="*/ 234170 w 373662"/>
                <a:gd name="connsiteY11" fmla="*/ 0 h 309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3662" h="309222">
                  <a:moveTo>
                    <a:pt x="217058" y="58289"/>
                  </a:moveTo>
                  <a:cubicBezTo>
                    <a:pt x="268394" y="76576"/>
                    <a:pt x="343686" y="60575"/>
                    <a:pt x="367643" y="109720"/>
                  </a:cubicBezTo>
                  <a:cubicBezTo>
                    <a:pt x="374488" y="124578"/>
                    <a:pt x="376770" y="131436"/>
                    <a:pt x="367643" y="154294"/>
                  </a:cubicBezTo>
                  <a:cubicBezTo>
                    <a:pt x="363080" y="165724"/>
                    <a:pt x="367643" y="180582"/>
                    <a:pt x="359658" y="192011"/>
                  </a:cubicBezTo>
                  <a:cubicBezTo>
                    <a:pt x="353954" y="202297"/>
                    <a:pt x="339123" y="211440"/>
                    <a:pt x="332279" y="220584"/>
                  </a:cubicBezTo>
                  <a:cubicBezTo>
                    <a:pt x="325434" y="229727"/>
                    <a:pt x="326575" y="245728"/>
                    <a:pt x="317448" y="256014"/>
                  </a:cubicBezTo>
                  <a:cubicBezTo>
                    <a:pt x="310603" y="262872"/>
                    <a:pt x="288928" y="264015"/>
                    <a:pt x="282083" y="275444"/>
                  </a:cubicBezTo>
                  <a:cubicBezTo>
                    <a:pt x="275239" y="286873"/>
                    <a:pt x="269535" y="297160"/>
                    <a:pt x="264971" y="299445"/>
                  </a:cubicBezTo>
                  <a:cubicBezTo>
                    <a:pt x="177130" y="341733"/>
                    <a:pt x="58487" y="233156"/>
                    <a:pt x="58487" y="233156"/>
                  </a:cubicBezTo>
                  <a:lnTo>
                    <a:pt x="306" y="193154"/>
                  </a:lnTo>
                  <a:cubicBezTo>
                    <a:pt x="-4257" y="190868"/>
                    <a:pt x="43657" y="53717"/>
                    <a:pt x="43657" y="53717"/>
                  </a:cubicBezTo>
                  <a:cubicBezTo>
                    <a:pt x="83585" y="27430"/>
                    <a:pt x="181693" y="2286"/>
                    <a:pt x="234170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BB5FDAE3-A46B-55EA-84A4-761E6A2E8E10}"/>
                </a:ext>
              </a:extLst>
            </p:cNvPr>
            <p:cNvSpPr/>
            <p:nvPr/>
          </p:nvSpPr>
          <p:spPr>
            <a:xfrm>
              <a:off x="-1603294" y="2185677"/>
              <a:ext cx="82137" cy="54860"/>
            </a:xfrm>
            <a:custGeom>
              <a:avLst/>
              <a:gdLst>
                <a:gd name="connsiteX0" fmla="*/ 0 w 82137"/>
                <a:gd name="connsiteY0" fmla="*/ 54860 h 54860"/>
                <a:gd name="connsiteX1" fmla="*/ 82138 w 82137"/>
                <a:gd name="connsiteY1" fmla="*/ 0 h 5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137" h="54860">
                  <a:moveTo>
                    <a:pt x="0" y="54860"/>
                  </a:moveTo>
                  <a:cubicBezTo>
                    <a:pt x="3423" y="54860"/>
                    <a:pt x="69589" y="14858"/>
                    <a:pt x="82138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55368799-AD6B-5D58-EB0B-15E30BEB85DD}"/>
                </a:ext>
              </a:extLst>
            </p:cNvPr>
            <p:cNvSpPr/>
            <p:nvPr/>
          </p:nvSpPr>
          <p:spPr>
            <a:xfrm>
              <a:off x="-1577056" y="2238251"/>
              <a:ext cx="78714" cy="54860"/>
            </a:xfrm>
            <a:custGeom>
              <a:avLst/>
              <a:gdLst>
                <a:gd name="connsiteX0" fmla="*/ 0 w 78714"/>
                <a:gd name="connsiteY0" fmla="*/ 54860 h 54860"/>
                <a:gd name="connsiteX1" fmla="*/ 78715 w 78714"/>
                <a:gd name="connsiteY1" fmla="*/ 0 h 5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714" h="54860">
                  <a:moveTo>
                    <a:pt x="0" y="54860"/>
                  </a:moveTo>
                  <a:cubicBezTo>
                    <a:pt x="2281" y="54860"/>
                    <a:pt x="65025" y="16001"/>
                    <a:pt x="78715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D56D77A5-6986-123D-7170-A65A66B68833}"/>
                </a:ext>
              </a:extLst>
            </p:cNvPr>
            <p:cNvSpPr/>
            <p:nvPr/>
          </p:nvSpPr>
          <p:spPr>
            <a:xfrm>
              <a:off x="-1559944" y="2302255"/>
              <a:ext cx="68447" cy="34287"/>
            </a:xfrm>
            <a:custGeom>
              <a:avLst/>
              <a:gdLst>
                <a:gd name="connsiteX0" fmla="*/ 0 w 68447"/>
                <a:gd name="connsiteY0" fmla="*/ 34288 h 34287"/>
                <a:gd name="connsiteX1" fmla="*/ 68448 w 68447"/>
                <a:gd name="connsiteY1" fmla="*/ 0 h 3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47" h="34287">
                  <a:moveTo>
                    <a:pt x="0" y="34288"/>
                  </a:moveTo>
                  <a:cubicBezTo>
                    <a:pt x="3422" y="34288"/>
                    <a:pt x="53617" y="11429"/>
                    <a:pt x="68448" y="0"/>
                  </a:cubicBezTo>
                </a:path>
              </a:pathLst>
            </a:custGeom>
            <a:solidFill>
              <a:srgbClr val="FFD78F"/>
            </a:solidFill>
            <a:ln w="12662" cap="rnd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CB5040A9-B5AC-A8FB-9976-62A6A969AC56}"/>
                </a:ext>
              </a:extLst>
            </p:cNvPr>
            <p:cNvSpPr/>
            <p:nvPr/>
          </p:nvSpPr>
          <p:spPr>
            <a:xfrm>
              <a:off x="-2964265" y="2712564"/>
              <a:ext cx="65025" cy="11429"/>
            </a:xfrm>
            <a:custGeom>
              <a:avLst/>
              <a:gdLst>
                <a:gd name="connsiteX0" fmla="*/ 65026 w 65025"/>
                <a:gd name="connsiteY0" fmla="*/ 0 h 11429"/>
                <a:gd name="connsiteX1" fmla="*/ 0 w 65025"/>
                <a:gd name="connsiteY1" fmla="*/ 11429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025" h="11429">
                  <a:moveTo>
                    <a:pt x="65026" y="0"/>
                  </a:moveTo>
                  <a:cubicBezTo>
                    <a:pt x="65026" y="0"/>
                    <a:pt x="41069" y="11429"/>
                    <a:pt x="0" y="11429"/>
                  </a:cubicBezTo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EB15651A-E84C-3512-30A9-A9F2296C60B9}"/>
                </a:ext>
              </a:extLst>
            </p:cNvPr>
            <p:cNvSpPr/>
            <p:nvPr/>
          </p:nvSpPr>
          <p:spPr>
            <a:xfrm>
              <a:off x="-2985940" y="2768567"/>
              <a:ext cx="60462" cy="11502"/>
            </a:xfrm>
            <a:custGeom>
              <a:avLst/>
              <a:gdLst>
                <a:gd name="connsiteX0" fmla="*/ 60462 w 60462"/>
                <a:gd name="connsiteY0" fmla="*/ 0 h 11502"/>
                <a:gd name="connsiteX1" fmla="*/ 0 w 60462"/>
                <a:gd name="connsiteY1" fmla="*/ 11429 h 1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62" h="11502">
                  <a:moveTo>
                    <a:pt x="60462" y="0"/>
                  </a:moveTo>
                  <a:cubicBezTo>
                    <a:pt x="60462" y="0"/>
                    <a:pt x="41069" y="12572"/>
                    <a:pt x="0" y="11429"/>
                  </a:cubicBezTo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C3C5F76A-4C54-E51B-86A5-4C2565F19030}"/>
                </a:ext>
              </a:extLst>
            </p:cNvPr>
            <p:cNvSpPr/>
            <p:nvPr/>
          </p:nvSpPr>
          <p:spPr>
            <a:xfrm>
              <a:off x="-3021305" y="2822284"/>
              <a:ext cx="52476" cy="4571"/>
            </a:xfrm>
            <a:custGeom>
              <a:avLst/>
              <a:gdLst>
                <a:gd name="connsiteX0" fmla="*/ 0 w 52476"/>
                <a:gd name="connsiteY0" fmla="*/ 4572 h 4571"/>
                <a:gd name="connsiteX1" fmla="*/ 52477 w 52476"/>
                <a:gd name="connsiteY1" fmla="*/ 0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476" h="4571">
                  <a:moveTo>
                    <a:pt x="0" y="4572"/>
                  </a:moveTo>
                  <a:cubicBezTo>
                    <a:pt x="41069" y="4572"/>
                    <a:pt x="52477" y="0"/>
                    <a:pt x="52477" y="0"/>
                  </a:cubicBezTo>
                </a:path>
              </a:pathLst>
            </a:custGeom>
            <a:solidFill>
              <a:srgbClr val="FFFFFF"/>
            </a:solidFill>
            <a:ln w="12662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10781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06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414800"/>
            <a:ext cx="3600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9606" y="1414800"/>
            <a:ext cx="3600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BB2D415-F289-7C5C-4281-0729398A39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51839" y="1414800"/>
            <a:ext cx="3600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92FBEA2-54D2-04FD-ABA0-07B95299F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F63CD66-2D96-1D3E-66CE-7E04A3524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3DE2B8B9-BF0D-000B-702B-6B902F57FD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251992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3492626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6000" y="1774800"/>
            <a:ext cx="3600000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BB2D415-F289-7C5C-4281-0729398A39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12000" y="1774800"/>
            <a:ext cx="3529137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95424E0-B605-7197-53B0-7FED7B78E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D828480B-3079-3502-7688-107C922A0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9FAC8F72-E47D-A78D-4890-0295D00E6C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2EFCE538-91A7-7C94-1A2B-75731223E1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802410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think-cell data - do not delete" hidden="1">
            <a:extLst>
              <a:ext uri="{FF2B5EF4-FFF2-40B4-BE49-F238E27FC236}">
                <a16:creationId xmlns:a16="http://schemas.microsoft.com/office/drawing/2014/main" id="{E8818429-C388-B7D5-0265-DF9D9C1030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41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818429-C388-B7D5-0265-DF9D9C1030A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08000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BB2D415-F289-7C5C-4281-0729398A39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36000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1B02355-7378-0F0C-8543-00D8A317FC3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193137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3B100FFB-7FFB-4C36-A763-9A3750B6D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D556B803-93C1-3322-44FE-360A376295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8" name="footnotes">
            <a:extLst>
              <a:ext uri="{FF2B5EF4-FFF2-40B4-BE49-F238E27FC236}">
                <a16:creationId xmlns:a16="http://schemas.microsoft.com/office/drawing/2014/main" id="{CB765EEC-BBD0-19F0-ACC1-CD4CDC8DD7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536548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1E6F775-1596-5E4A-C305-9630A2C286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9013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E6F775-1596-5E4A-C305-9630A2C28693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48D36B1-CEAC-1FE8-726A-F8349C5DC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7BE29A2-04F0-3CD0-D87C-F300204613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08000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1BE7BADC-7417-23C8-95D2-9FB0EAE7436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36000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D30D986C-07EE-5B64-9820-9197A23DD406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193137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B213669-30D9-5054-8CAF-4E5FFFB23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197FBEB-0F5D-D9AD-5EF0-955ECCD1F4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43169357-1A71-2EA3-2712-971EA6D8C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6DCA46BB-B983-E0EB-8EDD-BBBC6E2DD7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893487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414800"/>
            <a:ext cx="3492625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04000" y="1414800"/>
            <a:ext cx="7237137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4000" y="1774800"/>
            <a:ext cx="7237137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3D9D5BF3-05F7-FDED-026F-9040F5BA3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35087132-7EF3-DA3B-0B41-030603DA4C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2" name="footnotes">
            <a:extLst>
              <a:ext uri="{FF2B5EF4-FFF2-40B4-BE49-F238E27FC236}">
                <a16:creationId xmlns:a16="http://schemas.microsoft.com/office/drawing/2014/main" id="{D78F07F5-63D9-F989-730C-458F46BC45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796879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414800"/>
            <a:ext cx="7200625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2000" y="1414800"/>
            <a:ext cx="3529137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graph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12000" y="1774800"/>
            <a:ext cx="3529137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706202F-109C-92AB-A6ED-D164FE91E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84561F6-2928-14C1-7565-A9EE3132E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5AC2E84F-F925-4BE0-EAEB-13D8EE50D2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610358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3492625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04000" y="1772266"/>
            <a:ext cx="7237136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4000" y="2134800"/>
            <a:ext cx="7237136" cy="396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BE8C48A-4FE1-C190-6509-AA54CB6C53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4120737-547B-E930-E5ED-F294898E2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E7CB0CA-37D4-F603-6D68-8DD17AE31E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35835FBE-250E-F956-F5E0-E9B5CCAE46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912788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and Graph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7200626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2000" y="1772266"/>
            <a:ext cx="3529137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graph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12000" y="2134800"/>
            <a:ext cx="3529137" cy="396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19ED9D3-3DA3-17AD-428E-F5D7CF3A25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9AC5D0-FECB-2242-C1FA-EED4968A6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1869BFB-418E-02F1-1419-4B0525653D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2D01DDB3-32DD-20BD-3B76-18932C62E5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083810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3A29B69-A7BD-9EF5-96BC-5E438D5C3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12B42E0-54E9-E01A-0EE4-A99B8F44AB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792822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3A29B69-A7BD-9EF5-96BC-5E438D5C3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12B42E0-54E9-E01A-0EE4-A99B8F44AB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2" name="footnotes">
            <a:extLst>
              <a:ext uri="{FF2B5EF4-FFF2-40B4-BE49-F238E27FC236}">
                <a16:creationId xmlns:a16="http://schemas.microsoft.com/office/drawing/2014/main" id="{630405B1-BBFB-B2A8-A9C5-40865D49CA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7777" y="6102000"/>
            <a:ext cx="642299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A5A5914-D6C0-65EE-1717-87240787C0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999" y="6483508"/>
            <a:ext cx="1984061" cy="24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816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raphic 49">
            <a:extLst>
              <a:ext uri="{FF2B5EF4-FFF2-40B4-BE49-F238E27FC236}">
                <a16:creationId xmlns:a16="http://schemas.microsoft.com/office/drawing/2014/main" id="{EA4FB258-C57B-8858-82C7-C869DBDDBD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 flipH="1">
            <a:off x="6945998" y="1597930"/>
            <a:ext cx="6858002" cy="3662142"/>
          </a:xfrm>
          <a:prstGeom prst="rect">
            <a:avLst/>
          </a:prstGeom>
        </p:spPr>
      </p:pic>
      <p:graphicFrame>
        <p:nvGraphicFramePr>
          <p:cNvPr id="107" name="think-cell data - do not delete" hidden="1">
            <a:extLst>
              <a:ext uri="{FF2B5EF4-FFF2-40B4-BE49-F238E27FC236}">
                <a16:creationId xmlns:a16="http://schemas.microsoft.com/office/drawing/2014/main" id="{E344D579-EFFA-CB08-7550-795A1D5F11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07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44D579-EFFA-CB08-7550-795A1D5F11AE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Static">
            <a:extLst>
              <a:ext uri="{FF2B5EF4-FFF2-40B4-BE49-F238E27FC236}">
                <a16:creationId xmlns:a16="http://schemas.microsoft.com/office/drawing/2014/main" id="{937BD67B-C175-2488-50E8-9F092322A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6DE2089-FB40-42A6-C6CD-C812F2483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96235"/>
            <a:ext cx="6783838" cy="4931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</a:t>
            </a:r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C12B65C7-394E-8483-465E-149D56F051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4144" y="1422789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1CCB94A0-2F75-7D3A-EEA9-F20BF4B6C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4144" y="1974165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3182C0B8-EC78-DA6B-207E-82F12B96C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0913" y="142062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9A11367E-B9A5-323F-AC5A-45C6CB299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0913" y="197199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1C803A30-A737-9B7E-3516-D78F678CAE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44144" y="3124393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DC87BEAB-1E73-036A-94E9-9302832609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44144" y="3675769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E65B8093-F40D-1DD2-95EF-8C52D076389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0913" y="3122224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7BB1F3D-846C-F05B-8B08-B64E06B4A6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0913" y="3673600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CE93FEAF-0426-0627-D498-71F3F3BA678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057280" y="482375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10F1CE8-DE46-7D84-0EC9-87A54E9B28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57280" y="537512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E46E880F-1449-9DDD-8434-B1E5FF0E0F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14049" y="4821581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66A01DEB-E38F-1639-2D1B-3C76147BE19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514049" y="5372957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DA708669-F77F-5685-98F9-2FCB314D32C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7375" y="1420620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AF84363E-B407-DA53-4D46-6DE41E54011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7375" y="1971996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6" name="Text Placeholder 19">
            <a:extLst>
              <a:ext uri="{FF2B5EF4-FFF2-40B4-BE49-F238E27FC236}">
                <a16:creationId xmlns:a16="http://schemas.microsoft.com/office/drawing/2014/main" id="{0E01BE24-78FB-0120-D394-92EAF611D44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7375" y="3122224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E221DA7A-D811-629C-5581-FA3B99C9864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7375" y="3673600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8" name="Text Placeholder 19">
            <a:extLst>
              <a:ext uri="{FF2B5EF4-FFF2-40B4-BE49-F238E27FC236}">
                <a16:creationId xmlns:a16="http://schemas.microsoft.com/office/drawing/2014/main" id="{54CEC030-9AAE-59DE-E2AE-C1EF4D97417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7375" y="4821581"/>
            <a:ext cx="1800000" cy="5513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6A6C0A21-6DA5-D860-5121-EF9A4B0E5E9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7375" y="5372957"/>
            <a:ext cx="1800000" cy="8190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GB"/>
              <a:t>Agenda topic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E2C6781-DD06-1D8F-C06A-A46A951B28D3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E67C552B-FFC6-07B3-BF3F-A9C791B75292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4" name="Logo">
              <a:extLst>
                <a:ext uri="{FF2B5EF4-FFF2-40B4-BE49-F238E27FC236}">
                  <a16:creationId xmlns:a16="http://schemas.microsoft.com/office/drawing/2014/main" id="{1EBBA3C1-9A98-65FC-3D8C-8464FBB695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9ED2DAB8-E5F1-1D42-61F2-0CA148217ECD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6" name="Logo">
                <a:extLst>
                  <a:ext uri="{FF2B5EF4-FFF2-40B4-BE49-F238E27FC236}">
                    <a16:creationId xmlns:a16="http://schemas.microsoft.com/office/drawing/2014/main" id="{2618E01E-F34B-3A30-7518-C19743A1517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57" name="Freeform 56">
                  <a:extLst>
                    <a:ext uri="{FF2B5EF4-FFF2-40B4-BE49-F238E27FC236}">
                      <a16:creationId xmlns:a16="http://schemas.microsoft.com/office/drawing/2014/main" id="{9E30C716-798C-3077-9511-7094DA2FF55F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" name="Freeform 57">
                  <a:extLst>
                    <a:ext uri="{FF2B5EF4-FFF2-40B4-BE49-F238E27FC236}">
                      <a16:creationId xmlns:a16="http://schemas.microsoft.com/office/drawing/2014/main" id="{10A7B71B-C729-37FB-C86A-007B6D5B27D1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" name="Freeform 58">
                  <a:extLst>
                    <a:ext uri="{FF2B5EF4-FFF2-40B4-BE49-F238E27FC236}">
                      <a16:creationId xmlns:a16="http://schemas.microsoft.com/office/drawing/2014/main" id="{6BBFE3F7-482C-5809-4766-818A497B0CA1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" name="Freeform 59">
                  <a:extLst>
                    <a:ext uri="{FF2B5EF4-FFF2-40B4-BE49-F238E27FC236}">
                      <a16:creationId xmlns:a16="http://schemas.microsoft.com/office/drawing/2014/main" id="{6F55C410-8622-EF2B-01C0-579D724CF1C2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" name="Freeform 60">
                  <a:extLst>
                    <a:ext uri="{FF2B5EF4-FFF2-40B4-BE49-F238E27FC236}">
                      <a16:creationId xmlns:a16="http://schemas.microsoft.com/office/drawing/2014/main" id="{E7598683-997B-36C7-8E9B-949DC18CC08D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0AA94850-C422-C046-64C9-44BCBD14FC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2017"/>
          <a:stretch>
            <a:fillRect/>
          </a:stretch>
        </p:blipFill>
        <p:spPr>
          <a:xfrm>
            <a:off x="8543928" y="213715"/>
            <a:ext cx="3629057" cy="6721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050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06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631B3F4D-4C9A-2DC8-3938-FB857DF958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F9573AC-F553-93C7-B8EF-A148F6A69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40609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94764602-3AE2-09B2-9F3D-0240FDC68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8696B370-41D4-484F-585E-BD4D4BCCD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949171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6F07CCF-C28B-BF58-53B3-FDDCA9C9C74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831038" y="1497035"/>
            <a:ext cx="6858002" cy="386392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D0595C4-9F0E-3E52-55DB-F3DC8646CD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4131" y="976127"/>
            <a:ext cx="4788097" cy="478809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C4195AD6-98B1-8868-AF25-A69B7C397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2452534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6F07CCF-C28B-BF58-53B3-FDDCA9C9C74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831038" y="1497035"/>
            <a:ext cx="6858002" cy="386392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D0595C4-9F0E-3E52-55DB-F3DC8646CD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4131" y="976127"/>
            <a:ext cx="4788097" cy="478809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4" name="Subtitle 2">
            <a:extLst>
              <a:ext uri="{FF2B5EF4-FFF2-40B4-BE49-F238E27FC236}">
                <a16:creationId xmlns:a16="http://schemas.microsoft.com/office/drawing/2014/main" id="{01BB8D5C-D5CD-F71C-6064-2D004A9197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BE359F3-0083-E6B2-5012-6F8907013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850765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4C1BCCE-5AD0-2205-9226-0A53EC7355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493035" y="1142470"/>
            <a:ext cx="6858002" cy="4573061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91" name="Title Placeholder 1">
            <a:extLst>
              <a:ext uri="{FF2B5EF4-FFF2-40B4-BE49-F238E27FC236}">
                <a16:creationId xmlns:a16="http://schemas.microsoft.com/office/drawing/2014/main" id="{2647542F-6D8E-EAF8-0D31-EB4BC77C08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20C5F2-4619-2D33-4134-DA87B3EA14A5}"/>
              </a:ext>
            </a:extLst>
          </p:cNvPr>
          <p:cNvGrpSpPr/>
          <p:nvPr userDrawn="1"/>
        </p:nvGrpSpPr>
        <p:grpSpPr>
          <a:xfrm flipH="1">
            <a:off x="6581458" y="967568"/>
            <a:ext cx="6150870" cy="4953078"/>
            <a:chOff x="-13480067" y="1704817"/>
            <a:chExt cx="5092469" cy="4100785"/>
          </a:xfrm>
        </p:grpSpPr>
        <p:grpSp>
          <p:nvGrpSpPr>
            <p:cNvPr id="17" name="Graphic 6">
              <a:extLst>
                <a:ext uri="{FF2B5EF4-FFF2-40B4-BE49-F238E27FC236}">
                  <a16:creationId xmlns:a16="http://schemas.microsoft.com/office/drawing/2014/main" id="{5377DAA0-F3D8-ECA3-F514-10B249281B2A}"/>
                </a:ext>
              </a:extLst>
            </p:cNvPr>
            <p:cNvGrpSpPr/>
            <p:nvPr userDrawn="1"/>
          </p:nvGrpSpPr>
          <p:grpSpPr>
            <a:xfrm>
              <a:off x="-13480067" y="1704817"/>
              <a:ext cx="6848491" cy="4096335"/>
              <a:chOff x="-13480067" y="1704817"/>
              <a:chExt cx="6848491" cy="4096335"/>
            </a:xfrm>
          </p:grpSpPr>
          <p:grpSp>
            <p:nvGrpSpPr>
              <p:cNvPr id="123" name="Graphic 6">
                <a:extLst>
                  <a:ext uri="{FF2B5EF4-FFF2-40B4-BE49-F238E27FC236}">
                    <a16:creationId xmlns:a16="http://schemas.microsoft.com/office/drawing/2014/main" id="{E519C433-DA07-6F9C-D7F8-31E976385FB7}"/>
                  </a:ext>
                </a:extLst>
              </p:cNvPr>
              <p:cNvGrpSpPr/>
              <p:nvPr/>
            </p:nvGrpSpPr>
            <p:grpSpPr>
              <a:xfrm>
                <a:off x="-11320983" y="2416072"/>
                <a:ext cx="2648676" cy="3385079"/>
                <a:chOff x="-11320983" y="2416072"/>
                <a:chExt cx="2648676" cy="3385079"/>
              </a:xfrm>
            </p:grpSpPr>
            <p:sp>
              <p:nvSpPr>
                <p:cNvPr id="144" name="Freeform 143">
                  <a:extLst>
                    <a:ext uri="{FF2B5EF4-FFF2-40B4-BE49-F238E27FC236}">
                      <a16:creationId xmlns:a16="http://schemas.microsoft.com/office/drawing/2014/main" id="{A7DD97BA-829F-5890-3171-F9CB2D2C1746}"/>
                    </a:ext>
                  </a:extLst>
                </p:cNvPr>
                <p:cNvSpPr/>
                <p:nvPr/>
              </p:nvSpPr>
              <p:spPr>
                <a:xfrm>
                  <a:off x="-11054367" y="2416072"/>
                  <a:ext cx="548029" cy="562749"/>
                </a:xfrm>
                <a:custGeom>
                  <a:avLst/>
                  <a:gdLst>
                    <a:gd name="connsiteX0" fmla="*/ 498848 w 548029"/>
                    <a:gd name="connsiteY0" fmla="*/ 203144 h 562749"/>
                    <a:gd name="connsiteX1" fmla="*/ 468109 w 548029"/>
                    <a:gd name="connsiteY1" fmla="*/ 58950 h 562749"/>
                    <a:gd name="connsiteX2" fmla="*/ 364477 w 548029"/>
                    <a:gd name="connsiteY2" fmla="*/ 7075 h 562749"/>
                    <a:gd name="connsiteX3" fmla="*/ 335495 w 548029"/>
                    <a:gd name="connsiteY3" fmla="*/ 1800 h 562749"/>
                    <a:gd name="connsiteX4" fmla="*/ 277531 w 548029"/>
                    <a:gd name="connsiteY4" fmla="*/ 3559 h 562749"/>
                    <a:gd name="connsiteX5" fmla="*/ 164237 w 548029"/>
                    <a:gd name="connsiteY5" fmla="*/ 77414 h 562749"/>
                    <a:gd name="connsiteX6" fmla="*/ 6 w 548029"/>
                    <a:gd name="connsiteY6" fmla="*/ 562749 h 562749"/>
                    <a:gd name="connsiteX7" fmla="*/ 289826 w 548029"/>
                    <a:gd name="connsiteY7" fmla="*/ 562749 h 562749"/>
                    <a:gd name="connsiteX8" fmla="*/ 272261 w 548029"/>
                    <a:gd name="connsiteY8" fmla="*/ 490652 h 562749"/>
                    <a:gd name="connsiteX9" fmla="*/ 403120 w 548029"/>
                    <a:gd name="connsiteY9" fmla="*/ 492411 h 562749"/>
                    <a:gd name="connsiteX10" fmla="*/ 548030 w 548029"/>
                    <a:gd name="connsiteY10" fmla="*/ 524063 h 562749"/>
                    <a:gd name="connsiteX11" fmla="*/ 498848 w 548029"/>
                    <a:gd name="connsiteY11" fmla="*/ 203144 h 562749"/>
                    <a:gd name="connsiteX12" fmla="*/ 498848 w 548029"/>
                    <a:gd name="connsiteY12" fmla="*/ 203144 h 562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48029" h="562749">
                      <a:moveTo>
                        <a:pt x="498848" y="203144"/>
                      </a:moveTo>
                      <a:cubicBezTo>
                        <a:pt x="504996" y="163579"/>
                        <a:pt x="507630" y="93240"/>
                        <a:pt x="468109" y="58950"/>
                      </a:cubicBezTo>
                      <a:cubicBezTo>
                        <a:pt x="426832" y="22902"/>
                        <a:pt x="384676" y="10592"/>
                        <a:pt x="364477" y="7075"/>
                      </a:cubicBezTo>
                      <a:cubicBezTo>
                        <a:pt x="354816" y="4438"/>
                        <a:pt x="345155" y="2679"/>
                        <a:pt x="335495" y="1800"/>
                      </a:cubicBezTo>
                      <a:cubicBezTo>
                        <a:pt x="317052" y="-838"/>
                        <a:pt x="296852" y="-838"/>
                        <a:pt x="277531" y="3559"/>
                      </a:cubicBezTo>
                      <a:cubicBezTo>
                        <a:pt x="231862" y="11472"/>
                        <a:pt x="190585" y="36090"/>
                        <a:pt x="164237" y="77414"/>
                      </a:cubicBezTo>
                      <a:cubicBezTo>
                        <a:pt x="91343" y="189955"/>
                        <a:pt x="-872" y="451087"/>
                        <a:pt x="6" y="562749"/>
                      </a:cubicBezTo>
                      <a:lnTo>
                        <a:pt x="289826" y="562749"/>
                      </a:lnTo>
                      <a:cubicBezTo>
                        <a:pt x="278409" y="546923"/>
                        <a:pt x="274018" y="521425"/>
                        <a:pt x="272261" y="490652"/>
                      </a:cubicBezTo>
                      <a:cubicBezTo>
                        <a:pt x="337251" y="494169"/>
                        <a:pt x="397850" y="490652"/>
                        <a:pt x="403120" y="492411"/>
                      </a:cubicBezTo>
                      <a:cubicBezTo>
                        <a:pt x="456692" y="501203"/>
                        <a:pt x="544517" y="537252"/>
                        <a:pt x="548030" y="524063"/>
                      </a:cubicBezTo>
                      <a:cubicBezTo>
                        <a:pt x="505874" y="412401"/>
                        <a:pt x="512900" y="300739"/>
                        <a:pt x="498848" y="203144"/>
                      </a:cubicBezTo>
                      <a:lnTo>
                        <a:pt x="498848" y="203144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5" name="Freeform 144">
                  <a:extLst>
                    <a:ext uri="{FF2B5EF4-FFF2-40B4-BE49-F238E27FC236}">
                      <a16:creationId xmlns:a16="http://schemas.microsoft.com/office/drawing/2014/main" id="{5516B7E1-2031-EECC-87C3-5A2CAAC93914}"/>
                    </a:ext>
                  </a:extLst>
                </p:cNvPr>
                <p:cNvSpPr/>
                <p:nvPr/>
              </p:nvSpPr>
              <p:spPr>
                <a:xfrm>
                  <a:off x="-10853243" y="2453042"/>
                  <a:ext cx="330414" cy="535451"/>
                </a:xfrm>
                <a:custGeom>
                  <a:avLst/>
                  <a:gdLst>
                    <a:gd name="connsiteX0" fmla="*/ 328463 w 330414"/>
                    <a:gd name="connsiteY0" fmla="*/ 203982 h 535451"/>
                    <a:gd name="connsiteX1" fmla="*/ 328463 w 330414"/>
                    <a:gd name="connsiteY1" fmla="*/ 189035 h 535451"/>
                    <a:gd name="connsiteX2" fmla="*/ 288942 w 330414"/>
                    <a:gd name="connsiteY2" fmla="*/ 144194 h 535451"/>
                    <a:gd name="connsiteX3" fmla="*/ 287185 w 330414"/>
                    <a:gd name="connsiteY3" fmla="*/ 138918 h 535451"/>
                    <a:gd name="connsiteX4" fmla="*/ 229221 w 330414"/>
                    <a:gd name="connsiteY4" fmla="*/ 22860 h 535451"/>
                    <a:gd name="connsiteX5" fmla="*/ 193213 w 330414"/>
                    <a:gd name="connsiteY5" fmla="*/ 0 h 535451"/>
                    <a:gd name="connsiteX6" fmla="*/ 188822 w 330414"/>
                    <a:gd name="connsiteY6" fmla="*/ 1759 h 535451"/>
                    <a:gd name="connsiteX7" fmla="*/ 143153 w 330414"/>
                    <a:gd name="connsiteY7" fmla="*/ 187276 h 535451"/>
                    <a:gd name="connsiteX8" fmla="*/ 90459 w 330414"/>
                    <a:gd name="connsiteY8" fmla="*/ 154745 h 535451"/>
                    <a:gd name="connsiteX9" fmla="*/ 87824 w 330414"/>
                    <a:gd name="connsiteY9" fmla="*/ 243547 h 535451"/>
                    <a:gd name="connsiteX10" fmla="*/ 92215 w 330414"/>
                    <a:gd name="connsiteY10" fmla="*/ 248822 h 535451"/>
                    <a:gd name="connsiteX11" fmla="*/ 0 w 330414"/>
                    <a:gd name="connsiteY11" fmla="*/ 451925 h 535451"/>
                    <a:gd name="connsiteX12" fmla="*/ 191457 w 330414"/>
                    <a:gd name="connsiteY12" fmla="*/ 535452 h 535451"/>
                    <a:gd name="connsiteX13" fmla="*/ 223074 w 330414"/>
                    <a:gd name="connsiteY13" fmla="*/ 326195 h 535451"/>
                    <a:gd name="connsiteX14" fmla="*/ 234491 w 330414"/>
                    <a:gd name="connsiteY14" fmla="*/ 327074 h 535451"/>
                    <a:gd name="connsiteX15" fmla="*/ 295090 w 330414"/>
                    <a:gd name="connsiteY15" fmla="*/ 330591 h 535451"/>
                    <a:gd name="connsiteX16" fmla="*/ 316167 w 330414"/>
                    <a:gd name="connsiteY16" fmla="*/ 283112 h 535451"/>
                    <a:gd name="connsiteX17" fmla="*/ 327584 w 330414"/>
                    <a:gd name="connsiteY17" fmla="*/ 272562 h 535451"/>
                    <a:gd name="connsiteX18" fmla="*/ 307385 w 330414"/>
                    <a:gd name="connsiteY18" fmla="*/ 255856 h 535451"/>
                    <a:gd name="connsiteX19" fmla="*/ 326706 w 330414"/>
                    <a:gd name="connsiteY19" fmla="*/ 233875 h 535451"/>
                    <a:gd name="connsiteX20" fmla="*/ 317046 w 330414"/>
                    <a:gd name="connsiteY20" fmla="*/ 220687 h 535451"/>
                    <a:gd name="connsiteX21" fmla="*/ 317924 w 330414"/>
                    <a:gd name="connsiteY21" fmla="*/ 211015 h 535451"/>
                    <a:gd name="connsiteX22" fmla="*/ 328463 w 330414"/>
                    <a:gd name="connsiteY22" fmla="*/ 202223 h 535451"/>
                    <a:gd name="connsiteX23" fmla="*/ 328463 w 330414"/>
                    <a:gd name="connsiteY23" fmla="*/ 202223 h 535451"/>
                    <a:gd name="connsiteX24" fmla="*/ 328463 w 330414"/>
                    <a:gd name="connsiteY24" fmla="*/ 203982 h 535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0414" h="535451">
                      <a:moveTo>
                        <a:pt x="328463" y="203982"/>
                      </a:moveTo>
                      <a:cubicBezTo>
                        <a:pt x="328463" y="203982"/>
                        <a:pt x="332854" y="196068"/>
                        <a:pt x="328463" y="189035"/>
                      </a:cubicBezTo>
                      <a:lnTo>
                        <a:pt x="288942" y="144194"/>
                      </a:lnTo>
                      <a:cubicBezTo>
                        <a:pt x="288063" y="142435"/>
                        <a:pt x="287185" y="140677"/>
                        <a:pt x="287185" y="138918"/>
                      </a:cubicBezTo>
                      <a:cubicBezTo>
                        <a:pt x="281916" y="63305"/>
                        <a:pt x="229221" y="22860"/>
                        <a:pt x="229221" y="22860"/>
                      </a:cubicBezTo>
                      <a:cubicBezTo>
                        <a:pt x="214291" y="11430"/>
                        <a:pt x="200239" y="3517"/>
                        <a:pt x="193213" y="0"/>
                      </a:cubicBezTo>
                      <a:cubicBezTo>
                        <a:pt x="191457" y="0"/>
                        <a:pt x="190578" y="0"/>
                        <a:pt x="188822" y="1759"/>
                      </a:cubicBezTo>
                      <a:cubicBezTo>
                        <a:pt x="156327" y="80889"/>
                        <a:pt x="143153" y="187276"/>
                        <a:pt x="143153" y="187276"/>
                      </a:cubicBezTo>
                      <a:cubicBezTo>
                        <a:pt x="143153" y="187276"/>
                        <a:pt x="123832" y="136281"/>
                        <a:pt x="90459" y="154745"/>
                      </a:cubicBezTo>
                      <a:cubicBezTo>
                        <a:pt x="65868" y="167933"/>
                        <a:pt x="62355" y="210136"/>
                        <a:pt x="87824" y="243547"/>
                      </a:cubicBezTo>
                      <a:cubicBezTo>
                        <a:pt x="89581" y="245305"/>
                        <a:pt x="91337" y="247064"/>
                        <a:pt x="92215" y="248822"/>
                      </a:cubicBezTo>
                      <a:cubicBezTo>
                        <a:pt x="86068" y="286629"/>
                        <a:pt x="64112" y="383345"/>
                        <a:pt x="0" y="451925"/>
                      </a:cubicBezTo>
                      <a:cubicBezTo>
                        <a:pt x="23712" y="506437"/>
                        <a:pt x="104511" y="523142"/>
                        <a:pt x="191457" y="535452"/>
                      </a:cubicBezTo>
                      <a:cubicBezTo>
                        <a:pt x="191457" y="535452"/>
                        <a:pt x="214291" y="389499"/>
                        <a:pt x="223074" y="326195"/>
                      </a:cubicBezTo>
                      <a:cubicBezTo>
                        <a:pt x="230099" y="326195"/>
                        <a:pt x="234491" y="327074"/>
                        <a:pt x="234491" y="327074"/>
                      </a:cubicBezTo>
                      <a:cubicBezTo>
                        <a:pt x="254690" y="329712"/>
                        <a:pt x="275768" y="331470"/>
                        <a:pt x="295090" y="330591"/>
                      </a:cubicBezTo>
                      <a:cubicBezTo>
                        <a:pt x="295090" y="330591"/>
                        <a:pt x="338123" y="328832"/>
                        <a:pt x="316167" y="283112"/>
                      </a:cubicBezTo>
                      <a:lnTo>
                        <a:pt x="327584" y="272562"/>
                      </a:lnTo>
                      <a:cubicBezTo>
                        <a:pt x="327584" y="272562"/>
                        <a:pt x="331097" y="262011"/>
                        <a:pt x="307385" y="255856"/>
                      </a:cubicBezTo>
                      <a:cubicBezTo>
                        <a:pt x="307385" y="255856"/>
                        <a:pt x="332854" y="246185"/>
                        <a:pt x="326706" y="233875"/>
                      </a:cubicBezTo>
                      <a:lnTo>
                        <a:pt x="317046" y="220687"/>
                      </a:lnTo>
                      <a:cubicBezTo>
                        <a:pt x="315289" y="218049"/>
                        <a:pt x="315289" y="213653"/>
                        <a:pt x="317924" y="211015"/>
                      </a:cubicBezTo>
                      <a:lnTo>
                        <a:pt x="328463" y="202223"/>
                      </a:lnTo>
                      <a:lnTo>
                        <a:pt x="328463" y="202223"/>
                      </a:lnTo>
                      <a:lnTo>
                        <a:pt x="328463" y="203982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" name="Freeform 145">
                  <a:extLst>
                    <a:ext uri="{FF2B5EF4-FFF2-40B4-BE49-F238E27FC236}">
                      <a16:creationId xmlns:a16="http://schemas.microsoft.com/office/drawing/2014/main" id="{AEDEED06-6102-0C72-E5A3-14E07B52088E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" name="Freeform 146">
                  <a:extLst>
                    <a:ext uri="{FF2B5EF4-FFF2-40B4-BE49-F238E27FC236}">
                      <a16:creationId xmlns:a16="http://schemas.microsoft.com/office/drawing/2014/main" id="{FCECBBA3-05AC-1003-0608-5FE238D5D56B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8" name="Freeform 147">
                  <a:extLst>
                    <a:ext uri="{FF2B5EF4-FFF2-40B4-BE49-F238E27FC236}">
                      <a16:creationId xmlns:a16="http://schemas.microsoft.com/office/drawing/2014/main" id="{EAEEDD23-9D7A-C05C-D491-CDE0530A86CF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9" name="Freeform 148">
                  <a:extLst>
                    <a:ext uri="{FF2B5EF4-FFF2-40B4-BE49-F238E27FC236}">
                      <a16:creationId xmlns:a16="http://schemas.microsoft.com/office/drawing/2014/main" id="{30597AAE-B971-869D-E30B-F7A6079F527B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0" name="Freeform 149">
                  <a:extLst>
                    <a:ext uri="{FF2B5EF4-FFF2-40B4-BE49-F238E27FC236}">
                      <a16:creationId xmlns:a16="http://schemas.microsoft.com/office/drawing/2014/main" id="{44A8AA10-3120-19D6-D5BC-A5AD067B8584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1" name="Freeform 150">
                  <a:extLst>
                    <a:ext uri="{FF2B5EF4-FFF2-40B4-BE49-F238E27FC236}">
                      <a16:creationId xmlns:a16="http://schemas.microsoft.com/office/drawing/2014/main" id="{24A2BB92-9F5F-74D6-1DA2-2141A8F101DB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eform 151">
                  <a:extLst>
                    <a:ext uri="{FF2B5EF4-FFF2-40B4-BE49-F238E27FC236}">
                      <a16:creationId xmlns:a16="http://schemas.microsoft.com/office/drawing/2014/main" id="{3D10DF6D-C7BE-72BF-A378-F9A041751EF8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eform 152">
                  <a:extLst>
                    <a:ext uri="{FF2B5EF4-FFF2-40B4-BE49-F238E27FC236}">
                      <a16:creationId xmlns:a16="http://schemas.microsoft.com/office/drawing/2014/main" id="{88756DCF-8FB0-5021-94FB-43FD0BA7333B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eform 153">
                  <a:extLst>
                    <a:ext uri="{FF2B5EF4-FFF2-40B4-BE49-F238E27FC236}">
                      <a16:creationId xmlns:a16="http://schemas.microsoft.com/office/drawing/2014/main" id="{937346ED-FAA5-5484-BEA8-D3E5F8702E5E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eform 154">
                  <a:extLst>
                    <a:ext uri="{FF2B5EF4-FFF2-40B4-BE49-F238E27FC236}">
                      <a16:creationId xmlns:a16="http://schemas.microsoft.com/office/drawing/2014/main" id="{3C49A5D5-D686-8448-F95D-0CCBA8AE7BA8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eform 155">
                  <a:extLst>
                    <a:ext uri="{FF2B5EF4-FFF2-40B4-BE49-F238E27FC236}">
                      <a16:creationId xmlns:a16="http://schemas.microsoft.com/office/drawing/2014/main" id="{A761F9DE-E273-9901-CBCB-5B5FCE82C576}"/>
                    </a:ext>
                  </a:extLst>
                </p:cNvPr>
                <p:cNvSpPr/>
                <p:nvPr/>
              </p:nvSpPr>
              <p:spPr>
                <a:xfrm>
                  <a:off x="-10164051" y="2785601"/>
                  <a:ext cx="173697" cy="310719"/>
                </a:xfrm>
                <a:custGeom>
                  <a:avLst/>
                  <a:gdLst>
                    <a:gd name="connsiteX0" fmla="*/ 170607 w 173697"/>
                    <a:gd name="connsiteY0" fmla="*/ 68370 h 310719"/>
                    <a:gd name="connsiteX1" fmla="*/ 155677 w 173697"/>
                    <a:gd name="connsiteY1" fmla="*/ 77162 h 310719"/>
                    <a:gd name="connsiteX2" fmla="*/ 137234 w 173697"/>
                    <a:gd name="connsiteY2" fmla="*/ 135192 h 310719"/>
                    <a:gd name="connsiteX3" fmla="*/ 139869 w 173697"/>
                    <a:gd name="connsiteY3" fmla="*/ 28805 h 310719"/>
                    <a:gd name="connsiteX4" fmla="*/ 124061 w 173697"/>
                    <a:gd name="connsiteY4" fmla="*/ 42873 h 310719"/>
                    <a:gd name="connsiteX5" fmla="*/ 115278 w 173697"/>
                    <a:gd name="connsiteY5" fmla="*/ 100902 h 310719"/>
                    <a:gd name="connsiteX6" fmla="*/ 110887 w 173697"/>
                    <a:gd name="connsiteY6" fmla="*/ 119366 h 310719"/>
                    <a:gd name="connsiteX7" fmla="*/ 101226 w 173697"/>
                    <a:gd name="connsiteY7" fmla="*/ 2428 h 310719"/>
                    <a:gd name="connsiteX8" fmla="*/ 84540 w 173697"/>
                    <a:gd name="connsiteY8" fmla="*/ 34080 h 310719"/>
                    <a:gd name="connsiteX9" fmla="*/ 84540 w 173697"/>
                    <a:gd name="connsiteY9" fmla="*/ 100902 h 310719"/>
                    <a:gd name="connsiteX10" fmla="*/ 81905 w 173697"/>
                    <a:gd name="connsiteY10" fmla="*/ 105298 h 310719"/>
                    <a:gd name="connsiteX11" fmla="*/ 65218 w 173697"/>
                    <a:gd name="connsiteY11" fmla="*/ 25288 h 310719"/>
                    <a:gd name="connsiteX12" fmla="*/ 49410 w 173697"/>
                    <a:gd name="connsiteY12" fmla="*/ 25288 h 310719"/>
                    <a:gd name="connsiteX13" fmla="*/ 47654 w 173697"/>
                    <a:gd name="connsiteY13" fmla="*/ 133433 h 310719"/>
                    <a:gd name="connsiteX14" fmla="*/ 37993 w 173697"/>
                    <a:gd name="connsiteY14" fmla="*/ 156293 h 310719"/>
                    <a:gd name="connsiteX15" fmla="*/ 29210 w 173697"/>
                    <a:gd name="connsiteY15" fmla="*/ 119366 h 310719"/>
                    <a:gd name="connsiteX16" fmla="*/ 3741 w 173697"/>
                    <a:gd name="connsiteY16" fmla="*/ 84196 h 310719"/>
                    <a:gd name="connsiteX17" fmla="*/ 228 w 173697"/>
                    <a:gd name="connsiteY17" fmla="*/ 88592 h 310719"/>
                    <a:gd name="connsiteX18" fmla="*/ 1985 w 173697"/>
                    <a:gd name="connsiteY18" fmla="*/ 151897 h 310719"/>
                    <a:gd name="connsiteX19" fmla="*/ 1985 w 173697"/>
                    <a:gd name="connsiteY19" fmla="*/ 151897 h 310719"/>
                    <a:gd name="connsiteX20" fmla="*/ 7254 w 173697"/>
                    <a:gd name="connsiteY20" fmla="*/ 185308 h 310719"/>
                    <a:gd name="connsiteX21" fmla="*/ 35358 w 173697"/>
                    <a:gd name="connsiteY21" fmla="*/ 294332 h 310719"/>
                    <a:gd name="connsiteX22" fmla="*/ 37993 w 173697"/>
                    <a:gd name="connsiteY22" fmla="*/ 296970 h 310719"/>
                    <a:gd name="connsiteX23" fmla="*/ 108252 w 173697"/>
                    <a:gd name="connsiteY23" fmla="*/ 310159 h 310719"/>
                    <a:gd name="connsiteX24" fmla="*/ 132843 w 173697"/>
                    <a:gd name="connsiteY24" fmla="*/ 251250 h 310719"/>
                    <a:gd name="connsiteX25" fmla="*/ 155677 w 173697"/>
                    <a:gd name="connsiteY25" fmla="*/ 182670 h 310719"/>
                    <a:gd name="connsiteX26" fmla="*/ 161825 w 173697"/>
                    <a:gd name="connsiteY26" fmla="*/ 159810 h 310719"/>
                    <a:gd name="connsiteX27" fmla="*/ 169729 w 173697"/>
                    <a:gd name="connsiteY27" fmla="*/ 70129 h 310719"/>
                    <a:gd name="connsiteX28" fmla="*/ 169729 w 173697"/>
                    <a:gd name="connsiteY28" fmla="*/ 70129 h 310719"/>
                    <a:gd name="connsiteX29" fmla="*/ 169729 w 173697"/>
                    <a:gd name="connsiteY29" fmla="*/ 68370 h 310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3697" h="310719">
                      <a:moveTo>
                        <a:pt x="170607" y="68370"/>
                      </a:moveTo>
                      <a:cubicBezTo>
                        <a:pt x="158312" y="56940"/>
                        <a:pt x="155677" y="77162"/>
                        <a:pt x="155677" y="77162"/>
                      </a:cubicBezTo>
                      <a:cubicBezTo>
                        <a:pt x="155677" y="77162"/>
                        <a:pt x="145138" y="125520"/>
                        <a:pt x="137234" y="135192"/>
                      </a:cubicBezTo>
                      <a:cubicBezTo>
                        <a:pt x="138112" y="129037"/>
                        <a:pt x="155677" y="56061"/>
                        <a:pt x="139869" y="28805"/>
                      </a:cubicBezTo>
                      <a:cubicBezTo>
                        <a:pt x="139869" y="28805"/>
                        <a:pt x="124061" y="13858"/>
                        <a:pt x="124061" y="42873"/>
                      </a:cubicBezTo>
                      <a:cubicBezTo>
                        <a:pt x="124061" y="71887"/>
                        <a:pt x="115278" y="100902"/>
                        <a:pt x="115278" y="100902"/>
                      </a:cubicBezTo>
                      <a:lnTo>
                        <a:pt x="110887" y="119366"/>
                      </a:lnTo>
                      <a:cubicBezTo>
                        <a:pt x="110887" y="119366"/>
                        <a:pt x="118791" y="15616"/>
                        <a:pt x="101226" y="2428"/>
                      </a:cubicBezTo>
                      <a:cubicBezTo>
                        <a:pt x="83662" y="-10761"/>
                        <a:pt x="84540" y="34080"/>
                        <a:pt x="84540" y="34080"/>
                      </a:cubicBezTo>
                      <a:cubicBezTo>
                        <a:pt x="84540" y="34080"/>
                        <a:pt x="87174" y="86834"/>
                        <a:pt x="84540" y="100902"/>
                      </a:cubicBezTo>
                      <a:lnTo>
                        <a:pt x="81905" y="105298"/>
                      </a:lnTo>
                      <a:cubicBezTo>
                        <a:pt x="81905" y="105298"/>
                        <a:pt x="76635" y="40235"/>
                        <a:pt x="65218" y="25288"/>
                      </a:cubicBezTo>
                      <a:cubicBezTo>
                        <a:pt x="54679" y="10341"/>
                        <a:pt x="49410" y="13858"/>
                        <a:pt x="49410" y="25288"/>
                      </a:cubicBezTo>
                      <a:cubicBezTo>
                        <a:pt x="49410" y="36718"/>
                        <a:pt x="52923" y="120245"/>
                        <a:pt x="47654" y="133433"/>
                      </a:cubicBezTo>
                      <a:cubicBezTo>
                        <a:pt x="46775" y="136071"/>
                        <a:pt x="42384" y="148380"/>
                        <a:pt x="37993" y="156293"/>
                      </a:cubicBezTo>
                      <a:cubicBezTo>
                        <a:pt x="33602" y="144863"/>
                        <a:pt x="30089" y="128158"/>
                        <a:pt x="29210" y="119366"/>
                      </a:cubicBezTo>
                      <a:cubicBezTo>
                        <a:pt x="29210" y="92109"/>
                        <a:pt x="12524" y="85955"/>
                        <a:pt x="3741" y="84196"/>
                      </a:cubicBezTo>
                      <a:cubicBezTo>
                        <a:pt x="1107" y="84196"/>
                        <a:pt x="-650" y="85955"/>
                        <a:pt x="228" y="88592"/>
                      </a:cubicBezTo>
                      <a:cubicBezTo>
                        <a:pt x="6376" y="107056"/>
                        <a:pt x="3741" y="129916"/>
                        <a:pt x="1985" y="151897"/>
                      </a:cubicBezTo>
                      <a:lnTo>
                        <a:pt x="1985" y="151897"/>
                      </a:lnTo>
                      <a:cubicBezTo>
                        <a:pt x="1985" y="153656"/>
                        <a:pt x="1985" y="171240"/>
                        <a:pt x="7254" y="185308"/>
                      </a:cubicBezTo>
                      <a:cubicBezTo>
                        <a:pt x="11646" y="198496"/>
                        <a:pt x="32723" y="281144"/>
                        <a:pt x="35358" y="294332"/>
                      </a:cubicBezTo>
                      <a:cubicBezTo>
                        <a:pt x="35358" y="295212"/>
                        <a:pt x="36236" y="296091"/>
                        <a:pt x="37993" y="296970"/>
                      </a:cubicBezTo>
                      <a:cubicBezTo>
                        <a:pt x="48532" y="299608"/>
                        <a:pt x="102983" y="313676"/>
                        <a:pt x="108252" y="310159"/>
                      </a:cubicBezTo>
                      <a:cubicBezTo>
                        <a:pt x="117913" y="304004"/>
                        <a:pt x="122304" y="275869"/>
                        <a:pt x="132843" y="251250"/>
                      </a:cubicBezTo>
                      <a:cubicBezTo>
                        <a:pt x="150408" y="205530"/>
                        <a:pt x="154799" y="183549"/>
                        <a:pt x="155677" y="182670"/>
                      </a:cubicBezTo>
                      <a:lnTo>
                        <a:pt x="161825" y="159810"/>
                      </a:lnTo>
                      <a:cubicBezTo>
                        <a:pt x="161825" y="157173"/>
                        <a:pt x="182025" y="81559"/>
                        <a:pt x="169729" y="70129"/>
                      </a:cubicBezTo>
                      <a:lnTo>
                        <a:pt x="169729" y="70129"/>
                      </a:lnTo>
                      <a:lnTo>
                        <a:pt x="169729" y="68370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eform 156">
                  <a:extLst>
                    <a:ext uri="{FF2B5EF4-FFF2-40B4-BE49-F238E27FC236}">
                      <a16:creationId xmlns:a16="http://schemas.microsoft.com/office/drawing/2014/main" id="{0E9A899F-AE2B-666B-552C-BA9AEFF2A62E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eform 157">
                  <a:extLst>
                    <a:ext uri="{FF2B5EF4-FFF2-40B4-BE49-F238E27FC236}">
                      <a16:creationId xmlns:a16="http://schemas.microsoft.com/office/drawing/2014/main" id="{8BA98A7B-31AD-1360-7752-72FB4C17CB42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A1AD1015-9A5E-47A7-E2DE-A1A0A53D9F89}"/>
                    </a:ext>
                  </a:extLst>
                </p:cNvPr>
                <p:cNvSpPr/>
                <p:nvPr/>
              </p:nvSpPr>
              <p:spPr>
                <a:xfrm>
                  <a:off x="-11320983" y="2913759"/>
                  <a:ext cx="1280114" cy="783067"/>
                </a:xfrm>
                <a:custGeom>
                  <a:avLst/>
                  <a:gdLst>
                    <a:gd name="connsiteX0" fmla="*/ 376403 w 1280114"/>
                    <a:gd name="connsiteY0" fmla="*/ 725365 h 783067"/>
                    <a:gd name="connsiteX1" fmla="*/ 861193 w 1280114"/>
                    <a:gd name="connsiteY1" fmla="*/ 701626 h 783067"/>
                    <a:gd name="connsiteX2" fmla="*/ 848897 w 1280114"/>
                    <a:gd name="connsiteY2" fmla="*/ 524022 h 783067"/>
                    <a:gd name="connsiteX3" fmla="*/ 956921 w 1280114"/>
                    <a:gd name="connsiteY3" fmla="*/ 707781 h 783067"/>
                    <a:gd name="connsiteX4" fmla="*/ 1126422 w 1280114"/>
                    <a:gd name="connsiteY4" fmla="*/ 610186 h 783067"/>
                    <a:gd name="connsiteX5" fmla="*/ 1280115 w 1280114"/>
                    <a:gd name="connsiteY5" fmla="*/ 168812 h 783067"/>
                    <a:gd name="connsiteX6" fmla="*/ 1184386 w 1280114"/>
                    <a:gd name="connsiteY6" fmla="*/ 145952 h 783067"/>
                    <a:gd name="connsiteX7" fmla="*/ 1184386 w 1280114"/>
                    <a:gd name="connsiteY7" fmla="*/ 145952 h 783067"/>
                    <a:gd name="connsiteX8" fmla="*/ 1021033 w 1280114"/>
                    <a:gd name="connsiteY8" fmla="*/ 406205 h 783067"/>
                    <a:gd name="connsiteX9" fmla="*/ 989416 w 1280114"/>
                    <a:gd name="connsiteY9" fmla="*/ 291905 h 783067"/>
                    <a:gd name="connsiteX10" fmla="*/ 933209 w 1280114"/>
                    <a:gd name="connsiteY10" fmla="*/ 124851 h 783067"/>
                    <a:gd name="connsiteX11" fmla="*/ 858558 w 1280114"/>
                    <a:gd name="connsiteY11" fmla="*/ 50995 h 783067"/>
                    <a:gd name="connsiteX12" fmla="*/ 807620 w 1280114"/>
                    <a:gd name="connsiteY12" fmla="*/ 30773 h 783067"/>
                    <a:gd name="connsiteX13" fmla="*/ 670614 w 1280114"/>
                    <a:gd name="connsiteY13" fmla="*/ 0 h 783067"/>
                    <a:gd name="connsiteX14" fmla="*/ 457201 w 1280114"/>
                    <a:gd name="connsiteY14" fmla="*/ 0 h 783067"/>
                    <a:gd name="connsiteX15" fmla="*/ 307900 w 1280114"/>
                    <a:gd name="connsiteY15" fmla="*/ 54512 h 783067"/>
                    <a:gd name="connsiteX16" fmla="*/ 204267 w 1280114"/>
                    <a:gd name="connsiteY16" fmla="*/ 139798 h 783067"/>
                    <a:gd name="connsiteX17" fmla="*/ 1393 w 1280114"/>
                    <a:gd name="connsiteY17" fmla="*/ 654148 h 783067"/>
                    <a:gd name="connsiteX18" fmla="*/ 572251 w 1280114"/>
                    <a:gd name="connsiteY18" fmla="*/ 640080 h 783067"/>
                    <a:gd name="connsiteX19" fmla="*/ 536243 w 1280114"/>
                    <a:gd name="connsiteY19" fmla="*/ 545123 h 783067"/>
                    <a:gd name="connsiteX20" fmla="*/ 244667 w 1280114"/>
                    <a:gd name="connsiteY20" fmla="*/ 589964 h 783067"/>
                    <a:gd name="connsiteX21" fmla="*/ 328978 w 1280114"/>
                    <a:gd name="connsiteY21" fmla="*/ 436098 h 783067"/>
                    <a:gd name="connsiteX22" fmla="*/ 339517 w 1280114"/>
                    <a:gd name="connsiteY22" fmla="*/ 552157 h 783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80114" h="783067">
                      <a:moveTo>
                        <a:pt x="376403" y="725365"/>
                      </a:moveTo>
                      <a:lnTo>
                        <a:pt x="861193" y="701626"/>
                      </a:lnTo>
                      <a:lnTo>
                        <a:pt x="848897" y="524022"/>
                      </a:lnTo>
                      <a:cubicBezTo>
                        <a:pt x="867341" y="559191"/>
                        <a:pt x="905105" y="648872"/>
                        <a:pt x="956921" y="707781"/>
                      </a:cubicBezTo>
                      <a:cubicBezTo>
                        <a:pt x="1024546" y="785153"/>
                        <a:pt x="1107101" y="643597"/>
                        <a:pt x="1126422" y="610186"/>
                      </a:cubicBezTo>
                      <a:cubicBezTo>
                        <a:pt x="1209855" y="465113"/>
                        <a:pt x="1280115" y="168812"/>
                        <a:pt x="1280115" y="168812"/>
                      </a:cubicBezTo>
                      <a:lnTo>
                        <a:pt x="1184386" y="145952"/>
                      </a:lnTo>
                      <a:lnTo>
                        <a:pt x="1184386" y="145952"/>
                      </a:lnTo>
                      <a:lnTo>
                        <a:pt x="1021033" y="406205"/>
                      </a:lnTo>
                      <a:cubicBezTo>
                        <a:pt x="1011372" y="368398"/>
                        <a:pt x="1000833" y="329712"/>
                        <a:pt x="989416" y="291905"/>
                      </a:cubicBezTo>
                      <a:cubicBezTo>
                        <a:pt x="972730" y="226842"/>
                        <a:pt x="953408" y="166175"/>
                        <a:pt x="933209" y="124851"/>
                      </a:cubicBezTo>
                      <a:cubicBezTo>
                        <a:pt x="913887" y="85285"/>
                        <a:pt x="885784" y="65063"/>
                        <a:pt x="858558" y="50995"/>
                      </a:cubicBezTo>
                      <a:cubicBezTo>
                        <a:pt x="831333" y="36928"/>
                        <a:pt x="824307" y="35169"/>
                        <a:pt x="807620" y="30773"/>
                      </a:cubicBezTo>
                      <a:lnTo>
                        <a:pt x="670614" y="0"/>
                      </a:lnTo>
                      <a:cubicBezTo>
                        <a:pt x="657441" y="70338"/>
                        <a:pt x="516922" y="53633"/>
                        <a:pt x="457201" y="0"/>
                      </a:cubicBezTo>
                      <a:lnTo>
                        <a:pt x="307900" y="54512"/>
                      </a:lnTo>
                      <a:cubicBezTo>
                        <a:pt x="275405" y="58908"/>
                        <a:pt x="237641" y="79131"/>
                        <a:pt x="204267" y="139798"/>
                      </a:cubicBezTo>
                      <a:cubicBezTo>
                        <a:pt x="47940" y="427306"/>
                        <a:pt x="-10024" y="596118"/>
                        <a:pt x="1393" y="654148"/>
                      </a:cubicBezTo>
                      <a:cubicBezTo>
                        <a:pt x="57601" y="952207"/>
                        <a:pt x="572251" y="640080"/>
                        <a:pt x="572251" y="640080"/>
                      </a:cubicBezTo>
                      <a:lnTo>
                        <a:pt x="536243" y="545123"/>
                      </a:lnTo>
                      <a:cubicBezTo>
                        <a:pt x="536243" y="545123"/>
                        <a:pt x="250814" y="601394"/>
                        <a:pt x="244667" y="589964"/>
                      </a:cubicBezTo>
                      <a:lnTo>
                        <a:pt x="328978" y="436098"/>
                      </a:lnTo>
                      <a:cubicBezTo>
                        <a:pt x="328978" y="441374"/>
                        <a:pt x="333369" y="493248"/>
                        <a:pt x="339517" y="552157"/>
                      </a:cubicBezTo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40BF9C5B-F936-23C5-5D62-3B1D49350B2A}"/>
                    </a:ext>
                  </a:extLst>
                </p:cNvPr>
                <p:cNvSpPr/>
                <p:nvPr/>
              </p:nvSpPr>
              <p:spPr>
                <a:xfrm>
                  <a:off x="-10720884" y="2450565"/>
                  <a:ext cx="89252" cy="179202"/>
                </a:xfrm>
                <a:custGeom>
                  <a:avLst/>
                  <a:gdLst>
                    <a:gd name="connsiteX0" fmla="*/ 18698 w 89252"/>
                    <a:gd name="connsiteY0" fmla="*/ 178323 h 179202"/>
                    <a:gd name="connsiteX1" fmla="*/ 88080 w 89252"/>
                    <a:gd name="connsiteY1" fmla="*/ 20941 h 179202"/>
                    <a:gd name="connsiteX2" fmla="*/ 27481 w 89252"/>
                    <a:gd name="connsiteY2" fmla="*/ 719 h 179202"/>
                    <a:gd name="connsiteX3" fmla="*/ 18698 w 89252"/>
                    <a:gd name="connsiteY3" fmla="*/ 179202 h 179202"/>
                    <a:gd name="connsiteX4" fmla="*/ 18698 w 89252"/>
                    <a:gd name="connsiteY4" fmla="*/ 179202 h 17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252" h="179202">
                      <a:moveTo>
                        <a:pt x="18698" y="178323"/>
                      </a:moveTo>
                      <a:cubicBezTo>
                        <a:pt x="23968" y="120294"/>
                        <a:pt x="99497" y="83366"/>
                        <a:pt x="88080" y="20941"/>
                      </a:cubicBezTo>
                      <a:cubicBezTo>
                        <a:pt x="88080" y="20941"/>
                        <a:pt x="83688" y="-4557"/>
                        <a:pt x="27481" y="719"/>
                      </a:cubicBezTo>
                      <a:cubicBezTo>
                        <a:pt x="-28727" y="5994"/>
                        <a:pt x="18698" y="179202"/>
                        <a:pt x="18698" y="179202"/>
                      </a:cubicBezTo>
                      <a:lnTo>
                        <a:pt x="18698" y="179202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13399ABA-5C8E-C725-7125-E9610AC48C65}"/>
                    </a:ext>
                  </a:extLst>
                </p:cNvPr>
                <p:cNvSpPr/>
                <p:nvPr/>
              </p:nvSpPr>
              <p:spPr>
                <a:xfrm>
                  <a:off x="-11045578" y="2762531"/>
                  <a:ext cx="272255" cy="216290"/>
                </a:xfrm>
                <a:custGeom>
                  <a:avLst/>
                  <a:gdLst>
                    <a:gd name="connsiteX0" fmla="*/ 272255 w 272255"/>
                    <a:gd name="connsiteY0" fmla="*/ 879 h 216290"/>
                    <a:gd name="connsiteX1" fmla="*/ 259960 w 272255"/>
                    <a:gd name="connsiteY1" fmla="*/ 216291 h 216290"/>
                    <a:gd name="connsiteX2" fmla="*/ 0 w 272255"/>
                    <a:gd name="connsiteY2" fmla="*/ 216291 h 216290"/>
                    <a:gd name="connsiteX3" fmla="*/ 62355 w 272255"/>
                    <a:gd name="connsiteY3" fmla="*/ 0 h 216290"/>
                    <a:gd name="connsiteX4" fmla="*/ 272255 w 272255"/>
                    <a:gd name="connsiteY4" fmla="*/ 0 h 216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2255" h="216290">
                      <a:moveTo>
                        <a:pt x="272255" y="879"/>
                      </a:moveTo>
                      <a:cubicBezTo>
                        <a:pt x="272255" y="879"/>
                        <a:pt x="221317" y="162658"/>
                        <a:pt x="259960" y="216291"/>
                      </a:cubicBezTo>
                      <a:lnTo>
                        <a:pt x="0" y="216291"/>
                      </a:lnTo>
                      <a:lnTo>
                        <a:pt x="62355" y="0"/>
                      </a:lnTo>
                      <a:lnTo>
                        <a:pt x="272255" y="0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43585CA-6298-6618-A006-928516E43C83}"/>
                  </a:ext>
                </a:extLst>
              </p:cNvPr>
              <p:cNvSpPr/>
              <p:nvPr/>
            </p:nvSpPr>
            <p:spPr>
              <a:xfrm>
                <a:off x="-10873775" y="3549442"/>
                <a:ext cx="180674" cy="261131"/>
              </a:xfrm>
              <a:custGeom>
                <a:avLst/>
                <a:gdLst>
                  <a:gd name="connsiteX0" fmla="*/ 180372 w 180674"/>
                  <a:gd name="connsiteY0" fmla="*/ 220687 h 261131"/>
                  <a:gd name="connsiteX1" fmla="*/ 149633 w 180674"/>
                  <a:gd name="connsiteY1" fmla="*/ 182001 h 261131"/>
                  <a:gd name="connsiteX2" fmla="*/ 93426 w 180674"/>
                  <a:gd name="connsiteY2" fmla="*/ 149469 h 261131"/>
                  <a:gd name="connsiteX3" fmla="*/ 122408 w 180674"/>
                  <a:gd name="connsiteY3" fmla="*/ 0 h 261131"/>
                  <a:gd name="connsiteX4" fmla="*/ 37218 w 180674"/>
                  <a:gd name="connsiteY4" fmla="*/ 0 h 261131"/>
                  <a:gd name="connsiteX5" fmla="*/ 18775 w 180674"/>
                  <a:gd name="connsiteY5" fmla="*/ 135401 h 261131"/>
                  <a:gd name="connsiteX6" fmla="*/ 3845 w 180674"/>
                  <a:gd name="connsiteY6" fmla="*/ 186397 h 261131"/>
                  <a:gd name="connsiteX7" fmla="*/ 86400 w 180674"/>
                  <a:gd name="connsiteY7" fmla="*/ 232117 h 261131"/>
                  <a:gd name="connsiteX8" fmla="*/ 136460 w 180674"/>
                  <a:gd name="connsiteY8" fmla="*/ 249701 h 261131"/>
                  <a:gd name="connsiteX9" fmla="*/ 166320 w 180674"/>
                  <a:gd name="connsiteY9" fmla="*/ 261131 h 261131"/>
                  <a:gd name="connsiteX10" fmla="*/ 179494 w 180674"/>
                  <a:gd name="connsiteY10" fmla="*/ 220687 h 261131"/>
                  <a:gd name="connsiteX11" fmla="*/ 180372 w 180674"/>
                  <a:gd name="connsiteY11" fmla="*/ 220687 h 26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0674" h="261131">
                    <a:moveTo>
                      <a:pt x="180372" y="220687"/>
                    </a:moveTo>
                    <a:cubicBezTo>
                      <a:pt x="183007" y="188155"/>
                      <a:pt x="168076" y="188155"/>
                      <a:pt x="149633" y="182001"/>
                    </a:cubicBezTo>
                    <a:cubicBezTo>
                      <a:pt x="123286" y="172329"/>
                      <a:pt x="93426" y="149469"/>
                      <a:pt x="93426" y="149469"/>
                    </a:cubicBezTo>
                    <a:lnTo>
                      <a:pt x="122408" y="0"/>
                    </a:lnTo>
                    <a:lnTo>
                      <a:pt x="37218" y="0"/>
                    </a:lnTo>
                    <a:lnTo>
                      <a:pt x="18775" y="135401"/>
                    </a:lnTo>
                    <a:cubicBezTo>
                      <a:pt x="18775" y="135401"/>
                      <a:pt x="-10207" y="163537"/>
                      <a:pt x="3845" y="186397"/>
                    </a:cubicBezTo>
                    <a:cubicBezTo>
                      <a:pt x="17019" y="209257"/>
                      <a:pt x="53905" y="201344"/>
                      <a:pt x="86400" y="232117"/>
                    </a:cubicBezTo>
                    <a:cubicBezTo>
                      <a:pt x="103087" y="247943"/>
                      <a:pt x="112747" y="246185"/>
                      <a:pt x="136460" y="249701"/>
                    </a:cubicBezTo>
                    <a:cubicBezTo>
                      <a:pt x="143486" y="250581"/>
                      <a:pt x="146999" y="261131"/>
                      <a:pt x="166320" y="261131"/>
                    </a:cubicBezTo>
                    <a:cubicBezTo>
                      <a:pt x="185641" y="261131"/>
                      <a:pt x="178616" y="235634"/>
                      <a:pt x="179494" y="220687"/>
                    </a:cubicBezTo>
                    <a:lnTo>
                      <a:pt x="180372" y="220687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79FC0A1C-479D-3663-1D4B-B1A65106FE73}"/>
                  </a:ext>
                </a:extLst>
              </p:cNvPr>
              <p:cNvSpPr/>
              <p:nvPr/>
            </p:nvSpPr>
            <p:spPr>
              <a:xfrm>
                <a:off x="-11018818" y="3375937"/>
                <a:ext cx="366021" cy="167529"/>
              </a:xfrm>
              <a:custGeom>
                <a:avLst/>
                <a:gdLst>
                  <a:gd name="connsiteX0" fmla="*/ 3979 w 366021"/>
                  <a:gd name="connsiteY0" fmla="*/ 97012 h 167529"/>
                  <a:gd name="connsiteX1" fmla="*/ 206853 w 366021"/>
                  <a:gd name="connsiteY1" fmla="*/ 125148 h 167529"/>
                  <a:gd name="connsiteX2" fmla="*/ 364058 w 366021"/>
                  <a:gd name="connsiteY2" fmla="*/ 154162 h 167529"/>
                  <a:gd name="connsiteX3" fmla="*/ 311364 w 366021"/>
                  <a:gd name="connsiteY3" fmla="*/ 52171 h 167529"/>
                  <a:gd name="connsiteX4" fmla="*/ 154158 w 366021"/>
                  <a:gd name="connsiteY4" fmla="*/ 297 h 167529"/>
                  <a:gd name="connsiteX5" fmla="*/ 3101 w 366021"/>
                  <a:gd name="connsiteY5" fmla="*/ 96133 h 167529"/>
                  <a:gd name="connsiteX6" fmla="*/ 3101 w 366021"/>
                  <a:gd name="connsiteY6" fmla="*/ 96133 h 16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021" h="167529">
                    <a:moveTo>
                      <a:pt x="3979" y="97012"/>
                    </a:moveTo>
                    <a:cubicBezTo>
                      <a:pt x="21544" y="145370"/>
                      <a:pt x="206853" y="125148"/>
                      <a:pt x="206853" y="125148"/>
                    </a:cubicBezTo>
                    <a:cubicBezTo>
                      <a:pt x="206853" y="125148"/>
                      <a:pt x="357910" y="196365"/>
                      <a:pt x="364058" y="154162"/>
                    </a:cubicBezTo>
                    <a:cubicBezTo>
                      <a:pt x="371084" y="111959"/>
                      <a:pt x="360545" y="62722"/>
                      <a:pt x="311364" y="52171"/>
                    </a:cubicBezTo>
                    <a:cubicBezTo>
                      <a:pt x="262182" y="41621"/>
                      <a:pt x="211244" y="-4099"/>
                      <a:pt x="154158" y="297"/>
                    </a:cubicBezTo>
                    <a:cubicBezTo>
                      <a:pt x="43500" y="11727"/>
                      <a:pt x="-14464" y="47775"/>
                      <a:pt x="3101" y="96133"/>
                    </a:cubicBezTo>
                    <a:lnTo>
                      <a:pt x="3101" y="9613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 125">
                <a:extLst>
                  <a:ext uri="{FF2B5EF4-FFF2-40B4-BE49-F238E27FC236}">
                    <a16:creationId xmlns:a16="http://schemas.microsoft.com/office/drawing/2014/main" id="{D44360BF-FE6C-5E99-8609-806F51C4CEEA}"/>
                  </a:ext>
                </a:extLst>
              </p:cNvPr>
              <p:cNvSpPr/>
              <p:nvPr/>
            </p:nvSpPr>
            <p:spPr>
              <a:xfrm>
                <a:off x="-11008880" y="3582853"/>
                <a:ext cx="212722" cy="304647"/>
              </a:xfrm>
              <a:custGeom>
                <a:avLst/>
                <a:gdLst>
                  <a:gd name="connsiteX0" fmla="*/ 147733 w 212722"/>
                  <a:gd name="connsiteY0" fmla="*/ 229479 h 304647"/>
                  <a:gd name="connsiteX1" fmla="*/ 105577 w 212722"/>
                  <a:gd name="connsiteY1" fmla="*/ 181121 h 304647"/>
                  <a:gd name="connsiteX2" fmla="*/ 212723 w 212722"/>
                  <a:gd name="connsiteY2" fmla="*/ 0 h 304647"/>
                  <a:gd name="connsiteX3" fmla="*/ 89769 w 212722"/>
                  <a:gd name="connsiteY3" fmla="*/ 3517 h 304647"/>
                  <a:gd name="connsiteX4" fmla="*/ 31805 w 212722"/>
                  <a:gd name="connsiteY4" fmla="*/ 146831 h 304647"/>
                  <a:gd name="connsiteX5" fmla="*/ 1066 w 212722"/>
                  <a:gd name="connsiteY5" fmla="*/ 197827 h 304647"/>
                  <a:gd name="connsiteX6" fmla="*/ 48491 w 212722"/>
                  <a:gd name="connsiteY6" fmla="*/ 252339 h 304647"/>
                  <a:gd name="connsiteX7" fmla="*/ 90647 w 212722"/>
                  <a:gd name="connsiteY7" fmla="*/ 293663 h 304647"/>
                  <a:gd name="connsiteX8" fmla="*/ 113481 w 212722"/>
                  <a:gd name="connsiteY8" fmla="*/ 290146 h 304647"/>
                  <a:gd name="connsiteX9" fmla="*/ 134559 w 212722"/>
                  <a:gd name="connsiteY9" fmla="*/ 290146 h 304647"/>
                  <a:gd name="connsiteX10" fmla="*/ 156515 w 212722"/>
                  <a:gd name="connsiteY10" fmla="*/ 286629 h 304647"/>
                  <a:gd name="connsiteX11" fmla="*/ 169689 w 212722"/>
                  <a:gd name="connsiteY11" fmla="*/ 275199 h 304647"/>
                  <a:gd name="connsiteX12" fmla="*/ 146854 w 212722"/>
                  <a:gd name="connsiteY12" fmla="*/ 227721 h 304647"/>
                  <a:gd name="connsiteX13" fmla="*/ 146854 w 212722"/>
                  <a:gd name="connsiteY13" fmla="*/ 229479 h 30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2722" h="304647">
                    <a:moveTo>
                      <a:pt x="147733" y="229479"/>
                    </a:moveTo>
                    <a:cubicBezTo>
                      <a:pt x="124898" y="213653"/>
                      <a:pt x="105577" y="181121"/>
                      <a:pt x="105577" y="181121"/>
                    </a:cubicBezTo>
                    <a:cubicBezTo>
                      <a:pt x="120507" y="123971"/>
                      <a:pt x="212723" y="0"/>
                      <a:pt x="212723" y="0"/>
                    </a:cubicBezTo>
                    <a:lnTo>
                      <a:pt x="89769" y="3517"/>
                    </a:lnTo>
                    <a:lnTo>
                      <a:pt x="31805" y="146831"/>
                    </a:lnTo>
                    <a:cubicBezTo>
                      <a:pt x="31805" y="146831"/>
                      <a:pt x="-6838" y="172329"/>
                      <a:pt x="1066" y="197827"/>
                    </a:cubicBezTo>
                    <a:cubicBezTo>
                      <a:pt x="8970" y="223325"/>
                      <a:pt x="22144" y="215412"/>
                      <a:pt x="48491" y="252339"/>
                    </a:cubicBezTo>
                    <a:cubicBezTo>
                      <a:pt x="62543" y="273441"/>
                      <a:pt x="67813" y="288388"/>
                      <a:pt x="90647" y="293663"/>
                    </a:cubicBezTo>
                    <a:cubicBezTo>
                      <a:pt x="100307" y="311248"/>
                      <a:pt x="117872" y="305972"/>
                      <a:pt x="113481" y="290146"/>
                    </a:cubicBezTo>
                    <a:cubicBezTo>
                      <a:pt x="116994" y="303335"/>
                      <a:pt x="139828" y="305972"/>
                      <a:pt x="134559" y="290146"/>
                    </a:cubicBezTo>
                    <a:cubicBezTo>
                      <a:pt x="138072" y="302455"/>
                      <a:pt x="158271" y="294542"/>
                      <a:pt x="156515" y="286629"/>
                    </a:cubicBezTo>
                    <a:cubicBezTo>
                      <a:pt x="161784" y="294542"/>
                      <a:pt x="181106" y="286629"/>
                      <a:pt x="169689" y="275199"/>
                    </a:cubicBezTo>
                    <a:cubicBezTo>
                      <a:pt x="197792" y="262011"/>
                      <a:pt x="179349" y="248822"/>
                      <a:pt x="146854" y="227721"/>
                    </a:cubicBezTo>
                    <a:lnTo>
                      <a:pt x="146854" y="22947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17C3D3B6-C908-7FDF-151F-A52475C28790}"/>
                  </a:ext>
                </a:extLst>
              </p:cNvPr>
              <p:cNvSpPr/>
              <p:nvPr/>
            </p:nvSpPr>
            <p:spPr>
              <a:xfrm>
                <a:off x="-10950752" y="2820159"/>
                <a:ext cx="273395" cy="309206"/>
              </a:xfrm>
              <a:custGeom>
                <a:avLst/>
                <a:gdLst>
                  <a:gd name="connsiteX0" fmla="*/ 158986 w 273395"/>
                  <a:gd name="connsiteY0" fmla="*/ 250103 h 309206"/>
                  <a:gd name="connsiteX1" fmla="*/ 218707 w 273395"/>
                  <a:gd name="connsiteY1" fmla="*/ 260653 h 309206"/>
                  <a:gd name="connsiteX2" fmla="*/ 241541 w 273395"/>
                  <a:gd name="connsiteY2" fmla="*/ 232518 h 309206"/>
                  <a:gd name="connsiteX3" fmla="*/ 249445 w 273395"/>
                  <a:gd name="connsiteY3" fmla="*/ 211417 h 309206"/>
                  <a:gd name="connsiteX4" fmla="*/ 239784 w 273395"/>
                  <a:gd name="connsiteY4" fmla="*/ 207900 h 309206"/>
                  <a:gd name="connsiteX5" fmla="*/ 258228 w 273395"/>
                  <a:gd name="connsiteY5" fmla="*/ 211417 h 309206"/>
                  <a:gd name="connsiteX6" fmla="*/ 256471 w 273395"/>
                  <a:gd name="connsiteY6" fmla="*/ 185919 h 309206"/>
                  <a:gd name="connsiteX7" fmla="*/ 267888 w 273395"/>
                  <a:gd name="connsiteY7" fmla="*/ 181523 h 309206"/>
                  <a:gd name="connsiteX8" fmla="*/ 270523 w 273395"/>
                  <a:gd name="connsiteY8" fmla="*/ 162180 h 309206"/>
                  <a:gd name="connsiteX9" fmla="*/ 255593 w 273395"/>
                  <a:gd name="connsiteY9" fmla="*/ 135803 h 309206"/>
                  <a:gd name="connsiteX10" fmla="*/ 263497 w 273395"/>
                  <a:gd name="connsiteY10" fmla="*/ 112064 h 309206"/>
                  <a:gd name="connsiteX11" fmla="*/ 91361 w 273395"/>
                  <a:gd name="connsiteY11" fmla="*/ 401 h 309206"/>
                  <a:gd name="connsiteX12" fmla="*/ 24 w 273395"/>
                  <a:gd name="connsiteY12" fmla="*/ 131407 h 309206"/>
                  <a:gd name="connsiteX13" fmla="*/ 38667 w 273395"/>
                  <a:gd name="connsiteY13" fmla="*/ 233397 h 309206"/>
                  <a:gd name="connsiteX14" fmla="*/ 7928 w 273395"/>
                  <a:gd name="connsiteY14" fmla="*/ 300219 h 309206"/>
                  <a:gd name="connsiteX15" fmla="*/ 154595 w 273395"/>
                  <a:gd name="connsiteY15" fmla="*/ 300219 h 309206"/>
                  <a:gd name="connsiteX16" fmla="*/ 158108 w 273395"/>
                  <a:gd name="connsiteY16" fmla="*/ 250982 h 30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3395" h="309206">
                    <a:moveTo>
                      <a:pt x="158986" y="250103"/>
                    </a:moveTo>
                    <a:cubicBezTo>
                      <a:pt x="195872" y="258895"/>
                      <a:pt x="205533" y="260653"/>
                      <a:pt x="218707" y="260653"/>
                    </a:cubicBezTo>
                    <a:cubicBezTo>
                      <a:pt x="231880" y="260653"/>
                      <a:pt x="236271" y="243948"/>
                      <a:pt x="241541" y="232518"/>
                    </a:cubicBezTo>
                    <a:cubicBezTo>
                      <a:pt x="254715" y="231639"/>
                      <a:pt x="258228" y="214934"/>
                      <a:pt x="249445" y="211417"/>
                    </a:cubicBezTo>
                    <a:cubicBezTo>
                      <a:pt x="240663" y="207900"/>
                      <a:pt x="244176" y="210537"/>
                      <a:pt x="239784" y="207900"/>
                    </a:cubicBezTo>
                    <a:cubicBezTo>
                      <a:pt x="248567" y="211417"/>
                      <a:pt x="252958" y="214054"/>
                      <a:pt x="258228" y="211417"/>
                    </a:cubicBezTo>
                    <a:cubicBezTo>
                      <a:pt x="263497" y="202624"/>
                      <a:pt x="256471" y="191194"/>
                      <a:pt x="256471" y="185919"/>
                    </a:cubicBezTo>
                    <a:cubicBezTo>
                      <a:pt x="256471" y="185919"/>
                      <a:pt x="260862" y="184160"/>
                      <a:pt x="267888" y="181523"/>
                    </a:cubicBezTo>
                    <a:cubicBezTo>
                      <a:pt x="273158" y="178885"/>
                      <a:pt x="275792" y="170093"/>
                      <a:pt x="270523" y="162180"/>
                    </a:cubicBezTo>
                    <a:cubicBezTo>
                      <a:pt x="265254" y="154267"/>
                      <a:pt x="258228" y="147233"/>
                      <a:pt x="255593" y="135803"/>
                    </a:cubicBezTo>
                    <a:cubicBezTo>
                      <a:pt x="259984" y="126131"/>
                      <a:pt x="263497" y="112064"/>
                      <a:pt x="263497" y="112064"/>
                    </a:cubicBezTo>
                    <a:cubicBezTo>
                      <a:pt x="292479" y="-12787"/>
                      <a:pt x="91361" y="401"/>
                      <a:pt x="91361" y="401"/>
                    </a:cubicBezTo>
                    <a:cubicBezTo>
                      <a:pt x="21980" y="10952"/>
                      <a:pt x="-854" y="80411"/>
                      <a:pt x="24" y="131407"/>
                    </a:cubicBezTo>
                    <a:cubicBezTo>
                      <a:pt x="903" y="182402"/>
                      <a:pt x="38667" y="233397"/>
                      <a:pt x="38667" y="233397"/>
                    </a:cubicBezTo>
                    <a:cubicBezTo>
                      <a:pt x="38667" y="233397"/>
                      <a:pt x="14954" y="279997"/>
                      <a:pt x="7928" y="300219"/>
                    </a:cubicBezTo>
                    <a:cubicBezTo>
                      <a:pt x="903" y="320441"/>
                      <a:pt x="154595" y="300219"/>
                      <a:pt x="154595" y="300219"/>
                    </a:cubicBezTo>
                    <a:lnTo>
                      <a:pt x="158108" y="250982"/>
                    </a:lnTo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eform 127">
                <a:extLst>
                  <a:ext uri="{FF2B5EF4-FFF2-40B4-BE49-F238E27FC236}">
                    <a16:creationId xmlns:a16="http://schemas.microsoft.com/office/drawing/2014/main" id="{C3FC893E-75BA-EF1A-E3F1-A6156C3EEE38}"/>
                  </a:ext>
                </a:extLst>
              </p:cNvPr>
              <p:cNvSpPr/>
              <p:nvPr/>
            </p:nvSpPr>
            <p:spPr>
              <a:xfrm>
                <a:off x="-10796157" y="3405134"/>
                <a:ext cx="209436" cy="177361"/>
              </a:xfrm>
              <a:custGeom>
                <a:avLst/>
                <a:gdLst>
                  <a:gd name="connsiteX0" fmla="*/ 75529 w 209436"/>
                  <a:gd name="connsiteY0" fmla="*/ 33525 h 177361"/>
                  <a:gd name="connsiteX1" fmla="*/ 0 w 209436"/>
                  <a:gd name="connsiteY1" fmla="*/ 107380 h 177361"/>
                  <a:gd name="connsiteX2" fmla="*/ 11417 w 209436"/>
                  <a:gd name="connsiteY2" fmla="*/ 168047 h 177361"/>
                  <a:gd name="connsiteX3" fmla="*/ 155449 w 209436"/>
                  <a:gd name="connsiteY3" fmla="*/ 172444 h 177361"/>
                  <a:gd name="connsiteX4" fmla="*/ 196726 w 209436"/>
                  <a:gd name="connsiteY4" fmla="*/ 152221 h 177361"/>
                  <a:gd name="connsiteX5" fmla="*/ 196726 w 209436"/>
                  <a:gd name="connsiteY5" fmla="*/ 124965 h 177361"/>
                  <a:gd name="connsiteX6" fmla="*/ 167744 w 209436"/>
                  <a:gd name="connsiteY6" fmla="*/ 138154 h 177361"/>
                  <a:gd name="connsiteX7" fmla="*/ 196726 w 209436"/>
                  <a:gd name="connsiteY7" fmla="*/ 124965 h 177361"/>
                  <a:gd name="connsiteX8" fmla="*/ 202874 w 209436"/>
                  <a:gd name="connsiteY8" fmla="*/ 91554 h 177361"/>
                  <a:gd name="connsiteX9" fmla="*/ 165109 w 209436"/>
                  <a:gd name="connsiteY9" fmla="*/ 110018 h 177361"/>
                  <a:gd name="connsiteX10" fmla="*/ 202874 w 209436"/>
                  <a:gd name="connsiteY10" fmla="*/ 90675 h 177361"/>
                  <a:gd name="connsiteX11" fmla="*/ 194970 w 209436"/>
                  <a:gd name="connsiteY11" fmla="*/ 51110 h 177361"/>
                  <a:gd name="connsiteX12" fmla="*/ 160718 w 209436"/>
                  <a:gd name="connsiteY12" fmla="*/ 81883 h 177361"/>
                  <a:gd name="connsiteX13" fmla="*/ 187944 w 209436"/>
                  <a:gd name="connsiteY13" fmla="*/ 68694 h 177361"/>
                  <a:gd name="connsiteX14" fmla="*/ 185309 w 209436"/>
                  <a:gd name="connsiteY14" fmla="*/ 30887 h 177361"/>
                  <a:gd name="connsiteX15" fmla="*/ 136128 w 209436"/>
                  <a:gd name="connsiteY15" fmla="*/ 30008 h 177361"/>
                  <a:gd name="connsiteX16" fmla="*/ 159840 w 209436"/>
                  <a:gd name="connsiteY16" fmla="*/ 48472 h 177361"/>
                  <a:gd name="connsiteX17" fmla="*/ 140519 w 209436"/>
                  <a:gd name="connsiteY17" fmla="*/ 55506 h 177361"/>
                  <a:gd name="connsiteX18" fmla="*/ 108024 w 209436"/>
                  <a:gd name="connsiteY18" fmla="*/ 56385 h 177361"/>
                  <a:gd name="connsiteX19" fmla="*/ 144032 w 209436"/>
                  <a:gd name="connsiteY19" fmla="*/ 4510 h 177361"/>
                  <a:gd name="connsiteX20" fmla="*/ 75529 w 209436"/>
                  <a:gd name="connsiteY20" fmla="*/ 33525 h 17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09436" h="177361">
                    <a:moveTo>
                      <a:pt x="75529" y="33525"/>
                    </a:moveTo>
                    <a:cubicBezTo>
                      <a:pt x="64112" y="43197"/>
                      <a:pt x="0" y="107380"/>
                      <a:pt x="0" y="107380"/>
                    </a:cubicBezTo>
                    <a:cubicBezTo>
                      <a:pt x="0" y="107380"/>
                      <a:pt x="7904" y="151342"/>
                      <a:pt x="11417" y="168047"/>
                    </a:cubicBezTo>
                    <a:cubicBezTo>
                      <a:pt x="20199" y="174202"/>
                      <a:pt x="120319" y="182994"/>
                      <a:pt x="155449" y="172444"/>
                    </a:cubicBezTo>
                    <a:cubicBezTo>
                      <a:pt x="187066" y="162772"/>
                      <a:pt x="190578" y="159255"/>
                      <a:pt x="196726" y="152221"/>
                    </a:cubicBezTo>
                    <a:cubicBezTo>
                      <a:pt x="202874" y="145187"/>
                      <a:pt x="206387" y="118810"/>
                      <a:pt x="196726" y="124965"/>
                    </a:cubicBezTo>
                    <a:cubicBezTo>
                      <a:pt x="186187" y="136395"/>
                      <a:pt x="167744" y="138154"/>
                      <a:pt x="167744" y="138154"/>
                    </a:cubicBezTo>
                    <a:cubicBezTo>
                      <a:pt x="167744" y="138154"/>
                      <a:pt x="178283" y="138154"/>
                      <a:pt x="196726" y="124965"/>
                    </a:cubicBezTo>
                    <a:cubicBezTo>
                      <a:pt x="209900" y="114414"/>
                      <a:pt x="214291" y="98588"/>
                      <a:pt x="202874" y="91554"/>
                    </a:cubicBezTo>
                    <a:cubicBezTo>
                      <a:pt x="183553" y="110897"/>
                      <a:pt x="165109" y="110018"/>
                      <a:pt x="165109" y="110018"/>
                    </a:cubicBezTo>
                    <a:cubicBezTo>
                      <a:pt x="165109" y="110018"/>
                      <a:pt x="193213" y="104743"/>
                      <a:pt x="202874" y="90675"/>
                    </a:cubicBezTo>
                    <a:cubicBezTo>
                      <a:pt x="215169" y="73090"/>
                      <a:pt x="194970" y="44955"/>
                      <a:pt x="194970" y="51110"/>
                    </a:cubicBezTo>
                    <a:cubicBezTo>
                      <a:pt x="194970" y="65177"/>
                      <a:pt x="187066" y="72211"/>
                      <a:pt x="160718" y="81883"/>
                    </a:cubicBezTo>
                    <a:cubicBezTo>
                      <a:pt x="160718" y="81883"/>
                      <a:pt x="176527" y="81883"/>
                      <a:pt x="187944" y="68694"/>
                    </a:cubicBezTo>
                    <a:cubicBezTo>
                      <a:pt x="199361" y="55506"/>
                      <a:pt x="196726" y="40559"/>
                      <a:pt x="185309" y="30887"/>
                    </a:cubicBezTo>
                    <a:cubicBezTo>
                      <a:pt x="174770" y="21216"/>
                      <a:pt x="137884" y="23854"/>
                      <a:pt x="136128" y="30008"/>
                    </a:cubicBezTo>
                    <a:cubicBezTo>
                      <a:pt x="122076" y="69574"/>
                      <a:pt x="163353" y="45834"/>
                      <a:pt x="159840" y="48472"/>
                    </a:cubicBezTo>
                    <a:cubicBezTo>
                      <a:pt x="149301" y="54627"/>
                      <a:pt x="147545" y="53747"/>
                      <a:pt x="140519" y="55506"/>
                    </a:cubicBezTo>
                    <a:cubicBezTo>
                      <a:pt x="133493" y="57264"/>
                      <a:pt x="117684" y="57264"/>
                      <a:pt x="108024" y="56385"/>
                    </a:cubicBezTo>
                    <a:cubicBezTo>
                      <a:pt x="105389" y="53747"/>
                      <a:pt x="156327" y="22974"/>
                      <a:pt x="144032" y="4510"/>
                    </a:cubicBezTo>
                    <a:cubicBezTo>
                      <a:pt x="131736" y="-13953"/>
                      <a:pt x="79920" y="30008"/>
                      <a:pt x="75529" y="33525"/>
                    </a:cubicBez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eform 128">
                <a:extLst>
                  <a:ext uri="{FF2B5EF4-FFF2-40B4-BE49-F238E27FC236}">
                    <a16:creationId xmlns:a16="http://schemas.microsoft.com/office/drawing/2014/main" id="{01245F6C-C982-0D0A-6D1A-8B9AAC25FF6F}"/>
                  </a:ext>
                </a:extLst>
              </p:cNvPr>
              <p:cNvSpPr/>
              <p:nvPr/>
            </p:nvSpPr>
            <p:spPr>
              <a:xfrm>
                <a:off x="-10852365" y="3844864"/>
                <a:ext cx="13173" cy="14947"/>
              </a:xfrm>
              <a:custGeom>
                <a:avLst/>
                <a:gdLst>
                  <a:gd name="connsiteX0" fmla="*/ 0 w 13173"/>
                  <a:gd name="connsiteY0" fmla="*/ 0 h 14947"/>
                  <a:gd name="connsiteX1" fmla="*/ 13174 w 13173"/>
                  <a:gd name="connsiteY1" fmla="*/ 14947 h 14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73" h="14947">
                    <a:moveTo>
                      <a:pt x="0" y="0"/>
                    </a:moveTo>
                    <a:cubicBezTo>
                      <a:pt x="0" y="0"/>
                      <a:pt x="9660" y="7034"/>
                      <a:pt x="13174" y="14947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6C453514-BCFC-F300-9581-2E40F574809E}"/>
                  </a:ext>
                </a:extLst>
              </p:cNvPr>
              <p:cNvSpPr/>
              <p:nvPr/>
            </p:nvSpPr>
            <p:spPr>
              <a:xfrm>
                <a:off x="-10864660" y="3857173"/>
                <a:ext cx="12295" cy="13188"/>
              </a:xfrm>
              <a:custGeom>
                <a:avLst/>
                <a:gdLst>
                  <a:gd name="connsiteX0" fmla="*/ 0 w 12295"/>
                  <a:gd name="connsiteY0" fmla="*/ 0 h 13188"/>
                  <a:gd name="connsiteX1" fmla="*/ 12296 w 12295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5" h="13188">
                    <a:moveTo>
                      <a:pt x="0" y="0"/>
                    </a:moveTo>
                    <a:cubicBezTo>
                      <a:pt x="0" y="0"/>
                      <a:pt x="7904" y="5275"/>
                      <a:pt x="12296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eform 130">
                <a:extLst>
                  <a:ext uri="{FF2B5EF4-FFF2-40B4-BE49-F238E27FC236}">
                    <a16:creationId xmlns:a16="http://schemas.microsoft.com/office/drawing/2014/main" id="{72D4622D-C50A-9CBD-1166-5A1079FCA32F}"/>
                  </a:ext>
                </a:extLst>
              </p:cNvPr>
              <p:cNvSpPr/>
              <p:nvPr/>
            </p:nvSpPr>
            <p:spPr>
              <a:xfrm>
                <a:off x="-10881347" y="3861569"/>
                <a:ext cx="7904" cy="13188"/>
              </a:xfrm>
              <a:custGeom>
                <a:avLst/>
                <a:gdLst>
                  <a:gd name="connsiteX0" fmla="*/ 0 w 7904"/>
                  <a:gd name="connsiteY0" fmla="*/ 0 h 13188"/>
                  <a:gd name="connsiteX1" fmla="*/ 7904 w 7904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4" h="13188">
                    <a:moveTo>
                      <a:pt x="0" y="0"/>
                    </a:moveTo>
                    <a:cubicBezTo>
                      <a:pt x="0" y="0"/>
                      <a:pt x="4391" y="3517"/>
                      <a:pt x="7904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:a16="http://schemas.microsoft.com/office/drawing/2014/main" id="{1A3090AC-EB26-4B44-A4E1-9E442CA77325}"/>
                  </a:ext>
                </a:extLst>
              </p:cNvPr>
              <p:cNvSpPr/>
              <p:nvPr/>
            </p:nvSpPr>
            <p:spPr>
              <a:xfrm>
                <a:off x="-10903303" y="3862448"/>
                <a:ext cx="8782" cy="12309"/>
              </a:xfrm>
              <a:custGeom>
                <a:avLst/>
                <a:gdLst>
                  <a:gd name="connsiteX0" fmla="*/ 0 w 8782"/>
                  <a:gd name="connsiteY0" fmla="*/ 0 h 12309"/>
                  <a:gd name="connsiteX1" fmla="*/ 8782 w 8782"/>
                  <a:gd name="connsiteY1" fmla="*/ 12309 h 1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2" h="12309">
                    <a:moveTo>
                      <a:pt x="0" y="0"/>
                    </a:moveTo>
                    <a:cubicBezTo>
                      <a:pt x="0" y="0"/>
                      <a:pt x="5270" y="2638"/>
                      <a:pt x="8782" y="12309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35BAC79B-FEE6-CCE9-D24C-AFA1AA1953E9}"/>
                  </a:ext>
                </a:extLst>
              </p:cNvPr>
              <p:cNvSpPr/>
              <p:nvPr/>
            </p:nvSpPr>
            <p:spPr>
              <a:xfrm>
                <a:off x="-10717115" y="3779801"/>
                <a:ext cx="25468" cy="20222"/>
              </a:xfrm>
              <a:custGeom>
                <a:avLst/>
                <a:gdLst>
                  <a:gd name="connsiteX0" fmla="*/ 0 w 25468"/>
                  <a:gd name="connsiteY0" fmla="*/ 0 h 20222"/>
                  <a:gd name="connsiteX1" fmla="*/ 25469 w 25468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68" h="20222">
                    <a:moveTo>
                      <a:pt x="0" y="0"/>
                    </a:moveTo>
                    <a:cubicBezTo>
                      <a:pt x="0" y="0"/>
                      <a:pt x="25469" y="4396"/>
                      <a:pt x="25469" y="20222"/>
                    </a:cubicBezTo>
                  </a:path>
                </a:pathLst>
              </a:custGeom>
              <a:solidFill>
                <a:srgbClr val="FA69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" name="Freeform 133">
                <a:extLst>
                  <a:ext uri="{FF2B5EF4-FFF2-40B4-BE49-F238E27FC236}">
                    <a16:creationId xmlns:a16="http://schemas.microsoft.com/office/drawing/2014/main" id="{803B138B-9C3D-375E-D3A9-5472168D7E4F}"/>
                  </a:ext>
                </a:extLst>
              </p:cNvPr>
              <p:cNvSpPr/>
              <p:nvPr/>
            </p:nvSpPr>
            <p:spPr>
              <a:xfrm>
                <a:off x="-10712724" y="3765733"/>
                <a:ext cx="20199" cy="17584"/>
              </a:xfrm>
              <a:custGeom>
                <a:avLst/>
                <a:gdLst>
                  <a:gd name="connsiteX0" fmla="*/ 0 w 20199"/>
                  <a:gd name="connsiteY0" fmla="*/ 0 h 17584"/>
                  <a:gd name="connsiteX1" fmla="*/ 20199 w 20199"/>
                  <a:gd name="connsiteY1" fmla="*/ 17585 h 17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99" h="17584">
                    <a:moveTo>
                      <a:pt x="0" y="0"/>
                    </a:moveTo>
                    <a:cubicBezTo>
                      <a:pt x="0" y="0"/>
                      <a:pt x="19321" y="0"/>
                      <a:pt x="20199" y="17585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62690FAE-D067-D789-0FE8-EFE1F0A53CFA}"/>
                  </a:ext>
                </a:extLst>
              </p:cNvPr>
              <p:cNvSpPr/>
              <p:nvPr/>
            </p:nvSpPr>
            <p:spPr>
              <a:xfrm>
                <a:off x="-10709211" y="3752545"/>
                <a:ext cx="18815" cy="20222"/>
              </a:xfrm>
              <a:custGeom>
                <a:avLst/>
                <a:gdLst>
                  <a:gd name="connsiteX0" fmla="*/ 0 w 18815"/>
                  <a:gd name="connsiteY0" fmla="*/ 0 h 20222"/>
                  <a:gd name="connsiteX1" fmla="*/ 16687 w 18815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15" h="20222">
                    <a:moveTo>
                      <a:pt x="0" y="0"/>
                    </a:moveTo>
                    <a:cubicBezTo>
                      <a:pt x="0" y="0"/>
                      <a:pt x="26347" y="2638"/>
                      <a:pt x="16687" y="20222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ACB32DF2-FEC8-8982-121E-B7D7078473A8}"/>
                  </a:ext>
                </a:extLst>
              </p:cNvPr>
              <p:cNvSpPr/>
              <p:nvPr/>
            </p:nvSpPr>
            <p:spPr>
              <a:xfrm>
                <a:off x="-10873076" y="3190858"/>
                <a:ext cx="325400" cy="137155"/>
              </a:xfrm>
              <a:custGeom>
                <a:avLst/>
                <a:gdLst>
                  <a:gd name="connsiteX0" fmla="*/ 23346 w 325400"/>
                  <a:gd name="connsiteY0" fmla="*/ 55249 h 137155"/>
                  <a:gd name="connsiteX1" fmla="*/ 10173 w 325400"/>
                  <a:gd name="connsiteY1" fmla="*/ 137018 h 137155"/>
                  <a:gd name="connsiteX2" fmla="*/ 184065 w 325400"/>
                  <a:gd name="connsiteY2" fmla="*/ 103607 h 137155"/>
                  <a:gd name="connsiteX3" fmla="*/ 262228 w 325400"/>
                  <a:gd name="connsiteY3" fmla="*/ 107124 h 137155"/>
                  <a:gd name="connsiteX4" fmla="*/ 306141 w 325400"/>
                  <a:gd name="connsiteY4" fmla="*/ 90419 h 137155"/>
                  <a:gd name="connsiteX5" fmla="*/ 306141 w 325400"/>
                  <a:gd name="connsiteY5" fmla="*/ 70196 h 137155"/>
                  <a:gd name="connsiteX6" fmla="*/ 275402 w 325400"/>
                  <a:gd name="connsiteY6" fmla="*/ 85143 h 137155"/>
                  <a:gd name="connsiteX7" fmla="*/ 312288 w 325400"/>
                  <a:gd name="connsiteY7" fmla="*/ 65800 h 137155"/>
                  <a:gd name="connsiteX8" fmla="*/ 306141 w 325400"/>
                  <a:gd name="connsiteY8" fmla="*/ 47336 h 137155"/>
                  <a:gd name="connsiteX9" fmla="*/ 271011 w 325400"/>
                  <a:gd name="connsiteY9" fmla="*/ 64921 h 137155"/>
                  <a:gd name="connsiteX10" fmla="*/ 313166 w 325400"/>
                  <a:gd name="connsiteY10" fmla="*/ 41182 h 137155"/>
                  <a:gd name="connsiteX11" fmla="*/ 306141 w 325400"/>
                  <a:gd name="connsiteY11" fmla="*/ 23597 h 137155"/>
                  <a:gd name="connsiteX12" fmla="*/ 269254 w 325400"/>
                  <a:gd name="connsiteY12" fmla="*/ 46457 h 137155"/>
                  <a:gd name="connsiteX13" fmla="*/ 295601 w 325400"/>
                  <a:gd name="connsiteY13" fmla="*/ 31510 h 137155"/>
                  <a:gd name="connsiteX14" fmla="*/ 293845 w 325400"/>
                  <a:gd name="connsiteY14" fmla="*/ 10409 h 137155"/>
                  <a:gd name="connsiteX15" fmla="*/ 265741 w 325400"/>
                  <a:gd name="connsiteY15" fmla="*/ 29752 h 137155"/>
                  <a:gd name="connsiteX16" fmla="*/ 243785 w 325400"/>
                  <a:gd name="connsiteY16" fmla="*/ 35027 h 137155"/>
                  <a:gd name="connsiteX17" fmla="*/ 260472 w 325400"/>
                  <a:gd name="connsiteY17" fmla="*/ 2496 h 137155"/>
                  <a:gd name="connsiteX18" fmla="*/ 219194 w 325400"/>
                  <a:gd name="connsiteY18" fmla="*/ 30631 h 137155"/>
                  <a:gd name="connsiteX19" fmla="*/ 180552 w 325400"/>
                  <a:gd name="connsiteY19" fmla="*/ 60525 h 137155"/>
                  <a:gd name="connsiteX20" fmla="*/ 22468 w 325400"/>
                  <a:gd name="connsiteY20" fmla="*/ 57008 h 137155"/>
                  <a:gd name="connsiteX21" fmla="*/ 22468 w 325400"/>
                  <a:gd name="connsiteY21" fmla="*/ 55249 h 13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5400" h="137155">
                    <a:moveTo>
                      <a:pt x="23346" y="55249"/>
                    </a:moveTo>
                    <a:cubicBezTo>
                      <a:pt x="23346" y="59646"/>
                      <a:pt x="-18809" y="134380"/>
                      <a:pt x="10173" y="137018"/>
                    </a:cubicBezTo>
                    <a:cubicBezTo>
                      <a:pt x="39155" y="139656"/>
                      <a:pt x="184065" y="103607"/>
                      <a:pt x="184065" y="103607"/>
                    </a:cubicBezTo>
                    <a:cubicBezTo>
                      <a:pt x="188456" y="108003"/>
                      <a:pt x="235881" y="111520"/>
                      <a:pt x="262228" y="107124"/>
                    </a:cubicBezTo>
                    <a:cubicBezTo>
                      <a:pt x="288576" y="102728"/>
                      <a:pt x="294723" y="95694"/>
                      <a:pt x="306141" y="90419"/>
                    </a:cubicBezTo>
                    <a:cubicBezTo>
                      <a:pt x="323705" y="81626"/>
                      <a:pt x="317558" y="63162"/>
                      <a:pt x="306141" y="70196"/>
                    </a:cubicBezTo>
                    <a:cubicBezTo>
                      <a:pt x="294723" y="77230"/>
                      <a:pt x="275402" y="85143"/>
                      <a:pt x="275402" y="85143"/>
                    </a:cubicBezTo>
                    <a:cubicBezTo>
                      <a:pt x="275402" y="85143"/>
                      <a:pt x="302627" y="75472"/>
                      <a:pt x="312288" y="65800"/>
                    </a:cubicBezTo>
                    <a:cubicBezTo>
                      <a:pt x="326340" y="53491"/>
                      <a:pt x="324583" y="33269"/>
                      <a:pt x="306141" y="47336"/>
                    </a:cubicBezTo>
                    <a:cubicBezTo>
                      <a:pt x="289454" y="57887"/>
                      <a:pt x="271011" y="64921"/>
                      <a:pt x="271011" y="64921"/>
                    </a:cubicBezTo>
                    <a:cubicBezTo>
                      <a:pt x="271011" y="64921"/>
                      <a:pt x="299114" y="53491"/>
                      <a:pt x="313166" y="41182"/>
                    </a:cubicBezTo>
                    <a:cubicBezTo>
                      <a:pt x="339514" y="18322"/>
                      <a:pt x="316679" y="13046"/>
                      <a:pt x="306141" y="23597"/>
                    </a:cubicBezTo>
                    <a:cubicBezTo>
                      <a:pt x="295601" y="34148"/>
                      <a:pt x="283306" y="40303"/>
                      <a:pt x="269254" y="46457"/>
                    </a:cubicBezTo>
                    <a:cubicBezTo>
                      <a:pt x="269254" y="46457"/>
                      <a:pt x="282428" y="41182"/>
                      <a:pt x="295601" y="31510"/>
                    </a:cubicBezTo>
                    <a:cubicBezTo>
                      <a:pt x="308775" y="21839"/>
                      <a:pt x="303506" y="3375"/>
                      <a:pt x="293845" y="10409"/>
                    </a:cubicBezTo>
                    <a:cubicBezTo>
                      <a:pt x="284184" y="17443"/>
                      <a:pt x="273645" y="27114"/>
                      <a:pt x="265741" y="29752"/>
                    </a:cubicBezTo>
                    <a:cubicBezTo>
                      <a:pt x="257837" y="32389"/>
                      <a:pt x="249055" y="35906"/>
                      <a:pt x="243785" y="35027"/>
                    </a:cubicBezTo>
                    <a:cubicBezTo>
                      <a:pt x="242029" y="33269"/>
                      <a:pt x="268376" y="13046"/>
                      <a:pt x="260472" y="2496"/>
                    </a:cubicBezTo>
                    <a:cubicBezTo>
                      <a:pt x="252568" y="-8055"/>
                      <a:pt x="228855" y="17443"/>
                      <a:pt x="219194" y="30631"/>
                    </a:cubicBezTo>
                    <a:cubicBezTo>
                      <a:pt x="209534" y="43819"/>
                      <a:pt x="180552" y="60525"/>
                      <a:pt x="180552" y="60525"/>
                    </a:cubicBezTo>
                    <a:cubicBezTo>
                      <a:pt x="180552" y="60525"/>
                      <a:pt x="21590" y="53491"/>
                      <a:pt x="22468" y="57008"/>
                    </a:cubicBezTo>
                    <a:lnTo>
                      <a:pt x="22468" y="5524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" name="Freeform 136">
                <a:extLst>
                  <a:ext uri="{FF2B5EF4-FFF2-40B4-BE49-F238E27FC236}">
                    <a16:creationId xmlns:a16="http://schemas.microsoft.com/office/drawing/2014/main" id="{84E7F111-7857-6947-7374-38643C13BCE1}"/>
                  </a:ext>
                </a:extLst>
              </p:cNvPr>
              <p:cNvSpPr/>
              <p:nvPr/>
            </p:nvSpPr>
            <p:spPr>
              <a:xfrm>
                <a:off x="-11123877" y="3076153"/>
                <a:ext cx="353347" cy="527140"/>
              </a:xfrm>
              <a:custGeom>
                <a:avLst/>
                <a:gdLst>
                  <a:gd name="connsiteX0" fmla="*/ 347041 w 353347"/>
                  <a:gd name="connsiteY0" fmla="*/ 59171 h 527140"/>
                  <a:gd name="connsiteX1" fmla="*/ 124846 w 353347"/>
                  <a:gd name="connsiteY1" fmla="*/ 41587 h 527140"/>
                  <a:gd name="connsiteX2" fmla="*/ 1013 w 353347"/>
                  <a:gd name="connsiteY2" fmla="*/ 360748 h 527140"/>
                  <a:gd name="connsiteX3" fmla="*/ 195983 w 353347"/>
                  <a:gd name="connsiteY3" fmla="*/ 474168 h 527140"/>
                  <a:gd name="connsiteX4" fmla="*/ 318937 w 353347"/>
                  <a:gd name="connsiteY4" fmla="*/ 518130 h 527140"/>
                  <a:gd name="connsiteX5" fmla="*/ 306642 w 353347"/>
                  <a:gd name="connsiteY5" fmla="*/ 409985 h 527140"/>
                  <a:gd name="connsiteX6" fmla="*/ 243408 w 353347"/>
                  <a:gd name="connsiteY6" fmla="*/ 346680 h 527140"/>
                  <a:gd name="connsiteX7" fmla="*/ 346163 w 353347"/>
                  <a:gd name="connsiteY7" fmla="*/ 59171 h 527140"/>
                  <a:gd name="connsiteX8" fmla="*/ 347041 w 353347"/>
                  <a:gd name="connsiteY8" fmla="*/ 59171 h 527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347" h="527140">
                    <a:moveTo>
                      <a:pt x="347041" y="59171"/>
                    </a:moveTo>
                    <a:cubicBezTo>
                      <a:pt x="306642" y="-15563"/>
                      <a:pt x="172271" y="-17322"/>
                      <a:pt x="124846" y="41587"/>
                    </a:cubicBezTo>
                    <a:cubicBezTo>
                      <a:pt x="77421" y="100495"/>
                      <a:pt x="-10404" y="242052"/>
                      <a:pt x="1013" y="360748"/>
                    </a:cubicBezTo>
                    <a:cubicBezTo>
                      <a:pt x="12431" y="479444"/>
                      <a:pt x="195983" y="474168"/>
                      <a:pt x="195983" y="474168"/>
                    </a:cubicBezTo>
                    <a:cubicBezTo>
                      <a:pt x="195983" y="474168"/>
                      <a:pt x="294346" y="553299"/>
                      <a:pt x="318937" y="518130"/>
                    </a:cubicBezTo>
                    <a:cubicBezTo>
                      <a:pt x="341772" y="486478"/>
                      <a:pt x="336502" y="450429"/>
                      <a:pt x="306642" y="409985"/>
                    </a:cubicBezTo>
                    <a:cubicBezTo>
                      <a:pt x="282929" y="377453"/>
                      <a:pt x="243408" y="346680"/>
                      <a:pt x="243408" y="346680"/>
                    </a:cubicBezTo>
                    <a:cubicBezTo>
                      <a:pt x="243408" y="346680"/>
                      <a:pt x="386562" y="133906"/>
                      <a:pt x="346163" y="59171"/>
                    </a:cubicBezTo>
                    <a:lnTo>
                      <a:pt x="347041" y="59171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688F2771-F2C3-12AF-0219-9A6C62D2A8D2}"/>
                  </a:ext>
                </a:extLst>
              </p:cNvPr>
              <p:cNvSpPr/>
              <p:nvPr/>
            </p:nvSpPr>
            <p:spPr>
              <a:xfrm>
                <a:off x="-11149211" y="3460640"/>
                <a:ext cx="378522" cy="220686"/>
              </a:xfrm>
              <a:custGeom>
                <a:avLst/>
                <a:gdLst>
                  <a:gd name="connsiteX0" fmla="*/ 0 w 378522"/>
                  <a:gd name="connsiteY0" fmla="*/ 0 h 220686"/>
                  <a:gd name="connsiteX1" fmla="*/ 361836 w 378522"/>
                  <a:gd name="connsiteY1" fmla="*/ 34290 h 220686"/>
                  <a:gd name="connsiteX2" fmla="*/ 378523 w 378522"/>
                  <a:gd name="connsiteY2" fmla="*/ 119575 h 220686"/>
                  <a:gd name="connsiteX3" fmla="*/ 82555 w 378522"/>
                  <a:gd name="connsiteY3" fmla="*/ 220687 h 220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22" h="220686">
                    <a:moveTo>
                      <a:pt x="0" y="0"/>
                    </a:moveTo>
                    <a:lnTo>
                      <a:pt x="361836" y="34290"/>
                    </a:lnTo>
                    <a:lnTo>
                      <a:pt x="378523" y="119575"/>
                    </a:lnTo>
                    <a:cubicBezTo>
                      <a:pt x="378523" y="119575"/>
                      <a:pt x="201996" y="198706"/>
                      <a:pt x="82555" y="22068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" name="Freeform 138">
                <a:extLst>
                  <a:ext uri="{FF2B5EF4-FFF2-40B4-BE49-F238E27FC236}">
                    <a16:creationId xmlns:a16="http://schemas.microsoft.com/office/drawing/2014/main" id="{2D363513-9E21-2D70-215F-B20B9636A3E0}"/>
                  </a:ext>
                </a:extLst>
              </p:cNvPr>
              <p:cNvSpPr/>
              <p:nvPr/>
            </p:nvSpPr>
            <p:spPr>
              <a:xfrm>
                <a:off x="-13480067" y="1704817"/>
                <a:ext cx="8782" cy="8792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8792"/>
                </a:pathLst>
              </a:custGeom>
              <a:solidFill>
                <a:srgbClr val="DD9C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" name="Freeform 139">
                <a:extLst>
                  <a:ext uri="{FF2B5EF4-FFF2-40B4-BE49-F238E27FC236}">
                    <a16:creationId xmlns:a16="http://schemas.microsoft.com/office/drawing/2014/main" id="{E14A4720-6939-18C4-E33B-2A11883A8E99}"/>
                  </a:ext>
                </a:extLst>
              </p:cNvPr>
              <p:cNvSpPr/>
              <p:nvPr/>
            </p:nvSpPr>
            <p:spPr>
              <a:xfrm>
                <a:off x="-10950752" y="2817590"/>
                <a:ext cx="263053" cy="235087"/>
              </a:xfrm>
              <a:custGeom>
                <a:avLst/>
                <a:gdLst>
                  <a:gd name="connsiteX0" fmla="*/ 39545 w 263053"/>
                  <a:gd name="connsiteY0" fmla="*/ 235087 h 235087"/>
                  <a:gd name="connsiteX1" fmla="*/ 24 w 263053"/>
                  <a:gd name="connsiteY1" fmla="*/ 133096 h 235087"/>
                  <a:gd name="connsiteX2" fmla="*/ 91361 w 263053"/>
                  <a:gd name="connsiteY2" fmla="*/ 2091 h 235087"/>
                  <a:gd name="connsiteX3" fmla="*/ 259984 w 263053"/>
                  <a:gd name="connsiteY3" fmla="*/ 51328 h 235087"/>
                  <a:gd name="connsiteX4" fmla="*/ 189725 w 263053"/>
                  <a:gd name="connsiteY4" fmla="*/ 82980 h 235087"/>
                  <a:gd name="connsiteX5" fmla="*/ 173916 w 263053"/>
                  <a:gd name="connsiteY5" fmla="*/ 125183 h 235087"/>
                  <a:gd name="connsiteX6" fmla="*/ 144056 w 263053"/>
                  <a:gd name="connsiteY6" fmla="*/ 148043 h 235087"/>
                  <a:gd name="connsiteX7" fmla="*/ 122978 w 263053"/>
                  <a:gd name="connsiteY7" fmla="*/ 107599 h 235087"/>
                  <a:gd name="connsiteX8" fmla="*/ 124735 w 263053"/>
                  <a:gd name="connsiteY8" fmla="*/ 172662 h 235087"/>
                  <a:gd name="connsiteX9" fmla="*/ 82579 w 263053"/>
                  <a:gd name="connsiteY9" fmla="*/ 228053 h 235087"/>
                  <a:gd name="connsiteX10" fmla="*/ 37789 w 263053"/>
                  <a:gd name="connsiteY10" fmla="*/ 232449 h 235087"/>
                  <a:gd name="connsiteX11" fmla="*/ 39545 w 263053"/>
                  <a:gd name="connsiteY11" fmla="*/ 235087 h 23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3053" h="235087">
                    <a:moveTo>
                      <a:pt x="39545" y="235087"/>
                    </a:moveTo>
                    <a:cubicBezTo>
                      <a:pt x="39545" y="235087"/>
                      <a:pt x="1781" y="184092"/>
                      <a:pt x="24" y="133096"/>
                    </a:cubicBezTo>
                    <a:cubicBezTo>
                      <a:pt x="-854" y="82101"/>
                      <a:pt x="21980" y="13521"/>
                      <a:pt x="91361" y="2091"/>
                    </a:cubicBezTo>
                    <a:cubicBezTo>
                      <a:pt x="91361" y="2091"/>
                      <a:pt x="226611" y="-15494"/>
                      <a:pt x="259984" y="51328"/>
                    </a:cubicBezTo>
                    <a:cubicBezTo>
                      <a:pt x="276671" y="86497"/>
                      <a:pt x="221341" y="61879"/>
                      <a:pt x="189725" y="82980"/>
                    </a:cubicBezTo>
                    <a:cubicBezTo>
                      <a:pt x="172160" y="95289"/>
                      <a:pt x="173916" y="117270"/>
                      <a:pt x="173916" y="125183"/>
                    </a:cubicBezTo>
                    <a:cubicBezTo>
                      <a:pt x="173916" y="146285"/>
                      <a:pt x="158108" y="159473"/>
                      <a:pt x="144056" y="148043"/>
                    </a:cubicBezTo>
                    <a:cubicBezTo>
                      <a:pt x="137030" y="141889"/>
                      <a:pt x="155473" y="119908"/>
                      <a:pt x="122978" y="107599"/>
                    </a:cubicBezTo>
                    <a:cubicBezTo>
                      <a:pt x="81701" y="100565"/>
                      <a:pt x="90483" y="162990"/>
                      <a:pt x="124735" y="172662"/>
                    </a:cubicBezTo>
                    <a:cubicBezTo>
                      <a:pt x="104535" y="183212"/>
                      <a:pt x="105413" y="227174"/>
                      <a:pt x="82579" y="228053"/>
                    </a:cubicBezTo>
                    <a:lnTo>
                      <a:pt x="37789" y="232449"/>
                    </a:lnTo>
                    <a:lnTo>
                      <a:pt x="39545" y="235087"/>
                    </a:lnTo>
                    <a:close/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C3A479DB-58DC-683E-75E8-A0271C847DC0}"/>
                  </a:ext>
                </a:extLst>
              </p:cNvPr>
              <p:cNvSpPr/>
              <p:nvPr/>
            </p:nvSpPr>
            <p:spPr>
              <a:xfrm>
                <a:off x="-11051904" y="2954985"/>
                <a:ext cx="132793" cy="93781"/>
              </a:xfrm>
              <a:custGeom>
                <a:avLst/>
                <a:gdLst>
                  <a:gd name="connsiteX0" fmla="*/ 122254 w 132793"/>
                  <a:gd name="connsiteY0" fmla="*/ 10648 h 93781"/>
                  <a:gd name="connsiteX1" fmla="*/ 39699 w 132793"/>
                  <a:gd name="connsiteY1" fmla="*/ 22957 h 93781"/>
                  <a:gd name="connsiteX2" fmla="*/ 13352 w 132793"/>
                  <a:gd name="connsiteY2" fmla="*/ 73074 h 93781"/>
                  <a:gd name="connsiteX3" fmla="*/ 44091 w 132793"/>
                  <a:gd name="connsiteY3" fmla="*/ 91537 h 93781"/>
                  <a:gd name="connsiteX4" fmla="*/ 132793 w 132793"/>
                  <a:gd name="connsiteY4" fmla="*/ 37904 h 9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793" h="93781">
                    <a:moveTo>
                      <a:pt x="122254" y="10648"/>
                    </a:moveTo>
                    <a:cubicBezTo>
                      <a:pt x="122254" y="10648"/>
                      <a:pt x="49360" y="-20125"/>
                      <a:pt x="39699" y="22957"/>
                    </a:cubicBezTo>
                    <a:cubicBezTo>
                      <a:pt x="30039" y="66040"/>
                      <a:pt x="29160" y="65161"/>
                      <a:pt x="13352" y="73074"/>
                    </a:cubicBezTo>
                    <a:cubicBezTo>
                      <a:pt x="-2456" y="80987"/>
                      <a:pt x="-15630" y="100330"/>
                      <a:pt x="44091" y="91537"/>
                    </a:cubicBezTo>
                    <a:cubicBezTo>
                      <a:pt x="103811" y="82745"/>
                      <a:pt x="132793" y="37904"/>
                      <a:pt x="132793" y="37904"/>
                    </a:cubicBezTo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D8A489F8-EE98-8959-9A82-592A721956D7}"/>
                  </a:ext>
                </a:extLst>
              </p:cNvPr>
              <p:cNvSpPr/>
              <p:nvPr/>
            </p:nvSpPr>
            <p:spPr>
              <a:xfrm>
                <a:off x="-11003024" y="3268022"/>
                <a:ext cx="361090" cy="247097"/>
              </a:xfrm>
              <a:custGeom>
                <a:avLst/>
                <a:gdLst>
                  <a:gd name="connsiteX0" fmla="*/ 256048 w 361090"/>
                  <a:gd name="connsiteY0" fmla="*/ 231304 h 247097"/>
                  <a:gd name="connsiteX1" fmla="*/ 296447 w 361090"/>
                  <a:gd name="connsiteY1" fmla="*/ 246251 h 247097"/>
                  <a:gd name="connsiteX2" fmla="*/ 321916 w 361090"/>
                  <a:gd name="connsiteY2" fmla="*/ 230425 h 247097"/>
                  <a:gd name="connsiteX3" fmla="*/ 287665 w 361090"/>
                  <a:gd name="connsiteY3" fmla="*/ 224270 h 247097"/>
                  <a:gd name="connsiteX4" fmla="*/ 312256 w 361090"/>
                  <a:gd name="connsiteY4" fmla="*/ 231304 h 247097"/>
                  <a:gd name="connsiteX5" fmla="*/ 335090 w 361090"/>
                  <a:gd name="connsiteY5" fmla="*/ 208444 h 247097"/>
                  <a:gd name="connsiteX6" fmla="*/ 295569 w 361090"/>
                  <a:gd name="connsiteY6" fmla="*/ 205807 h 247097"/>
                  <a:gd name="connsiteX7" fmla="*/ 343873 w 361090"/>
                  <a:gd name="connsiteY7" fmla="*/ 205807 h 247097"/>
                  <a:gd name="connsiteX8" fmla="*/ 346507 w 361090"/>
                  <a:gd name="connsiteY8" fmla="*/ 188222 h 247097"/>
                  <a:gd name="connsiteX9" fmla="*/ 309621 w 361090"/>
                  <a:gd name="connsiteY9" fmla="*/ 188222 h 247097"/>
                  <a:gd name="connsiteX10" fmla="*/ 337725 w 361090"/>
                  <a:gd name="connsiteY10" fmla="*/ 190860 h 247097"/>
                  <a:gd name="connsiteX11" fmla="*/ 357046 w 361090"/>
                  <a:gd name="connsiteY11" fmla="*/ 169758 h 247097"/>
                  <a:gd name="connsiteX12" fmla="*/ 314890 w 361090"/>
                  <a:gd name="connsiteY12" fmla="*/ 166241 h 247097"/>
                  <a:gd name="connsiteX13" fmla="*/ 298204 w 361090"/>
                  <a:gd name="connsiteY13" fmla="*/ 154811 h 247097"/>
                  <a:gd name="connsiteX14" fmla="*/ 335968 w 361090"/>
                  <a:gd name="connsiteY14" fmla="*/ 130193 h 247097"/>
                  <a:gd name="connsiteX15" fmla="*/ 290300 w 361090"/>
                  <a:gd name="connsiteY15" fmla="*/ 132830 h 247097"/>
                  <a:gd name="connsiteX16" fmla="*/ 221797 w 361090"/>
                  <a:gd name="connsiteY16" fmla="*/ 143381 h 247097"/>
                  <a:gd name="connsiteX17" fmla="*/ 117286 w 361090"/>
                  <a:gd name="connsiteY17" fmla="*/ 52821 h 247097"/>
                  <a:gd name="connsiteX18" fmla="*/ 1358 w 361090"/>
                  <a:gd name="connsiteY18" fmla="*/ 1825 h 247097"/>
                  <a:gd name="connsiteX19" fmla="*/ 31218 w 361090"/>
                  <a:gd name="connsiteY19" fmla="*/ 117004 h 247097"/>
                  <a:gd name="connsiteX20" fmla="*/ 205110 w 361090"/>
                  <a:gd name="connsiteY20" fmla="*/ 197894 h 247097"/>
                  <a:gd name="connsiteX21" fmla="*/ 257805 w 361090"/>
                  <a:gd name="connsiteY21" fmla="*/ 233942 h 247097"/>
                  <a:gd name="connsiteX22" fmla="*/ 256048 w 361090"/>
                  <a:gd name="connsiteY22" fmla="*/ 231304 h 24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61090" h="247097">
                    <a:moveTo>
                      <a:pt x="256048" y="231304"/>
                    </a:moveTo>
                    <a:cubicBezTo>
                      <a:pt x="277126" y="242734"/>
                      <a:pt x="288543" y="244493"/>
                      <a:pt x="296447" y="246251"/>
                    </a:cubicBezTo>
                    <a:cubicBezTo>
                      <a:pt x="314890" y="251527"/>
                      <a:pt x="323673" y="230425"/>
                      <a:pt x="321916" y="230425"/>
                    </a:cubicBezTo>
                    <a:cubicBezTo>
                      <a:pt x="302595" y="233063"/>
                      <a:pt x="287665" y="224270"/>
                      <a:pt x="287665" y="224270"/>
                    </a:cubicBezTo>
                    <a:cubicBezTo>
                      <a:pt x="287665" y="224270"/>
                      <a:pt x="296447" y="230425"/>
                      <a:pt x="312256" y="231304"/>
                    </a:cubicBezTo>
                    <a:cubicBezTo>
                      <a:pt x="331577" y="233942"/>
                      <a:pt x="350020" y="216357"/>
                      <a:pt x="335090" y="208444"/>
                    </a:cubicBezTo>
                    <a:cubicBezTo>
                      <a:pt x="315769" y="211082"/>
                      <a:pt x="295569" y="205807"/>
                      <a:pt x="295569" y="205807"/>
                    </a:cubicBezTo>
                    <a:cubicBezTo>
                      <a:pt x="295569" y="205807"/>
                      <a:pt x="330699" y="214599"/>
                      <a:pt x="343873" y="205807"/>
                    </a:cubicBezTo>
                    <a:cubicBezTo>
                      <a:pt x="356168" y="196135"/>
                      <a:pt x="350898" y="186464"/>
                      <a:pt x="346507" y="188222"/>
                    </a:cubicBezTo>
                    <a:cubicBezTo>
                      <a:pt x="342116" y="189980"/>
                      <a:pt x="327186" y="196135"/>
                      <a:pt x="309621" y="188222"/>
                    </a:cubicBezTo>
                    <a:cubicBezTo>
                      <a:pt x="309621" y="188222"/>
                      <a:pt x="324551" y="192618"/>
                      <a:pt x="337725" y="190860"/>
                    </a:cubicBezTo>
                    <a:cubicBezTo>
                      <a:pt x="350898" y="189101"/>
                      <a:pt x="369342" y="175913"/>
                      <a:pt x="357046" y="169758"/>
                    </a:cubicBezTo>
                    <a:cubicBezTo>
                      <a:pt x="344751" y="163603"/>
                      <a:pt x="327186" y="172396"/>
                      <a:pt x="314890" y="166241"/>
                    </a:cubicBezTo>
                    <a:cubicBezTo>
                      <a:pt x="313134" y="165362"/>
                      <a:pt x="302595" y="158328"/>
                      <a:pt x="298204" y="154811"/>
                    </a:cubicBezTo>
                    <a:cubicBezTo>
                      <a:pt x="298204" y="152174"/>
                      <a:pt x="333334" y="145140"/>
                      <a:pt x="335968" y="130193"/>
                    </a:cubicBezTo>
                    <a:cubicBezTo>
                      <a:pt x="338603" y="115246"/>
                      <a:pt x="294691" y="132830"/>
                      <a:pt x="290300" y="132830"/>
                    </a:cubicBezTo>
                    <a:cubicBezTo>
                      <a:pt x="279761" y="133710"/>
                      <a:pt x="221797" y="143381"/>
                      <a:pt x="221797" y="143381"/>
                    </a:cubicBezTo>
                    <a:cubicBezTo>
                      <a:pt x="221797" y="143381"/>
                      <a:pt x="121677" y="45787"/>
                      <a:pt x="117286" y="52821"/>
                    </a:cubicBezTo>
                    <a:cubicBezTo>
                      <a:pt x="112895" y="59854"/>
                      <a:pt x="-14451" y="-12243"/>
                      <a:pt x="1358" y="1825"/>
                    </a:cubicBezTo>
                    <a:cubicBezTo>
                      <a:pt x="17166" y="15893"/>
                      <a:pt x="-13572" y="94144"/>
                      <a:pt x="31218" y="117004"/>
                    </a:cubicBezTo>
                    <a:cubicBezTo>
                      <a:pt x="76009" y="139864"/>
                      <a:pt x="206867" y="195256"/>
                      <a:pt x="205110" y="197894"/>
                    </a:cubicBezTo>
                    <a:cubicBezTo>
                      <a:pt x="205110" y="197894"/>
                      <a:pt x="236727" y="222512"/>
                      <a:pt x="257805" y="233942"/>
                    </a:cubicBezTo>
                    <a:lnTo>
                      <a:pt x="256048" y="231304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D401430D-E0DC-928B-0682-19CEFA359256}"/>
                  </a:ext>
                </a:extLst>
              </p:cNvPr>
              <p:cNvSpPr/>
              <p:nvPr/>
            </p:nvSpPr>
            <p:spPr>
              <a:xfrm>
                <a:off x="-11006568" y="3174890"/>
                <a:ext cx="157715" cy="150238"/>
              </a:xfrm>
              <a:custGeom>
                <a:avLst/>
                <a:gdLst>
                  <a:gd name="connsiteX0" fmla="*/ 157716 w 157715"/>
                  <a:gd name="connsiteY0" fmla="*/ 29894 h 150238"/>
                  <a:gd name="connsiteX1" fmla="*/ 134003 w 157715"/>
                  <a:gd name="connsiteY1" fmla="*/ 126609 h 150238"/>
                  <a:gd name="connsiteX2" fmla="*/ 1389 w 157715"/>
                  <a:gd name="connsiteY2" fmla="*/ 123092 h 150238"/>
                  <a:gd name="connsiteX3" fmla="*/ 35640 w 157715"/>
                  <a:gd name="connsiteY3" fmla="*/ 0 h 15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715" h="150238">
                    <a:moveTo>
                      <a:pt x="157716" y="29894"/>
                    </a:moveTo>
                    <a:cubicBezTo>
                      <a:pt x="157716" y="29894"/>
                      <a:pt x="149812" y="96715"/>
                      <a:pt x="134003" y="126609"/>
                    </a:cubicBezTo>
                    <a:cubicBezTo>
                      <a:pt x="116438" y="167054"/>
                      <a:pt x="22467" y="148590"/>
                      <a:pt x="1389" y="123092"/>
                    </a:cubicBezTo>
                    <a:cubicBezTo>
                      <a:pt x="-8272" y="57150"/>
                      <a:pt x="35640" y="0"/>
                      <a:pt x="35640" y="0"/>
                    </a:cubicBezTo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7A001297-626C-3657-F7EC-F523A89BF342}"/>
                </a:ext>
              </a:extLst>
            </p:cNvPr>
            <p:cNvGrpSpPr/>
            <p:nvPr userDrawn="1"/>
          </p:nvGrpSpPr>
          <p:grpSpPr>
            <a:xfrm>
              <a:off x="-12394315" y="2136257"/>
              <a:ext cx="4006717" cy="3669345"/>
              <a:chOff x="-12394315" y="2136257"/>
              <a:chExt cx="4006717" cy="3669345"/>
            </a:xfrm>
          </p:grpSpPr>
          <p:grpSp>
            <p:nvGrpSpPr>
              <p:cNvPr id="92" name="Graphic 6">
                <a:extLst>
                  <a:ext uri="{FF2B5EF4-FFF2-40B4-BE49-F238E27FC236}">
                    <a16:creationId xmlns:a16="http://schemas.microsoft.com/office/drawing/2014/main" id="{DDF40AF3-388A-92EC-5BC3-DB5D867CEF63}"/>
                  </a:ext>
                </a:extLst>
              </p:cNvPr>
              <p:cNvGrpSpPr/>
              <p:nvPr/>
            </p:nvGrpSpPr>
            <p:grpSpPr>
              <a:xfrm>
                <a:off x="-12394315" y="2136257"/>
                <a:ext cx="2480746" cy="3669345"/>
                <a:chOff x="-12394315" y="2136257"/>
                <a:chExt cx="2480746" cy="3669345"/>
              </a:xfrm>
            </p:grpSpPr>
            <p:grpSp>
              <p:nvGrpSpPr>
                <p:cNvPr id="109" name="Graphic 6">
                  <a:extLst>
                    <a:ext uri="{FF2B5EF4-FFF2-40B4-BE49-F238E27FC236}">
                      <a16:creationId xmlns:a16="http://schemas.microsoft.com/office/drawing/2014/main" id="{75302824-213F-A535-D9DD-BF4B158E8129}"/>
                    </a:ext>
                  </a:extLst>
                </p:cNvPr>
                <p:cNvGrpSpPr/>
                <p:nvPr/>
              </p:nvGrpSpPr>
              <p:grpSpPr>
                <a:xfrm>
                  <a:off x="-12394315" y="2136257"/>
                  <a:ext cx="2480746" cy="3669345"/>
                  <a:chOff x="-12394315" y="2136257"/>
                  <a:chExt cx="2480746" cy="3669345"/>
                </a:xfrm>
              </p:grpSpPr>
              <p:sp>
                <p:nvSpPr>
                  <p:cNvPr id="113" name="Freeform 112">
                    <a:extLst>
                      <a:ext uri="{FF2B5EF4-FFF2-40B4-BE49-F238E27FC236}">
                        <a16:creationId xmlns:a16="http://schemas.microsoft.com/office/drawing/2014/main" id="{3175FA63-63A7-0C4C-C620-B3680F0E18ED}"/>
                      </a:ext>
                    </a:extLst>
                  </p:cNvPr>
                  <p:cNvSpPr/>
                  <p:nvPr/>
                </p:nvSpPr>
                <p:spPr>
                  <a:xfrm>
                    <a:off x="-12178674" y="3689240"/>
                    <a:ext cx="836249" cy="1834954"/>
                  </a:xfrm>
                  <a:custGeom>
                    <a:avLst/>
                    <a:gdLst>
                      <a:gd name="connsiteX0" fmla="*/ 163 w 836249"/>
                      <a:gd name="connsiteY0" fmla="*/ 1557117 h 1834954"/>
                      <a:gd name="connsiteX1" fmla="*/ 29145 w 836249"/>
                      <a:gd name="connsiteY1" fmla="*/ 1353136 h 1834954"/>
                      <a:gd name="connsiteX2" fmla="*/ 95891 w 836249"/>
                      <a:gd name="connsiteY2" fmla="*/ 0 h 1834954"/>
                      <a:gd name="connsiteX3" fmla="*/ 813416 w 836249"/>
                      <a:gd name="connsiteY3" fmla="*/ 31652 h 1834954"/>
                      <a:gd name="connsiteX4" fmla="*/ 826589 w 836249"/>
                      <a:gd name="connsiteY4" fmla="*/ 371915 h 1834954"/>
                      <a:gd name="connsiteX5" fmla="*/ 836250 w 836249"/>
                      <a:gd name="connsiteY5" fmla="*/ 1670538 h 1834954"/>
                      <a:gd name="connsiteX6" fmla="*/ 775651 w 836249"/>
                      <a:gd name="connsiteY6" fmla="*/ 1762858 h 1834954"/>
                      <a:gd name="connsiteX7" fmla="*/ 746669 w 836249"/>
                      <a:gd name="connsiteY7" fmla="*/ 1825283 h 1834954"/>
                      <a:gd name="connsiteX8" fmla="*/ 614055 w 836249"/>
                      <a:gd name="connsiteY8" fmla="*/ 1834954 h 1834954"/>
                      <a:gd name="connsiteX9" fmla="*/ 597368 w 836249"/>
                      <a:gd name="connsiteY9" fmla="*/ 1776046 h 1834954"/>
                      <a:gd name="connsiteX10" fmla="*/ 518326 w 836249"/>
                      <a:gd name="connsiteY10" fmla="*/ 1664384 h 1834954"/>
                      <a:gd name="connsiteX11" fmla="*/ 451580 w 836249"/>
                      <a:gd name="connsiteY11" fmla="*/ 534572 h 1834954"/>
                      <a:gd name="connsiteX12" fmla="*/ 451580 w 836249"/>
                      <a:gd name="connsiteY12" fmla="*/ 232117 h 1834954"/>
                      <a:gd name="connsiteX13" fmla="*/ 257488 w 836249"/>
                      <a:gd name="connsiteY13" fmla="*/ 1753186 h 1834954"/>
                      <a:gd name="connsiteX14" fmla="*/ 250462 w 836249"/>
                      <a:gd name="connsiteY14" fmla="*/ 1753186 h 1834954"/>
                      <a:gd name="connsiteX15" fmla="*/ 236410 w 836249"/>
                      <a:gd name="connsiteY15" fmla="*/ 1804181 h 1834954"/>
                      <a:gd name="connsiteX16" fmla="*/ 80083 w 836249"/>
                      <a:gd name="connsiteY16" fmla="*/ 1795389 h 1834954"/>
                      <a:gd name="connsiteX17" fmla="*/ 61640 w 836249"/>
                      <a:gd name="connsiteY17" fmla="*/ 1738239 h 1834954"/>
                      <a:gd name="connsiteX18" fmla="*/ 51101 w 836249"/>
                      <a:gd name="connsiteY18" fmla="*/ 1738239 h 1834954"/>
                      <a:gd name="connsiteX19" fmla="*/ 163 w 836249"/>
                      <a:gd name="connsiteY19" fmla="*/ 1556238 h 1834954"/>
                      <a:gd name="connsiteX20" fmla="*/ 163 w 836249"/>
                      <a:gd name="connsiteY20" fmla="*/ 1556238 h 1834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836249" h="1834954">
                        <a:moveTo>
                          <a:pt x="163" y="1557117"/>
                        </a:moveTo>
                        <a:cubicBezTo>
                          <a:pt x="3676" y="1442817"/>
                          <a:pt x="29145" y="1353136"/>
                          <a:pt x="29145" y="1353136"/>
                        </a:cubicBezTo>
                        <a:lnTo>
                          <a:pt x="95891" y="0"/>
                        </a:lnTo>
                        <a:lnTo>
                          <a:pt x="813416" y="31652"/>
                        </a:lnTo>
                        <a:lnTo>
                          <a:pt x="826589" y="371915"/>
                        </a:lnTo>
                        <a:lnTo>
                          <a:pt x="836250" y="1670538"/>
                        </a:lnTo>
                        <a:cubicBezTo>
                          <a:pt x="836250" y="1670538"/>
                          <a:pt x="807268" y="1747031"/>
                          <a:pt x="775651" y="1762858"/>
                        </a:cubicBezTo>
                        <a:lnTo>
                          <a:pt x="746669" y="1825283"/>
                        </a:lnTo>
                        <a:lnTo>
                          <a:pt x="614055" y="1834954"/>
                        </a:lnTo>
                        <a:lnTo>
                          <a:pt x="597368" y="1776046"/>
                        </a:lnTo>
                        <a:cubicBezTo>
                          <a:pt x="597368" y="1776046"/>
                          <a:pt x="518326" y="1734722"/>
                          <a:pt x="518326" y="1664384"/>
                        </a:cubicBezTo>
                        <a:cubicBezTo>
                          <a:pt x="518326" y="1594045"/>
                          <a:pt x="451580" y="534572"/>
                          <a:pt x="451580" y="534572"/>
                        </a:cubicBezTo>
                        <a:lnTo>
                          <a:pt x="451580" y="232117"/>
                        </a:lnTo>
                        <a:cubicBezTo>
                          <a:pt x="451580" y="232117"/>
                          <a:pt x="362877" y="1674055"/>
                          <a:pt x="257488" y="1753186"/>
                        </a:cubicBezTo>
                        <a:lnTo>
                          <a:pt x="250462" y="1753186"/>
                        </a:lnTo>
                        <a:lnTo>
                          <a:pt x="236410" y="1804181"/>
                        </a:lnTo>
                        <a:lnTo>
                          <a:pt x="80083" y="1795389"/>
                        </a:lnTo>
                        <a:lnTo>
                          <a:pt x="61640" y="1738239"/>
                        </a:lnTo>
                        <a:lnTo>
                          <a:pt x="51101" y="1738239"/>
                        </a:lnTo>
                        <a:cubicBezTo>
                          <a:pt x="51101" y="1738239"/>
                          <a:pt x="-3350" y="1670538"/>
                          <a:pt x="163" y="1556238"/>
                        </a:cubicBezTo>
                        <a:lnTo>
                          <a:pt x="163" y="1556238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4" name="Freeform 113">
                    <a:extLst>
                      <a:ext uri="{FF2B5EF4-FFF2-40B4-BE49-F238E27FC236}">
                        <a16:creationId xmlns:a16="http://schemas.microsoft.com/office/drawing/2014/main" id="{A19CAFFF-B484-C1D7-673F-C9AE40DE0749}"/>
                      </a:ext>
                    </a:extLst>
                  </p:cNvPr>
                  <p:cNvSpPr/>
                  <p:nvPr/>
                </p:nvSpPr>
                <p:spPr>
                  <a:xfrm>
                    <a:off x="-12394315" y="2721448"/>
                    <a:ext cx="481974" cy="928012"/>
                  </a:xfrm>
                  <a:custGeom>
                    <a:avLst/>
                    <a:gdLst>
                      <a:gd name="connsiteX0" fmla="*/ 435365 w 481974"/>
                      <a:gd name="connsiteY0" fmla="*/ 1517 h 928012"/>
                      <a:gd name="connsiteX1" fmla="*/ 95485 w 481974"/>
                      <a:gd name="connsiteY1" fmla="*/ 95595 h 928012"/>
                      <a:gd name="connsiteX2" fmla="*/ 6782 w 481974"/>
                      <a:gd name="connsiteY2" fmla="*/ 864043 h 928012"/>
                      <a:gd name="connsiteX3" fmla="*/ 304507 w 481974"/>
                      <a:gd name="connsiteY3" fmla="*/ 921193 h 928012"/>
                      <a:gd name="connsiteX4" fmla="*/ 435365 w 481974"/>
                      <a:gd name="connsiteY4" fmla="*/ 638 h 928012"/>
                      <a:gd name="connsiteX5" fmla="*/ 435365 w 481974"/>
                      <a:gd name="connsiteY5" fmla="*/ 638 h 928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81974" h="928012">
                        <a:moveTo>
                          <a:pt x="435365" y="1517"/>
                        </a:moveTo>
                        <a:cubicBezTo>
                          <a:pt x="435365" y="1517"/>
                          <a:pt x="179796" y="-19584"/>
                          <a:pt x="95485" y="95595"/>
                        </a:cubicBezTo>
                        <a:cubicBezTo>
                          <a:pt x="95485" y="95595"/>
                          <a:pt x="-30104" y="576534"/>
                          <a:pt x="6782" y="864043"/>
                        </a:cubicBezTo>
                        <a:cubicBezTo>
                          <a:pt x="6782" y="864043"/>
                          <a:pt x="6782" y="952845"/>
                          <a:pt x="304507" y="921193"/>
                        </a:cubicBezTo>
                        <a:cubicBezTo>
                          <a:pt x="602231" y="889540"/>
                          <a:pt x="435365" y="638"/>
                          <a:pt x="435365" y="638"/>
                        </a:cubicBezTo>
                        <a:lnTo>
                          <a:pt x="435365" y="6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5" name="Freeform 114">
                    <a:extLst>
                      <a:ext uri="{FF2B5EF4-FFF2-40B4-BE49-F238E27FC236}">
                        <a16:creationId xmlns:a16="http://schemas.microsoft.com/office/drawing/2014/main" id="{8C7CE97A-BFCB-ECC3-020D-2E7B22BE4DF0}"/>
                      </a:ext>
                    </a:extLst>
                  </p:cNvPr>
                  <p:cNvSpPr/>
                  <p:nvPr/>
                </p:nvSpPr>
                <p:spPr>
                  <a:xfrm>
                    <a:off x="-12347065" y="2669332"/>
                    <a:ext cx="1228076" cy="1249386"/>
                  </a:xfrm>
                  <a:custGeom>
                    <a:avLst/>
                    <a:gdLst>
                      <a:gd name="connsiteX0" fmla="*/ 97416 w 1228076"/>
                      <a:gd name="connsiteY0" fmla="*/ 886265 h 1249386"/>
                      <a:gd name="connsiteX1" fmla="*/ 158015 w 1228076"/>
                      <a:gd name="connsiteY1" fmla="*/ 914400 h 1249386"/>
                      <a:gd name="connsiteX2" fmla="*/ 158015 w 1228076"/>
                      <a:gd name="connsiteY2" fmla="*/ 911762 h 1249386"/>
                      <a:gd name="connsiteX3" fmla="*/ 185240 w 1228076"/>
                      <a:gd name="connsiteY3" fmla="*/ 911762 h 1249386"/>
                      <a:gd name="connsiteX4" fmla="*/ 220370 w 1228076"/>
                      <a:gd name="connsiteY4" fmla="*/ 903849 h 1249386"/>
                      <a:gd name="connsiteX5" fmla="*/ 220370 w 1228076"/>
                      <a:gd name="connsiteY5" fmla="*/ 917038 h 1249386"/>
                      <a:gd name="connsiteX6" fmla="*/ 245839 w 1228076"/>
                      <a:gd name="connsiteY6" fmla="*/ 1215097 h 1249386"/>
                      <a:gd name="connsiteX7" fmla="*/ 929990 w 1228076"/>
                      <a:gd name="connsiteY7" fmla="*/ 1227406 h 1249386"/>
                      <a:gd name="connsiteX8" fmla="*/ 1035379 w 1228076"/>
                      <a:gd name="connsiteY8" fmla="*/ 1249387 h 1249386"/>
                      <a:gd name="connsiteX9" fmla="*/ 1080169 w 1228076"/>
                      <a:gd name="connsiteY9" fmla="*/ 1227406 h 1249386"/>
                      <a:gd name="connsiteX10" fmla="*/ 1217175 w 1228076"/>
                      <a:gd name="connsiteY10" fmla="*/ 891540 h 1249386"/>
                      <a:gd name="connsiteX11" fmla="*/ 1224201 w 1228076"/>
                      <a:gd name="connsiteY11" fmla="*/ 762293 h 1249386"/>
                      <a:gd name="connsiteX12" fmla="*/ 1153064 w 1228076"/>
                      <a:gd name="connsiteY12" fmla="*/ 324436 h 1249386"/>
                      <a:gd name="connsiteX13" fmla="*/ 785958 w 1228076"/>
                      <a:gd name="connsiteY13" fmla="*/ 0 h 1249386"/>
                      <a:gd name="connsiteX14" fmla="*/ 522485 w 1228076"/>
                      <a:gd name="connsiteY14" fmla="*/ 21981 h 1249386"/>
                      <a:gd name="connsiteX15" fmla="*/ 508433 w 1228076"/>
                      <a:gd name="connsiteY15" fmla="*/ 19343 h 1249386"/>
                      <a:gd name="connsiteX16" fmla="*/ 503164 w 1228076"/>
                      <a:gd name="connsiteY16" fmla="*/ 19343 h 1249386"/>
                      <a:gd name="connsiteX17" fmla="*/ 491747 w 1228076"/>
                      <a:gd name="connsiteY17" fmla="*/ 22860 h 1249386"/>
                      <a:gd name="connsiteX18" fmla="*/ 200170 w 1228076"/>
                      <a:gd name="connsiteY18" fmla="*/ 144194 h 1249386"/>
                      <a:gd name="connsiteX19" fmla="*/ 4322 w 1228076"/>
                      <a:gd name="connsiteY19" fmla="*/ 659423 h 1249386"/>
                      <a:gd name="connsiteX20" fmla="*/ 98294 w 1228076"/>
                      <a:gd name="connsiteY20" fmla="*/ 888023 h 1249386"/>
                      <a:gd name="connsiteX21" fmla="*/ 97416 w 1228076"/>
                      <a:gd name="connsiteY21" fmla="*/ 888023 h 1249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228076" h="1249386">
                        <a:moveTo>
                          <a:pt x="97416" y="886265"/>
                        </a:moveTo>
                        <a:cubicBezTo>
                          <a:pt x="123763" y="901211"/>
                          <a:pt x="127276" y="902970"/>
                          <a:pt x="158015" y="914400"/>
                        </a:cubicBezTo>
                        <a:lnTo>
                          <a:pt x="158015" y="911762"/>
                        </a:lnTo>
                        <a:cubicBezTo>
                          <a:pt x="166797" y="912641"/>
                          <a:pt x="175580" y="912641"/>
                          <a:pt x="185240" y="911762"/>
                        </a:cubicBezTo>
                        <a:cubicBezTo>
                          <a:pt x="197536" y="910004"/>
                          <a:pt x="208953" y="906487"/>
                          <a:pt x="220370" y="903849"/>
                        </a:cubicBezTo>
                        <a:lnTo>
                          <a:pt x="220370" y="917038"/>
                        </a:lnTo>
                        <a:cubicBezTo>
                          <a:pt x="225639" y="1131570"/>
                          <a:pt x="245839" y="1215097"/>
                          <a:pt x="245839" y="1215097"/>
                        </a:cubicBezTo>
                        <a:cubicBezTo>
                          <a:pt x="245839" y="1215097"/>
                          <a:pt x="763124" y="1237957"/>
                          <a:pt x="929990" y="1227406"/>
                        </a:cubicBezTo>
                        <a:lnTo>
                          <a:pt x="1035379" y="1249387"/>
                        </a:lnTo>
                        <a:lnTo>
                          <a:pt x="1080169" y="1227406"/>
                        </a:lnTo>
                        <a:cubicBezTo>
                          <a:pt x="1159211" y="1187841"/>
                          <a:pt x="1182924" y="1014632"/>
                          <a:pt x="1217175" y="891540"/>
                        </a:cubicBezTo>
                        <a:cubicBezTo>
                          <a:pt x="1228592" y="849337"/>
                          <a:pt x="1231227" y="805375"/>
                          <a:pt x="1224201" y="762293"/>
                        </a:cubicBezTo>
                        <a:lnTo>
                          <a:pt x="1153064" y="324436"/>
                        </a:lnTo>
                        <a:cubicBezTo>
                          <a:pt x="1124082" y="86165"/>
                          <a:pt x="785958" y="0"/>
                          <a:pt x="785958" y="0"/>
                        </a:cubicBezTo>
                        <a:cubicBezTo>
                          <a:pt x="680569" y="43962"/>
                          <a:pt x="566398" y="29894"/>
                          <a:pt x="522485" y="21981"/>
                        </a:cubicBezTo>
                        <a:cubicBezTo>
                          <a:pt x="518094" y="20222"/>
                          <a:pt x="512825" y="19343"/>
                          <a:pt x="508433" y="19343"/>
                        </a:cubicBezTo>
                        <a:cubicBezTo>
                          <a:pt x="504042" y="19343"/>
                          <a:pt x="503164" y="19343"/>
                          <a:pt x="503164" y="19343"/>
                        </a:cubicBezTo>
                        <a:lnTo>
                          <a:pt x="491747" y="22860"/>
                        </a:lnTo>
                        <a:cubicBezTo>
                          <a:pt x="431148" y="36049"/>
                          <a:pt x="260769" y="96715"/>
                          <a:pt x="200170" y="144194"/>
                        </a:cubicBezTo>
                        <a:cubicBezTo>
                          <a:pt x="125520" y="202223"/>
                          <a:pt x="45600" y="465113"/>
                          <a:pt x="4322" y="659423"/>
                        </a:cubicBezTo>
                        <a:cubicBezTo>
                          <a:pt x="-13243" y="743829"/>
                          <a:pt x="23644" y="844941"/>
                          <a:pt x="98294" y="888023"/>
                        </a:cubicBezTo>
                        <a:lnTo>
                          <a:pt x="97416" y="8880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6" name="Freeform 115">
                    <a:extLst>
                      <a:ext uri="{FF2B5EF4-FFF2-40B4-BE49-F238E27FC236}">
                        <a16:creationId xmlns:a16="http://schemas.microsoft.com/office/drawing/2014/main" id="{7C993A82-FEA2-1908-B2A0-B9041EEB9CC1}"/>
                      </a:ext>
                    </a:extLst>
                  </p:cNvPr>
                  <p:cNvSpPr/>
                  <p:nvPr/>
                </p:nvSpPr>
                <p:spPr>
                  <a:xfrm>
                    <a:off x="-11912333" y="2136257"/>
                    <a:ext cx="421914" cy="572934"/>
                  </a:xfrm>
                  <a:custGeom>
                    <a:avLst/>
                    <a:gdLst>
                      <a:gd name="connsiteX0" fmla="*/ 35937 w 421914"/>
                      <a:gd name="connsiteY0" fmla="*/ 108407 h 572934"/>
                      <a:gd name="connsiteX1" fmla="*/ 63163 w 421914"/>
                      <a:gd name="connsiteY1" fmla="*/ 60050 h 572934"/>
                      <a:gd name="connsiteX2" fmla="*/ 173821 w 421914"/>
                      <a:gd name="connsiteY2" fmla="*/ 8175 h 572934"/>
                      <a:gd name="connsiteX3" fmla="*/ 288871 w 421914"/>
                      <a:gd name="connsiteY3" fmla="*/ 21364 h 572934"/>
                      <a:gd name="connsiteX4" fmla="*/ 306436 w 421914"/>
                      <a:gd name="connsiteY4" fmla="*/ 73238 h 572934"/>
                      <a:gd name="connsiteX5" fmla="*/ 367913 w 421914"/>
                      <a:gd name="connsiteY5" fmla="*/ 169074 h 572934"/>
                      <a:gd name="connsiteX6" fmla="*/ 421486 w 421914"/>
                      <a:gd name="connsiteY6" fmla="*/ 229741 h 572934"/>
                      <a:gd name="connsiteX7" fmla="*/ 406556 w 421914"/>
                      <a:gd name="connsiteY7" fmla="*/ 255239 h 572934"/>
                      <a:gd name="connsiteX8" fmla="*/ 407434 w 421914"/>
                      <a:gd name="connsiteY8" fmla="*/ 286012 h 572934"/>
                      <a:gd name="connsiteX9" fmla="*/ 389869 w 421914"/>
                      <a:gd name="connsiteY9" fmla="*/ 307113 h 572934"/>
                      <a:gd name="connsiteX10" fmla="*/ 407434 w 421914"/>
                      <a:gd name="connsiteY10" fmla="*/ 304476 h 572934"/>
                      <a:gd name="connsiteX11" fmla="*/ 407434 w 421914"/>
                      <a:gd name="connsiteY11" fmla="*/ 325577 h 572934"/>
                      <a:gd name="connsiteX12" fmla="*/ 411825 w 421914"/>
                      <a:gd name="connsiteY12" fmla="*/ 375693 h 572934"/>
                      <a:gd name="connsiteX13" fmla="*/ 325757 w 421914"/>
                      <a:gd name="connsiteY13" fmla="*/ 407346 h 572934"/>
                      <a:gd name="connsiteX14" fmla="*/ 309949 w 421914"/>
                      <a:gd name="connsiteY14" fmla="*/ 511974 h 572934"/>
                      <a:gd name="connsiteX15" fmla="*/ 350348 w 421914"/>
                      <a:gd name="connsiteY15" fmla="*/ 533955 h 572934"/>
                      <a:gd name="connsiteX16" fmla="*/ 53502 w 421914"/>
                      <a:gd name="connsiteY16" fmla="*/ 555057 h 572934"/>
                      <a:gd name="connsiteX17" fmla="*/ 103562 w 421914"/>
                      <a:gd name="connsiteY17" fmla="*/ 520767 h 572934"/>
                      <a:gd name="connsiteX18" fmla="*/ 128153 w 421914"/>
                      <a:gd name="connsiteY18" fmla="*/ 395916 h 572934"/>
                      <a:gd name="connsiteX19" fmla="*/ 116736 w 421914"/>
                      <a:gd name="connsiteY19" fmla="*/ 384486 h 572934"/>
                      <a:gd name="connsiteX20" fmla="*/ 49111 w 421914"/>
                      <a:gd name="connsiteY20" fmla="*/ 309751 h 572934"/>
                      <a:gd name="connsiteX21" fmla="*/ 35059 w 421914"/>
                      <a:gd name="connsiteY21" fmla="*/ 108407 h 572934"/>
                      <a:gd name="connsiteX22" fmla="*/ 35059 w 421914"/>
                      <a:gd name="connsiteY22" fmla="*/ 108407 h 572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421914" h="572934">
                        <a:moveTo>
                          <a:pt x="35937" y="108407"/>
                        </a:moveTo>
                        <a:cubicBezTo>
                          <a:pt x="41207" y="90823"/>
                          <a:pt x="49989" y="74117"/>
                          <a:pt x="63163" y="60050"/>
                        </a:cubicBezTo>
                        <a:cubicBezTo>
                          <a:pt x="102684" y="16967"/>
                          <a:pt x="173821" y="8175"/>
                          <a:pt x="173821" y="8175"/>
                        </a:cubicBezTo>
                        <a:cubicBezTo>
                          <a:pt x="239689" y="-11168"/>
                          <a:pt x="266037" y="8175"/>
                          <a:pt x="288871" y="21364"/>
                        </a:cubicBezTo>
                        <a:cubicBezTo>
                          <a:pt x="330148" y="47740"/>
                          <a:pt x="312584" y="67084"/>
                          <a:pt x="306436" y="73238"/>
                        </a:cubicBezTo>
                        <a:cubicBezTo>
                          <a:pt x="314340" y="79393"/>
                          <a:pt x="370548" y="126871"/>
                          <a:pt x="367913" y="169074"/>
                        </a:cubicBezTo>
                        <a:cubicBezTo>
                          <a:pt x="367913" y="181383"/>
                          <a:pt x="421486" y="229741"/>
                          <a:pt x="421486" y="229741"/>
                        </a:cubicBezTo>
                        <a:cubicBezTo>
                          <a:pt x="421486" y="229741"/>
                          <a:pt x="425877" y="247326"/>
                          <a:pt x="406556" y="255239"/>
                        </a:cubicBezTo>
                        <a:cubicBezTo>
                          <a:pt x="388112" y="263152"/>
                          <a:pt x="407434" y="286012"/>
                          <a:pt x="407434" y="286012"/>
                        </a:cubicBezTo>
                        <a:cubicBezTo>
                          <a:pt x="407434" y="286012"/>
                          <a:pt x="417094" y="298321"/>
                          <a:pt x="389869" y="307113"/>
                        </a:cubicBezTo>
                        <a:cubicBezTo>
                          <a:pt x="383721" y="308872"/>
                          <a:pt x="402164" y="302717"/>
                          <a:pt x="407434" y="304476"/>
                        </a:cubicBezTo>
                        <a:cubicBezTo>
                          <a:pt x="407434" y="304476"/>
                          <a:pt x="413582" y="315027"/>
                          <a:pt x="407434" y="325577"/>
                        </a:cubicBezTo>
                        <a:cubicBezTo>
                          <a:pt x="401286" y="335249"/>
                          <a:pt x="415338" y="364263"/>
                          <a:pt x="411825" y="375693"/>
                        </a:cubicBezTo>
                        <a:cubicBezTo>
                          <a:pt x="407434" y="392399"/>
                          <a:pt x="360009" y="402070"/>
                          <a:pt x="325757" y="407346"/>
                        </a:cubicBezTo>
                        <a:lnTo>
                          <a:pt x="309949" y="511974"/>
                        </a:lnTo>
                        <a:cubicBezTo>
                          <a:pt x="324879" y="531317"/>
                          <a:pt x="350348" y="533955"/>
                          <a:pt x="350348" y="533955"/>
                        </a:cubicBezTo>
                        <a:cubicBezTo>
                          <a:pt x="264280" y="606931"/>
                          <a:pt x="53502" y="555057"/>
                          <a:pt x="53502" y="555057"/>
                        </a:cubicBezTo>
                        <a:cubicBezTo>
                          <a:pt x="85119" y="548902"/>
                          <a:pt x="98292" y="530438"/>
                          <a:pt x="103562" y="520767"/>
                        </a:cubicBezTo>
                        <a:lnTo>
                          <a:pt x="128153" y="395916"/>
                        </a:lnTo>
                        <a:cubicBezTo>
                          <a:pt x="124640" y="395916"/>
                          <a:pt x="120248" y="391520"/>
                          <a:pt x="116736" y="384486"/>
                        </a:cubicBezTo>
                        <a:cubicBezTo>
                          <a:pt x="109710" y="370418"/>
                          <a:pt x="85997" y="340524"/>
                          <a:pt x="49111" y="309751"/>
                        </a:cubicBezTo>
                        <a:cubicBezTo>
                          <a:pt x="-71" y="268427"/>
                          <a:pt x="-24662" y="198089"/>
                          <a:pt x="35059" y="108407"/>
                        </a:cubicBezTo>
                        <a:lnTo>
                          <a:pt x="35059" y="10840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" name="Freeform 116">
                    <a:extLst>
                      <a:ext uri="{FF2B5EF4-FFF2-40B4-BE49-F238E27FC236}">
                        <a16:creationId xmlns:a16="http://schemas.microsoft.com/office/drawing/2014/main" id="{ECE4602C-4B4D-0810-B445-42D72BF0C820}"/>
                      </a:ext>
                    </a:extLst>
                  </p:cNvPr>
                  <p:cNvSpPr/>
                  <p:nvPr/>
                </p:nvSpPr>
                <p:spPr>
                  <a:xfrm>
                    <a:off x="-11908820" y="2136257"/>
                    <a:ext cx="419414" cy="414617"/>
                  </a:xfrm>
                  <a:custGeom>
                    <a:avLst/>
                    <a:gdLst>
                      <a:gd name="connsiteX0" fmla="*/ 32424 w 419414"/>
                      <a:gd name="connsiteY0" fmla="*/ 108407 h 414617"/>
                      <a:gd name="connsiteX1" fmla="*/ 59650 w 419414"/>
                      <a:gd name="connsiteY1" fmla="*/ 60050 h 414617"/>
                      <a:gd name="connsiteX2" fmla="*/ 170308 w 419414"/>
                      <a:gd name="connsiteY2" fmla="*/ 8175 h 414617"/>
                      <a:gd name="connsiteX3" fmla="*/ 285358 w 419414"/>
                      <a:gd name="connsiteY3" fmla="*/ 21364 h 414617"/>
                      <a:gd name="connsiteX4" fmla="*/ 302923 w 419414"/>
                      <a:gd name="connsiteY4" fmla="*/ 73238 h 414617"/>
                      <a:gd name="connsiteX5" fmla="*/ 302923 w 419414"/>
                      <a:gd name="connsiteY5" fmla="*/ 73238 h 414617"/>
                      <a:gd name="connsiteX6" fmla="*/ 249350 w 419414"/>
                      <a:gd name="connsiteY6" fmla="*/ 122475 h 414617"/>
                      <a:gd name="connsiteX7" fmla="*/ 217733 w 419414"/>
                      <a:gd name="connsiteY7" fmla="*/ 223587 h 414617"/>
                      <a:gd name="connsiteX8" fmla="*/ 325757 w 419414"/>
                      <a:gd name="connsiteY8" fmla="*/ 344920 h 414617"/>
                      <a:gd name="connsiteX9" fmla="*/ 339809 w 419414"/>
                      <a:gd name="connsiteY9" fmla="*/ 290408 h 414617"/>
                      <a:gd name="connsiteX10" fmla="*/ 396017 w 419414"/>
                      <a:gd name="connsiteY10" fmla="*/ 261394 h 414617"/>
                      <a:gd name="connsiteX11" fmla="*/ 403043 w 419414"/>
                      <a:gd name="connsiteY11" fmla="*/ 282495 h 414617"/>
                      <a:gd name="connsiteX12" fmla="*/ 361765 w 419414"/>
                      <a:gd name="connsiteY12" fmla="*/ 304476 h 414617"/>
                      <a:gd name="connsiteX13" fmla="*/ 361765 w 419414"/>
                      <a:gd name="connsiteY13" fmla="*/ 355471 h 414617"/>
                      <a:gd name="connsiteX14" fmla="*/ 410069 w 419414"/>
                      <a:gd name="connsiteY14" fmla="*/ 344920 h 414617"/>
                      <a:gd name="connsiteX15" fmla="*/ 413581 w 419414"/>
                      <a:gd name="connsiteY15" fmla="*/ 395916 h 414617"/>
                      <a:gd name="connsiteX16" fmla="*/ 288871 w 419414"/>
                      <a:gd name="connsiteY16" fmla="*/ 403829 h 414617"/>
                      <a:gd name="connsiteX17" fmla="*/ 217733 w 419414"/>
                      <a:gd name="connsiteY17" fmla="*/ 272823 h 414617"/>
                      <a:gd name="connsiteX18" fmla="*/ 210707 w 419414"/>
                      <a:gd name="connsiteY18" fmla="*/ 263152 h 414617"/>
                      <a:gd name="connsiteX19" fmla="*/ 141326 w 419414"/>
                      <a:gd name="connsiteY19" fmla="*/ 311510 h 414617"/>
                      <a:gd name="connsiteX20" fmla="*/ 162404 w 419414"/>
                      <a:gd name="connsiteY20" fmla="*/ 337887 h 414617"/>
                      <a:gd name="connsiteX21" fmla="*/ 142205 w 419414"/>
                      <a:gd name="connsiteY21" fmla="*/ 383607 h 414617"/>
                      <a:gd name="connsiteX22" fmla="*/ 116735 w 419414"/>
                      <a:gd name="connsiteY22" fmla="*/ 385365 h 414617"/>
                      <a:gd name="connsiteX23" fmla="*/ 49111 w 419414"/>
                      <a:gd name="connsiteY23" fmla="*/ 310630 h 414617"/>
                      <a:gd name="connsiteX24" fmla="*/ 35059 w 419414"/>
                      <a:gd name="connsiteY24" fmla="*/ 109287 h 414617"/>
                      <a:gd name="connsiteX25" fmla="*/ 33302 w 419414"/>
                      <a:gd name="connsiteY25" fmla="*/ 109287 h 4146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19414" h="414617">
                        <a:moveTo>
                          <a:pt x="32424" y="108407"/>
                        </a:moveTo>
                        <a:cubicBezTo>
                          <a:pt x="37694" y="90823"/>
                          <a:pt x="46476" y="74117"/>
                          <a:pt x="59650" y="60050"/>
                        </a:cubicBezTo>
                        <a:cubicBezTo>
                          <a:pt x="99171" y="16967"/>
                          <a:pt x="170308" y="8175"/>
                          <a:pt x="170308" y="8175"/>
                        </a:cubicBezTo>
                        <a:cubicBezTo>
                          <a:pt x="236176" y="-11168"/>
                          <a:pt x="262524" y="8175"/>
                          <a:pt x="285358" y="21364"/>
                        </a:cubicBezTo>
                        <a:cubicBezTo>
                          <a:pt x="326636" y="47740"/>
                          <a:pt x="309071" y="67084"/>
                          <a:pt x="302923" y="73238"/>
                        </a:cubicBezTo>
                        <a:lnTo>
                          <a:pt x="302923" y="73238"/>
                        </a:lnTo>
                        <a:cubicBezTo>
                          <a:pt x="302923" y="73238"/>
                          <a:pt x="286236" y="107528"/>
                          <a:pt x="249350" y="122475"/>
                        </a:cubicBezTo>
                        <a:cubicBezTo>
                          <a:pt x="170308" y="153248"/>
                          <a:pt x="214220" y="214794"/>
                          <a:pt x="217733" y="223587"/>
                        </a:cubicBezTo>
                        <a:cubicBezTo>
                          <a:pt x="224759" y="240292"/>
                          <a:pt x="287115" y="322060"/>
                          <a:pt x="325757" y="344920"/>
                        </a:cubicBezTo>
                        <a:cubicBezTo>
                          <a:pt x="327514" y="330853"/>
                          <a:pt x="331905" y="303597"/>
                          <a:pt x="339809" y="290408"/>
                        </a:cubicBezTo>
                        <a:cubicBezTo>
                          <a:pt x="352104" y="270186"/>
                          <a:pt x="396017" y="261394"/>
                          <a:pt x="396017" y="261394"/>
                        </a:cubicBezTo>
                        <a:cubicBezTo>
                          <a:pt x="400408" y="266669"/>
                          <a:pt x="403043" y="276340"/>
                          <a:pt x="403043" y="282495"/>
                        </a:cubicBezTo>
                        <a:cubicBezTo>
                          <a:pt x="403043" y="282495"/>
                          <a:pt x="381087" y="278978"/>
                          <a:pt x="361765" y="304476"/>
                        </a:cubicBezTo>
                        <a:cubicBezTo>
                          <a:pt x="354739" y="313268"/>
                          <a:pt x="358252" y="344920"/>
                          <a:pt x="361765" y="355471"/>
                        </a:cubicBezTo>
                        <a:cubicBezTo>
                          <a:pt x="399530" y="351075"/>
                          <a:pt x="410069" y="344920"/>
                          <a:pt x="410069" y="344920"/>
                        </a:cubicBezTo>
                        <a:cubicBezTo>
                          <a:pt x="410069" y="344920"/>
                          <a:pt x="428512" y="379210"/>
                          <a:pt x="413581" y="395916"/>
                        </a:cubicBezTo>
                        <a:cubicBezTo>
                          <a:pt x="397773" y="412621"/>
                          <a:pt x="311705" y="424051"/>
                          <a:pt x="288871" y="403829"/>
                        </a:cubicBezTo>
                        <a:cubicBezTo>
                          <a:pt x="267793" y="385365"/>
                          <a:pt x="226516" y="292167"/>
                          <a:pt x="217733" y="272823"/>
                        </a:cubicBezTo>
                        <a:cubicBezTo>
                          <a:pt x="215977" y="271065"/>
                          <a:pt x="213342" y="268427"/>
                          <a:pt x="210707" y="263152"/>
                        </a:cubicBezTo>
                        <a:cubicBezTo>
                          <a:pt x="168552" y="192813"/>
                          <a:pt x="96536" y="231500"/>
                          <a:pt x="141326" y="311510"/>
                        </a:cubicBezTo>
                        <a:cubicBezTo>
                          <a:pt x="147474" y="322060"/>
                          <a:pt x="154500" y="330853"/>
                          <a:pt x="162404" y="337887"/>
                        </a:cubicBezTo>
                        <a:cubicBezTo>
                          <a:pt x="150987" y="358109"/>
                          <a:pt x="146596" y="373056"/>
                          <a:pt x="142205" y="383607"/>
                        </a:cubicBezTo>
                        <a:cubicBezTo>
                          <a:pt x="135179" y="400312"/>
                          <a:pt x="124640" y="401191"/>
                          <a:pt x="116735" y="385365"/>
                        </a:cubicBezTo>
                        <a:cubicBezTo>
                          <a:pt x="109709" y="371297"/>
                          <a:pt x="85997" y="341403"/>
                          <a:pt x="49111" y="310630"/>
                        </a:cubicBezTo>
                        <a:cubicBezTo>
                          <a:pt x="-71" y="269307"/>
                          <a:pt x="-24662" y="198968"/>
                          <a:pt x="35059" y="109287"/>
                        </a:cubicBezTo>
                        <a:lnTo>
                          <a:pt x="33302" y="109287"/>
                        </a:lnTo>
                        <a:close/>
                      </a:path>
                    </a:pathLst>
                  </a:custGeom>
                  <a:solidFill>
                    <a:srgbClr val="4D260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" name="Freeform 117">
                    <a:extLst>
                      <a:ext uri="{FF2B5EF4-FFF2-40B4-BE49-F238E27FC236}">
                        <a16:creationId xmlns:a16="http://schemas.microsoft.com/office/drawing/2014/main" id="{DDC6C62A-7012-7A47-5303-4CFE0A8C879D}"/>
                      </a:ext>
                    </a:extLst>
                  </p:cNvPr>
                  <p:cNvSpPr/>
                  <p:nvPr/>
                </p:nvSpPr>
                <p:spPr>
                  <a:xfrm>
                    <a:off x="-11589492" y="5467924"/>
                    <a:ext cx="418819" cy="329711"/>
                  </a:xfrm>
                  <a:custGeom>
                    <a:avLst/>
                    <a:gdLst>
                      <a:gd name="connsiteX0" fmla="*/ 32777 w 418819"/>
                      <a:gd name="connsiteY0" fmla="*/ 41324 h 329711"/>
                      <a:gd name="connsiteX1" fmla="*/ 6430 w 418819"/>
                      <a:gd name="connsiteY1" fmla="*/ 35169 h 329711"/>
                      <a:gd name="connsiteX2" fmla="*/ 14334 w 418819"/>
                      <a:gd name="connsiteY2" fmla="*/ 151228 h 329711"/>
                      <a:gd name="connsiteX3" fmla="*/ 282 w 418819"/>
                      <a:gd name="connsiteY3" fmla="*/ 277837 h 329711"/>
                      <a:gd name="connsiteX4" fmla="*/ 282 w 418819"/>
                      <a:gd name="connsiteY4" fmla="*/ 329712 h 329711"/>
                      <a:gd name="connsiteX5" fmla="*/ 129384 w 418819"/>
                      <a:gd name="connsiteY5" fmla="*/ 329712 h 329711"/>
                      <a:gd name="connsiteX6" fmla="*/ 138166 w 418819"/>
                      <a:gd name="connsiteY6" fmla="*/ 291025 h 329711"/>
                      <a:gd name="connsiteX7" fmla="*/ 209304 w 418819"/>
                      <a:gd name="connsiteY7" fmla="*/ 329712 h 329711"/>
                      <a:gd name="connsiteX8" fmla="*/ 413934 w 418819"/>
                      <a:gd name="connsiteY8" fmla="*/ 329712 h 329711"/>
                      <a:gd name="connsiteX9" fmla="*/ 418326 w 418819"/>
                      <a:gd name="connsiteY9" fmla="*/ 277837 h 329711"/>
                      <a:gd name="connsiteX10" fmla="*/ 378805 w 418819"/>
                      <a:gd name="connsiteY10" fmla="*/ 211895 h 329711"/>
                      <a:gd name="connsiteX11" fmla="*/ 204913 w 418819"/>
                      <a:gd name="connsiteY11" fmla="*/ 107266 h 329711"/>
                      <a:gd name="connsiteX12" fmla="*/ 179444 w 418819"/>
                      <a:gd name="connsiteY12" fmla="*/ 0 h 329711"/>
                      <a:gd name="connsiteX13" fmla="*/ 102158 w 418819"/>
                      <a:gd name="connsiteY13" fmla="*/ 21981 h 329711"/>
                      <a:gd name="connsiteX14" fmla="*/ 32777 w 418819"/>
                      <a:gd name="connsiteY14" fmla="*/ 41324 h 3297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18819" h="329711">
                        <a:moveTo>
                          <a:pt x="32777" y="41324"/>
                        </a:moveTo>
                        <a:cubicBezTo>
                          <a:pt x="32777" y="41324"/>
                          <a:pt x="-4987" y="10551"/>
                          <a:pt x="6430" y="35169"/>
                        </a:cubicBezTo>
                        <a:cubicBezTo>
                          <a:pt x="17847" y="59788"/>
                          <a:pt x="11699" y="137160"/>
                          <a:pt x="14334" y="151228"/>
                        </a:cubicBezTo>
                        <a:cubicBezTo>
                          <a:pt x="14334" y="151228"/>
                          <a:pt x="-2353" y="225962"/>
                          <a:pt x="282" y="277837"/>
                        </a:cubicBezTo>
                        <a:lnTo>
                          <a:pt x="282" y="329712"/>
                        </a:lnTo>
                        <a:lnTo>
                          <a:pt x="129384" y="329712"/>
                        </a:lnTo>
                        <a:lnTo>
                          <a:pt x="138166" y="291025"/>
                        </a:lnTo>
                        <a:cubicBezTo>
                          <a:pt x="138166" y="291025"/>
                          <a:pt x="179444" y="299818"/>
                          <a:pt x="209304" y="329712"/>
                        </a:cubicBezTo>
                        <a:lnTo>
                          <a:pt x="413934" y="329712"/>
                        </a:lnTo>
                        <a:lnTo>
                          <a:pt x="418326" y="277837"/>
                        </a:lnTo>
                        <a:cubicBezTo>
                          <a:pt x="418326" y="277837"/>
                          <a:pt x="426230" y="240030"/>
                          <a:pt x="378805" y="211895"/>
                        </a:cubicBezTo>
                        <a:cubicBezTo>
                          <a:pt x="356849" y="199585"/>
                          <a:pt x="261120" y="201344"/>
                          <a:pt x="204913" y="107266"/>
                        </a:cubicBezTo>
                        <a:cubicBezTo>
                          <a:pt x="166270" y="42203"/>
                          <a:pt x="179444" y="0"/>
                          <a:pt x="179444" y="0"/>
                        </a:cubicBezTo>
                        <a:cubicBezTo>
                          <a:pt x="179444" y="0"/>
                          <a:pt x="116210" y="0"/>
                          <a:pt x="102158" y="21981"/>
                        </a:cubicBezTo>
                        <a:cubicBezTo>
                          <a:pt x="88106" y="43962"/>
                          <a:pt x="32777" y="41324"/>
                          <a:pt x="32777" y="41324"/>
                        </a:cubicBez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" name="Freeform 118">
                    <a:extLst>
                      <a:ext uri="{FF2B5EF4-FFF2-40B4-BE49-F238E27FC236}">
                        <a16:creationId xmlns:a16="http://schemas.microsoft.com/office/drawing/2014/main" id="{C341B289-ADDC-6767-5ACA-980FBB42EB40}"/>
                      </a:ext>
                    </a:extLst>
                  </p:cNvPr>
                  <p:cNvSpPr/>
                  <p:nvPr/>
                </p:nvSpPr>
                <p:spPr>
                  <a:xfrm>
                    <a:off x="-12205541" y="5475665"/>
                    <a:ext cx="265034" cy="329937"/>
                  </a:xfrm>
                  <a:custGeom>
                    <a:avLst/>
                    <a:gdLst>
                      <a:gd name="connsiteX0" fmla="*/ 108707 w 265034"/>
                      <a:gd name="connsiteY0" fmla="*/ 44133 h 329937"/>
                      <a:gd name="connsiteX1" fmla="*/ 55134 w 265034"/>
                      <a:gd name="connsiteY1" fmla="*/ 160192 h 329937"/>
                      <a:gd name="connsiteX2" fmla="*/ 1561 w 265034"/>
                      <a:gd name="connsiteY2" fmla="*/ 241081 h 329937"/>
                      <a:gd name="connsiteX3" fmla="*/ 1561 w 265034"/>
                      <a:gd name="connsiteY3" fmla="*/ 317574 h 329937"/>
                      <a:gd name="connsiteX4" fmla="*/ 245713 w 265034"/>
                      <a:gd name="connsiteY4" fmla="*/ 294714 h 329937"/>
                      <a:gd name="connsiteX5" fmla="*/ 263278 w 265034"/>
                      <a:gd name="connsiteY5" fmla="*/ 154037 h 329937"/>
                      <a:gd name="connsiteX6" fmla="*/ 265034 w 265034"/>
                      <a:gd name="connsiteY6" fmla="*/ 10723 h 329937"/>
                      <a:gd name="connsiteX7" fmla="*/ 125393 w 265034"/>
                      <a:gd name="connsiteY7" fmla="*/ 172 h 329937"/>
                      <a:gd name="connsiteX8" fmla="*/ 108707 w 265034"/>
                      <a:gd name="connsiteY8" fmla="*/ 44133 h 329937"/>
                      <a:gd name="connsiteX9" fmla="*/ 109585 w 265034"/>
                      <a:gd name="connsiteY9" fmla="*/ 44133 h 329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5034" h="329937">
                        <a:moveTo>
                          <a:pt x="108707" y="44133"/>
                        </a:moveTo>
                        <a:cubicBezTo>
                          <a:pt x="108707" y="44133"/>
                          <a:pt x="103437" y="117989"/>
                          <a:pt x="55134" y="160192"/>
                        </a:cubicBezTo>
                        <a:cubicBezTo>
                          <a:pt x="55134" y="160192"/>
                          <a:pt x="5074" y="192723"/>
                          <a:pt x="1561" y="241081"/>
                        </a:cubicBezTo>
                        <a:cubicBezTo>
                          <a:pt x="-1952" y="283284"/>
                          <a:pt x="1561" y="317574"/>
                          <a:pt x="1561" y="317574"/>
                        </a:cubicBezTo>
                        <a:cubicBezTo>
                          <a:pt x="1561" y="317574"/>
                          <a:pt x="200922" y="357140"/>
                          <a:pt x="245713" y="294714"/>
                        </a:cubicBezTo>
                        <a:cubicBezTo>
                          <a:pt x="245713" y="294714"/>
                          <a:pt x="268547" y="204154"/>
                          <a:pt x="263278" y="154037"/>
                        </a:cubicBezTo>
                        <a:cubicBezTo>
                          <a:pt x="258008" y="103921"/>
                          <a:pt x="265034" y="10723"/>
                          <a:pt x="265034" y="10723"/>
                        </a:cubicBezTo>
                        <a:cubicBezTo>
                          <a:pt x="265034" y="10723"/>
                          <a:pt x="133298" y="-1586"/>
                          <a:pt x="125393" y="172"/>
                        </a:cubicBezTo>
                        <a:cubicBezTo>
                          <a:pt x="118368" y="1930"/>
                          <a:pt x="108707" y="44133"/>
                          <a:pt x="108707" y="44133"/>
                        </a:cubicBezTo>
                        <a:lnTo>
                          <a:pt x="109585" y="44133"/>
                        </a:ln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 119">
                    <a:extLst>
                      <a:ext uri="{FF2B5EF4-FFF2-40B4-BE49-F238E27FC236}">
                        <a16:creationId xmlns:a16="http://schemas.microsoft.com/office/drawing/2014/main" id="{C54F691B-F054-ECBB-6174-834E923501AE}"/>
                      </a:ext>
                    </a:extLst>
                  </p:cNvPr>
                  <p:cNvSpPr/>
                  <p:nvPr/>
                </p:nvSpPr>
                <p:spPr>
                  <a:xfrm>
                    <a:off x="-12144260" y="2715053"/>
                    <a:ext cx="329838" cy="862525"/>
                  </a:xfrm>
                  <a:custGeom>
                    <a:avLst/>
                    <a:gdLst>
                      <a:gd name="connsiteX0" fmla="*/ 103633 w 329838"/>
                      <a:gd name="connsiteY0" fmla="*/ 31652 h 862525"/>
                      <a:gd name="connsiteX1" fmla="*/ 189700 w 329838"/>
                      <a:gd name="connsiteY1" fmla="*/ 0 h 862525"/>
                      <a:gd name="connsiteX2" fmla="*/ 305628 w 329838"/>
                      <a:gd name="connsiteY2" fmla="*/ 504678 h 862525"/>
                      <a:gd name="connsiteX3" fmla="*/ 0 w 329838"/>
                      <a:gd name="connsiteY3" fmla="*/ 862525 h 862525"/>
                      <a:gd name="connsiteX4" fmla="*/ 103633 w 329838"/>
                      <a:gd name="connsiteY4" fmla="*/ 31652 h 862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9838" h="862525">
                        <a:moveTo>
                          <a:pt x="103633" y="31652"/>
                        </a:moveTo>
                        <a:lnTo>
                          <a:pt x="189700" y="0"/>
                        </a:lnTo>
                        <a:cubicBezTo>
                          <a:pt x="189700" y="0"/>
                          <a:pt x="399600" y="269924"/>
                          <a:pt x="305628" y="504678"/>
                        </a:cubicBezTo>
                        <a:cubicBezTo>
                          <a:pt x="211656" y="740312"/>
                          <a:pt x="0" y="862525"/>
                          <a:pt x="0" y="862525"/>
                        </a:cubicBezTo>
                        <a:cubicBezTo>
                          <a:pt x="0" y="862525"/>
                          <a:pt x="454051" y="622495"/>
                          <a:pt x="103633" y="3165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 120">
                    <a:extLst>
                      <a:ext uri="{FF2B5EF4-FFF2-40B4-BE49-F238E27FC236}">
                        <a16:creationId xmlns:a16="http://schemas.microsoft.com/office/drawing/2014/main" id="{F2B7E4EB-8B23-89CF-45AF-CD7D21314E3C}"/>
                      </a:ext>
                    </a:extLst>
                  </p:cNvPr>
                  <p:cNvSpPr/>
                  <p:nvPr/>
                </p:nvSpPr>
                <p:spPr>
                  <a:xfrm>
                    <a:off x="-12175876" y="2827120"/>
                    <a:ext cx="360797" cy="516625"/>
                  </a:xfrm>
                  <a:custGeom>
                    <a:avLst/>
                    <a:gdLst>
                      <a:gd name="connsiteX0" fmla="*/ 302994 w 360797"/>
                      <a:gd name="connsiteY0" fmla="*/ 35643 h 516625"/>
                      <a:gd name="connsiteX1" fmla="*/ 319680 w 360797"/>
                      <a:gd name="connsiteY1" fmla="*/ 8387 h 516625"/>
                      <a:gd name="connsiteX2" fmla="*/ 288942 w 360797"/>
                      <a:gd name="connsiteY2" fmla="*/ 3991 h 516625"/>
                      <a:gd name="connsiteX3" fmla="*/ 214291 w 360797"/>
                      <a:gd name="connsiteY3" fmla="*/ 47073 h 516625"/>
                      <a:gd name="connsiteX4" fmla="*/ 189700 w 360797"/>
                      <a:gd name="connsiteY4" fmla="*/ 149064 h 516625"/>
                      <a:gd name="connsiteX5" fmla="*/ 194970 w 360797"/>
                      <a:gd name="connsiteY5" fmla="*/ 210610 h 516625"/>
                      <a:gd name="connsiteX6" fmla="*/ 0 w 360797"/>
                      <a:gd name="connsiteY6" fmla="*/ 415471 h 516625"/>
                      <a:gd name="connsiteX7" fmla="*/ 132615 w 360797"/>
                      <a:gd name="connsiteY7" fmla="*/ 514824 h 516625"/>
                      <a:gd name="connsiteX8" fmla="*/ 262594 w 360797"/>
                      <a:gd name="connsiteY8" fmla="*/ 328427 h 516625"/>
                      <a:gd name="connsiteX9" fmla="*/ 286307 w 360797"/>
                      <a:gd name="connsiteY9" fmla="*/ 224678 h 516625"/>
                      <a:gd name="connsiteX10" fmla="*/ 309141 w 360797"/>
                      <a:gd name="connsiteY10" fmla="*/ 186871 h 516625"/>
                      <a:gd name="connsiteX11" fmla="*/ 355688 w 360797"/>
                      <a:gd name="connsiteY11" fmla="*/ 127083 h 516625"/>
                      <a:gd name="connsiteX12" fmla="*/ 339880 w 360797"/>
                      <a:gd name="connsiteY12" fmla="*/ 98069 h 516625"/>
                      <a:gd name="connsiteX13" fmla="*/ 279281 w 360797"/>
                      <a:gd name="connsiteY13" fmla="*/ 153460 h 516625"/>
                      <a:gd name="connsiteX14" fmla="*/ 346028 w 360797"/>
                      <a:gd name="connsiteY14" fmla="*/ 91914 h 516625"/>
                      <a:gd name="connsiteX15" fmla="*/ 335489 w 360797"/>
                      <a:gd name="connsiteY15" fmla="*/ 61141 h 516625"/>
                      <a:gd name="connsiteX16" fmla="*/ 262594 w 360797"/>
                      <a:gd name="connsiteY16" fmla="*/ 113016 h 516625"/>
                      <a:gd name="connsiteX17" fmla="*/ 329341 w 360797"/>
                      <a:gd name="connsiteY17" fmla="*/ 56745 h 516625"/>
                      <a:gd name="connsiteX18" fmla="*/ 302115 w 360797"/>
                      <a:gd name="connsiteY18" fmla="*/ 35643 h 516625"/>
                      <a:gd name="connsiteX19" fmla="*/ 247664 w 360797"/>
                      <a:gd name="connsiteY19" fmla="*/ 73450 h 516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60797" h="516625">
                        <a:moveTo>
                          <a:pt x="302994" y="35643"/>
                        </a:moveTo>
                        <a:cubicBezTo>
                          <a:pt x="302994" y="35643"/>
                          <a:pt x="328463" y="24213"/>
                          <a:pt x="319680" y="8387"/>
                        </a:cubicBezTo>
                        <a:cubicBezTo>
                          <a:pt x="311776" y="-7439"/>
                          <a:pt x="288942" y="3991"/>
                          <a:pt x="288942" y="3991"/>
                        </a:cubicBezTo>
                        <a:cubicBezTo>
                          <a:pt x="288942" y="3991"/>
                          <a:pt x="230978" y="35643"/>
                          <a:pt x="214291" y="47073"/>
                        </a:cubicBezTo>
                        <a:cubicBezTo>
                          <a:pt x="197605" y="58503"/>
                          <a:pt x="180918" y="84880"/>
                          <a:pt x="189700" y="149064"/>
                        </a:cubicBezTo>
                        <a:cubicBezTo>
                          <a:pt x="191457" y="180716"/>
                          <a:pt x="194970" y="210610"/>
                          <a:pt x="194970" y="210610"/>
                        </a:cubicBezTo>
                        <a:cubicBezTo>
                          <a:pt x="194970" y="232591"/>
                          <a:pt x="0" y="415471"/>
                          <a:pt x="0" y="415471"/>
                        </a:cubicBezTo>
                        <a:cubicBezTo>
                          <a:pt x="0" y="415471"/>
                          <a:pt x="26347" y="532409"/>
                          <a:pt x="132615" y="514824"/>
                        </a:cubicBezTo>
                        <a:lnTo>
                          <a:pt x="262594" y="328427"/>
                        </a:lnTo>
                        <a:cubicBezTo>
                          <a:pt x="283672" y="294137"/>
                          <a:pt x="285429" y="263364"/>
                          <a:pt x="286307" y="224678"/>
                        </a:cubicBezTo>
                        <a:cubicBezTo>
                          <a:pt x="290698" y="207973"/>
                          <a:pt x="304750" y="193026"/>
                          <a:pt x="309141" y="186871"/>
                        </a:cubicBezTo>
                        <a:cubicBezTo>
                          <a:pt x="309141" y="186871"/>
                          <a:pt x="344271" y="140272"/>
                          <a:pt x="355688" y="127083"/>
                        </a:cubicBezTo>
                        <a:cubicBezTo>
                          <a:pt x="367105" y="113895"/>
                          <a:pt x="358323" y="89276"/>
                          <a:pt x="339880" y="98069"/>
                        </a:cubicBezTo>
                        <a:cubicBezTo>
                          <a:pt x="329341" y="103344"/>
                          <a:pt x="279281" y="153460"/>
                          <a:pt x="279281" y="153460"/>
                        </a:cubicBezTo>
                        <a:lnTo>
                          <a:pt x="346028" y="91914"/>
                        </a:lnTo>
                        <a:cubicBezTo>
                          <a:pt x="353053" y="85759"/>
                          <a:pt x="352175" y="55866"/>
                          <a:pt x="335489" y="61141"/>
                        </a:cubicBezTo>
                        <a:cubicBezTo>
                          <a:pt x="324071" y="64658"/>
                          <a:pt x="262594" y="113016"/>
                          <a:pt x="262594" y="113016"/>
                        </a:cubicBezTo>
                        <a:lnTo>
                          <a:pt x="329341" y="56745"/>
                        </a:lnTo>
                        <a:cubicBezTo>
                          <a:pt x="339880" y="45315"/>
                          <a:pt x="329341" y="18059"/>
                          <a:pt x="302115" y="35643"/>
                        </a:cubicBezTo>
                        <a:cubicBezTo>
                          <a:pt x="274890" y="53228"/>
                          <a:pt x="272255" y="53228"/>
                          <a:pt x="247664" y="73450"/>
                        </a:cubicBezTo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 121">
                    <a:extLst>
                      <a:ext uri="{FF2B5EF4-FFF2-40B4-BE49-F238E27FC236}">
                        <a16:creationId xmlns:a16="http://schemas.microsoft.com/office/drawing/2014/main" id="{B3DF35B7-AAA7-D9BA-606F-5B0384CD54F7}"/>
                      </a:ext>
                    </a:extLst>
                  </p:cNvPr>
                  <p:cNvSpPr/>
                  <p:nvPr/>
                </p:nvSpPr>
                <p:spPr>
                  <a:xfrm>
                    <a:off x="-11478552" y="3895859"/>
                    <a:ext cx="167744" cy="84406"/>
                  </a:xfrm>
                  <a:custGeom>
                    <a:avLst/>
                    <a:gdLst>
                      <a:gd name="connsiteX0" fmla="*/ 123832 w 167744"/>
                      <a:gd name="connsiteY0" fmla="*/ 84406 h 84406"/>
                      <a:gd name="connsiteX1" fmla="*/ 167744 w 167744"/>
                      <a:gd name="connsiteY1" fmla="*/ 21981 h 84406"/>
                      <a:gd name="connsiteX2" fmla="*/ 62355 w 167744"/>
                      <a:gd name="connsiteY2" fmla="*/ 0 h 84406"/>
                      <a:gd name="connsiteX3" fmla="*/ 0 w 167744"/>
                      <a:gd name="connsiteY3" fmla="*/ 2638 h 84406"/>
                      <a:gd name="connsiteX4" fmla="*/ 123832 w 167744"/>
                      <a:gd name="connsiteY4" fmla="*/ 83527 h 84406"/>
                      <a:gd name="connsiteX5" fmla="*/ 123832 w 167744"/>
                      <a:gd name="connsiteY5" fmla="*/ 83527 h 84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7744" h="84406">
                        <a:moveTo>
                          <a:pt x="123832" y="84406"/>
                        </a:moveTo>
                        <a:lnTo>
                          <a:pt x="167744" y="21981"/>
                        </a:lnTo>
                        <a:lnTo>
                          <a:pt x="62355" y="0"/>
                        </a:lnTo>
                        <a:cubicBezTo>
                          <a:pt x="62355" y="0"/>
                          <a:pt x="26347" y="2638"/>
                          <a:pt x="0" y="2638"/>
                        </a:cubicBezTo>
                        <a:cubicBezTo>
                          <a:pt x="50938" y="60667"/>
                          <a:pt x="123832" y="83527"/>
                          <a:pt x="123832" y="83527"/>
                        </a:cubicBezTo>
                        <a:lnTo>
                          <a:pt x="123832" y="8352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10" name="Freeform 109">
                  <a:extLst>
                    <a:ext uri="{FF2B5EF4-FFF2-40B4-BE49-F238E27FC236}">
                      <a16:creationId xmlns:a16="http://schemas.microsoft.com/office/drawing/2014/main" id="{2307F8F5-B9EA-722D-1A87-3361A819DC47}"/>
                    </a:ext>
                  </a:extLst>
                </p:cNvPr>
                <p:cNvSpPr/>
                <p:nvPr/>
              </p:nvSpPr>
              <p:spPr>
                <a:xfrm>
                  <a:off x="-11431157" y="3442176"/>
                  <a:ext cx="73802" cy="454562"/>
                </a:xfrm>
                <a:custGeom>
                  <a:avLst/>
                  <a:gdLst>
                    <a:gd name="connsiteX0" fmla="*/ 14960 w 73802"/>
                    <a:gd name="connsiteY0" fmla="*/ 454562 h 454562"/>
                    <a:gd name="connsiteX1" fmla="*/ 30 w 73802"/>
                    <a:gd name="connsiteY1" fmla="*/ 398291 h 454562"/>
                    <a:gd name="connsiteX2" fmla="*/ 73802 w 73802"/>
                    <a:gd name="connsiteY2" fmla="*/ 0 h 454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802" h="454562">
                      <a:moveTo>
                        <a:pt x="14960" y="454562"/>
                      </a:moveTo>
                      <a:cubicBezTo>
                        <a:pt x="30" y="437857"/>
                        <a:pt x="30" y="430823"/>
                        <a:pt x="30" y="398291"/>
                      </a:cubicBezTo>
                      <a:cubicBezTo>
                        <a:pt x="-1726" y="251460"/>
                        <a:pt x="73802" y="134522"/>
                        <a:pt x="73802" y="0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eform 110">
                  <a:extLst>
                    <a:ext uri="{FF2B5EF4-FFF2-40B4-BE49-F238E27FC236}">
                      <a16:creationId xmlns:a16="http://schemas.microsoft.com/office/drawing/2014/main" id="{CD1A4EF9-7C96-2177-D7E0-61BAA8D1FF60}"/>
                    </a:ext>
                  </a:extLst>
                </p:cNvPr>
                <p:cNvSpPr/>
                <p:nvPr/>
              </p:nvSpPr>
              <p:spPr>
                <a:xfrm>
                  <a:off x="-12279509" y="3211427"/>
                  <a:ext cx="132614" cy="54023"/>
                </a:xfrm>
                <a:custGeom>
                  <a:avLst/>
                  <a:gdLst>
                    <a:gd name="connsiteX0" fmla="*/ 132615 w 132614"/>
                    <a:gd name="connsiteY0" fmla="*/ 3908 h 54023"/>
                    <a:gd name="connsiteX1" fmla="*/ 92215 w 132614"/>
                    <a:gd name="connsiteY1" fmla="*/ 3908 h 54023"/>
                    <a:gd name="connsiteX2" fmla="*/ 0 w 132614"/>
                    <a:gd name="connsiteY2" fmla="*/ 54024 h 54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2614" h="54023">
                      <a:moveTo>
                        <a:pt x="132615" y="3908"/>
                      </a:moveTo>
                      <a:cubicBezTo>
                        <a:pt x="132615" y="3908"/>
                        <a:pt x="118563" y="-4885"/>
                        <a:pt x="92215" y="3908"/>
                      </a:cubicBezTo>
                      <a:cubicBezTo>
                        <a:pt x="74651" y="9183"/>
                        <a:pt x="0" y="54024"/>
                        <a:pt x="0" y="54024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eform 111">
                  <a:extLst>
                    <a:ext uri="{FF2B5EF4-FFF2-40B4-BE49-F238E27FC236}">
                      <a16:creationId xmlns:a16="http://schemas.microsoft.com/office/drawing/2014/main" id="{6A82AD31-CD82-E7F1-E0FE-013C97307EE5}"/>
                    </a:ext>
                  </a:extLst>
                </p:cNvPr>
                <p:cNvSpPr/>
                <p:nvPr/>
              </p:nvSpPr>
              <p:spPr>
                <a:xfrm>
                  <a:off x="-12031845" y="3319084"/>
                  <a:ext cx="21923" cy="111662"/>
                </a:xfrm>
                <a:custGeom>
                  <a:avLst/>
                  <a:gdLst>
                    <a:gd name="connsiteX0" fmla="*/ 5270 w 21923"/>
                    <a:gd name="connsiteY0" fmla="*/ 0 h 111662"/>
                    <a:gd name="connsiteX1" fmla="*/ 21078 w 21923"/>
                    <a:gd name="connsiteY1" fmla="*/ 50116 h 111662"/>
                    <a:gd name="connsiteX2" fmla="*/ 0 w 21923"/>
                    <a:gd name="connsiteY2" fmla="*/ 111662 h 11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923" h="111662">
                      <a:moveTo>
                        <a:pt x="5270" y="0"/>
                      </a:moveTo>
                      <a:cubicBezTo>
                        <a:pt x="5270" y="0"/>
                        <a:pt x="26347" y="28135"/>
                        <a:pt x="21078" y="50116"/>
                      </a:cubicBezTo>
                      <a:cubicBezTo>
                        <a:pt x="15808" y="72976"/>
                        <a:pt x="0" y="111662"/>
                        <a:pt x="0" y="111662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3" name="Graphic 6">
                <a:extLst>
                  <a:ext uri="{FF2B5EF4-FFF2-40B4-BE49-F238E27FC236}">
                    <a16:creationId xmlns:a16="http://schemas.microsoft.com/office/drawing/2014/main" id="{AD4124C1-0ED7-A96B-4C56-E5BF142834D9}"/>
                  </a:ext>
                </a:extLst>
              </p:cNvPr>
              <p:cNvGrpSpPr/>
              <p:nvPr/>
            </p:nvGrpSpPr>
            <p:grpSpPr>
              <a:xfrm>
                <a:off x="-10159651" y="3689492"/>
                <a:ext cx="1772053" cy="2111660"/>
                <a:chOff x="-10159651" y="3689492"/>
                <a:chExt cx="1772053" cy="2111660"/>
              </a:xfrm>
            </p:grpSpPr>
            <p:grpSp>
              <p:nvGrpSpPr>
                <p:cNvPr id="94" name="Graphic 6">
                  <a:extLst>
                    <a:ext uri="{FF2B5EF4-FFF2-40B4-BE49-F238E27FC236}">
                      <a16:creationId xmlns:a16="http://schemas.microsoft.com/office/drawing/2014/main" id="{6DFBFD7E-44B4-85B8-D681-DD36236AC93F}"/>
                    </a:ext>
                  </a:extLst>
                </p:cNvPr>
                <p:cNvGrpSpPr/>
                <p:nvPr/>
              </p:nvGrpSpPr>
              <p:grpSpPr>
                <a:xfrm>
                  <a:off x="-10145379" y="3689492"/>
                  <a:ext cx="1583761" cy="2111660"/>
                  <a:chOff x="-10145379" y="3689492"/>
                  <a:chExt cx="1583761" cy="2111660"/>
                </a:xfrm>
              </p:grpSpPr>
              <p:sp>
                <p:nvSpPr>
                  <p:cNvPr id="100" name="Freeform 99">
                    <a:extLst>
                      <a:ext uri="{FF2B5EF4-FFF2-40B4-BE49-F238E27FC236}">
                        <a16:creationId xmlns:a16="http://schemas.microsoft.com/office/drawing/2014/main" id="{BF6B3F99-312C-AF22-9345-81905E306CC3}"/>
                      </a:ext>
                    </a:extLst>
                  </p:cNvPr>
                  <p:cNvSpPr/>
                  <p:nvPr/>
                </p:nvSpPr>
                <p:spPr>
                  <a:xfrm>
                    <a:off x="-9701867" y="5162831"/>
                    <a:ext cx="224829" cy="623972"/>
                  </a:xfrm>
                  <a:custGeom>
                    <a:avLst/>
                    <a:gdLst>
                      <a:gd name="connsiteX0" fmla="*/ 103633 w 224829"/>
                      <a:gd name="connsiteY0" fmla="*/ 612824 h 623972"/>
                      <a:gd name="connsiteX1" fmla="*/ 90459 w 224829"/>
                      <a:gd name="connsiteY1" fmla="*/ 563587 h 623972"/>
                      <a:gd name="connsiteX2" fmla="*/ 96607 w 224829"/>
                      <a:gd name="connsiteY2" fmla="*/ 496765 h 623972"/>
                      <a:gd name="connsiteX3" fmla="*/ 28104 w 224829"/>
                      <a:gd name="connsiteY3" fmla="*/ 125730 h 623972"/>
                      <a:gd name="connsiteX4" fmla="*/ 0 w 224829"/>
                      <a:gd name="connsiteY4" fmla="*/ 4396 h 623972"/>
                      <a:gd name="connsiteX5" fmla="*/ 180040 w 224829"/>
                      <a:gd name="connsiteY5" fmla="*/ 0 h 623972"/>
                      <a:gd name="connsiteX6" fmla="*/ 185309 w 224829"/>
                      <a:gd name="connsiteY6" fmla="*/ 118696 h 623972"/>
                      <a:gd name="connsiteX7" fmla="*/ 194970 w 224829"/>
                      <a:gd name="connsiteY7" fmla="*/ 517867 h 623972"/>
                      <a:gd name="connsiteX8" fmla="*/ 224830 w 224829"/>
                      <a:gd name="connsiteY8" fmla="*/ 556553 h 623972"/>
                      <a:gd name="connsiteX9" fmla="*/ 103633 w 224829"/>
                      <a:gd name="connsiteY9" fmla="*/ 612824 h 623972"/>
                      <a:gd name="connsiteX10" fmla="*/ 103633 w 224829"/>
                      <a:gd name="connsiteY10" fmla="*/ 612824 h 623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24829" h="623972">
                        <a:moveTo>
                          <a:pt x="103633" y="612824"/>
                        </a:moveTo>
                        <a:cubicBezTo>
                          <a:pt x="103633" y="612824"/>
                          <a:pt x="83433" y="589964"/>
                          <a:pt x="90459" y="563587"/>
                        </a:cubicBezTo>
                        <a:cubicBezTo>
                          <a:pt x="97485" y="537210"/>
                          <a:pt x="108024" y="528418"/>
                          <a:pt x="96607" y="496765"/>
                        </a:cubicBezTo>
                        <a:cubicBezTo>
                          <a:pt x="96607" y="496765"/>
                          <a:pt x="10539" y="196069"/>
                          <a:pt x="28104" y="125730"/>
                        </a:cubicBezTo>
                        <a:cubicBezTo>
                          <a:pt x="18443" y="85285"/>
                          <a:pt x="0" y="4396"/>
                          <a:pt x="0" y="4396"/>
                        </a:cubicBezTo>
                        <a:lnTo>
                          <a:pt x="180040" y="0"/>
                        </a:lnTo>
                        <a:lnTo>
                          <a:pt x="185309" y="118696"/>
                        </a:lnTo>
                        <a:lnTo>
                          <a:pt x="194970" y="517867"/>
                        </a:lnTo>
                        <a:lnTo>
                          <a:pt x="224830" y="556553"/>
                        </a:lnTo>
                        <a:cubicBezTo>
                          <a:pt x="224830" y="556553"/>
                          <a:pt x="134371" y="656785"/>
                          <a:pt x="103633" y="612824"/>
                        </a:cubicBezTo>
                        <a:lnTo>
                          <a:pt x="103633" y="612824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1" name="Freeform 100">
                    <a:extLst>
                      <a:ext uri="{FF2B5EF4-FFF2-40B4-BE49-F238E27FC236}">
                        <a16:creationId xmlns:a16="http://schemas.microsoft.com/office/drawing/2014/main" id="{C24BEE25-64D7-1A33-75B7-C7D629D45EA0}"/>
                      </a:ext>
                    </a:extLst>
                  </p:cNvPr>
                  <p:cNvSpPr/>
                  <p:nvPr/>
                </p:nvSpPr>
                <p:spPr>
                  <a:xfrm>
                    <a:off x="-9620519" y="5684214"/>
                    <a:ext cx="289335" cy="116937"/>
                  </a:xfrm>
                  <a:custGeom>
                    <a:avLst/>
                    <a:gdLst>
                      <a:gd name="connsiteX0" fmla="*/ 276096 w 289335"/>
                      <a:gd name="connsiteY0" fmla="*/ 61546 h 116937"/>
                      <a:gd name="connsiteX1" fmla="*/ 129430 w 289335"/>
                      <a:gd name="connsiteY1" fmla="*/ 0 h 116937"/>
                      <a:gd name="connsiteX2" fmla="*/ 99569 w 289335"/>
                      <a:gd name="connsiteY2" fmla="*/ 76493 h 116937"/>
                      <a:gd name="connsiteX3" fmla="*/ 328 w 289335"/>
                      <a:gd name="connsiteY3" fmla="*/ 76493 h 116937"/>
                      <a:gd name="connsiteX4" fmla="*/ 7354 w 289335"/>
                      <a:gd name="connsiteY4" fmla="*/ 114300 h 116937"/>
                      <a:gd name="connsiteX5" fmla="*/ 264679 w 289335"/>
                      <a:gd name="connsiteY5" fmla="*/ 116938 h 116937"/>
                      <a:gd name="connsiteX6" fmla="*/ 276096 w 289335"/>
                      <a:gd name="connsiteY6" fmla="*/ 60667 h 116937"/>
                      <a:gd name="connsiteX7" fmla="*/ 276096 w 289335"/>
                      <a:gd name="connsiteY7" fmla="*/ 60667 h 116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89335" h="116937">
                        <a:moveTo>
                          <a:pt x="276096" y="61546"/>
                        </a:moveTo>
                        <a:cubicBezTo>
                          <a:pt x="246236" y="36049"/>
                          <a:pt x="129430" y="0"/>
                          <a:pt x="129430" y="0"/>
                        </a:cubicBezTo>
                        <a:cubicBezTo>
                          <a:pt x="129430" y="0"/>
                          <a:pt x="125039" y="72097"/>
                          <a:pt x="99569" y="76493"/>
                        </a:cubicBezTo>
                        <a:cubicBezTo>
                          <a:pt x="74101" y="80889"/>
                          <a:pt x="328" y="76493"/>
                          <a:pt x="328" y="76493"/>
                        </a:cubicBezTo>
                        <a:cubicBezTo>
                          <a:pt x="328" y="76493"/>
                          <a:pt x="-2306" y="109904"/>
                          <a:pt x="7354" y="114300"/>
                        </a:cubicBezTo>
                        <a:cubicBezTo>
                          <a:pt x="14380" y="116938"/>
                          <a:pt x="249749" y="116938"/>
                          <a:pt x="264679" y="116938"/>
                        </a:cubicBezTo>
                        <a:cubicBezTo>
                          <a:pt x="279609" y="116938"/>
                          <a:pt x="305078" y="86164"/>
                          <a:pt x="276096" y="60667"/>
                        </a:cubicBezTo>
                        <a:lnTo>
                          <a:pt x="276096" y="60667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02" name="Graphic 6">
                    <a:extLst>
                      <a:ext uri="{FF2B5EF4-FFF2-40B4-BE49-F238E27FC236}">
                        <a16:creationId xmlns:a16="http://schemas.microsoft.com/office/drawing/2014/main" id="{ABE63F24-16F9-3FA1-981D-E02412F6393B}"/>
                      </a:ext>
                    </a:extLst>
                  </p:cNvPr>
                  <p:cNvGrpSpPr/>
                  <p:nvPr/>
                </p:nvGrpSpPr>
                <p:grpSpPr>
                  <a:xfrm>
                    <a:off x="-10000469" y="4565833"/>
                    <a:ext cx="972045" cy="1224518"/>
                    <a:chOff x="-10000469" y="4565833"/>
                    <a:chExt cx="972045" cy="1224518"/>
                  </a:xfrm>
                </p:grpSpPr>
                <p:sp>
                  <p:nvSpPr>
                    <p:cNvPr id="107" name="Freeform 106">
                      <a:extLst>
                        <a:ext uri="{FF2B5EF4-FFF2-40B4-BE49-F238E27FC236}">
                          <a16:creationId xmlns:a16="http://schemas.microsoft.com/office/drawing/2014/main" id="{10F8E3EB-33F2-41B0-75BD-35D5FDE1A1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967975" y="5144367"/>
                      <a:ext cx="182674" cy="645984"/>
                    </a:xfrm>
                    <a:custGeom>
                      <a:avLst/>
                      <a:gdLst>
                        <a:gd name="connsiteX0" fmla="*/ 113293 w 182674"/>
                        <a:gd name="connsiteY0" fmla="*/ 605790 h 645984"/>
                        <a:gd name="connsiteX1" fmla="*/ 106267 w 182674"/>
                        <a:gd name="connsiteY1" fmla="*/ 513471 h 645984"/>
                        <a:gd name="connsiteX2" fmla="*/ 182675 w 182674"/>
                        <a:gd name="connsiteY2" fmla="*/ 7034 h 645984"/>
                        <a:gd name="connsiteX3" fmla="*/ 0 w 182674"/>
                        <a:gd name="connsiteY3" fmla="*/ 0 h 645984"/>
                        <a:gd name="connsiteX4" fmla="*/ 20200 w 182674"/>
                        <a:gd name="connsiteY4" fmla="*/ 512591 h 645984"/>
                        <a:gd name="connsiteX5" fmla="*/ 2635 w 182674"/>
                        <a:gd name="connsiteY5" fmla="*/ 622495 h 645984"/>
                        <a:gd name="connsiteX6" fmla="*/ 113293 w 182674"/>
                        <a:gd name="connsiteY6" fmla="*/ 606669 h 645984"/>
                        <a:gd name="connsiteX7" fmla="*/ 113293 w 182674"/>
                        <a:gd name="connsiteY7" fmla="*/ 606669 h 6459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82674" h="645984">
                          <a:moveTo>
                            <a:pt x="113293" y="605790"/>
                          </a:moveTo>
                          <a:cubicBezTo>
                            <a:pt x="113293" y="605790"/>
                            <a:pt x="94850" y="545123"/>
                            <a:pt x="106267" y="513471"/>
                          </a:cubicBezTo>
                          <a:lnTo>
                            <a:pt x="182675" y="7034"/>
                          </a:lnTo>
                          <a:lnTo>
                            <a:pt x="0" y="0"/>
                          </a:lnTo>
                          <a:lnTo>
                            <a:pt x="20200" y="512591"/>
                          </a:lnTo>
                          <a:cubicBezTo>
                            <a:pt x="20200" y="512591"/>
                            <a:pt x="-6148" y="584688"/>
                            <a:pt x="2635" y="622495"/>
                          </a:cubicBezTo>
                          <a:cubicBezTo>
                            <a:pt x="10539" y="660302"/>
                            <a:pt x="83433" y="650631"/>
                            <a:pt x="113293" y="606669"/>
                          </a:cubicBezTo>
                          <a:lnTo>
                            <a:pt x="113293" y="606669"/>
                          </a:lnTo>
                          <a:close/>
                        </a:path>
                      </a:pathLst>
                    </a:custGeom>
                    <a:solidFill>
                      <a:srgbClr val="DE9C74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" name="Freeform 107">
                      <a:extLst>
                        <a:ext uri="{FF2B5EF4-FFF2-40B4-BE49-F238E27FC236}">
                          <a16:creationId xmlns:a16="http://schemas.microsoft.com/office/drawing/2014/main" id="{F33B019E-A603-0BA0-9988-9676E3FFDC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000469" y="4565833"/>
                      <a:ext cx="499719" cy="602272"/>
                    </a:xfrm>
                    <a:custGeom>
                      <a:avLst/>
                      <a:gdLst>
                        <a:gd name="connsiteX0" fmla="*/ 233612 w 499719"/>
                        <a:gd name="connsiteY0" fmla="*/ 601394 h 602272"/>
                        <a:gd name="connsiteX1" fmla="*/ 0 w 499719"/>
                        <a:gd name="connsiteY1" fmla="*/ 601394 h 602272"/>
                        <a:gd name="connsiteX2" fmla="*/ 20199 w 499719"/>
                        <a:gd name="connsiteY2" fmla="*/ 135401 h 602272"/>
                        <a:gd name="connsiteX3" fmla="*/ 44790 w 499719"/>
                        <a:gd name="connsiteY3" fmla="*/ 45720 h 602272"/>
                        <a:gd name="connsiteX4" fmla="*/ 388183 w 499719"/>
                        <a:gd name="connsiteY4" fmla="*/ 0 h 602272"/>
                        <a:gd name="connsiteX5" fmla="*/ 449660 w 499719"/>
                        <a:gd name="connsiteY5" fmla="*/ 124851 h 602272"/>
                        <a:gd name="connsiteX6" fmla="*/ 499720 w 499719"/>
                        <a:gd name="connsiteY6" fmla="*/ 596998 h 602272"/>
                        <a:gd name="connsiteX7" fmla="*/ 274890 w 499719"/>
                        <a:gd name="connsiteY7" fmla="*/ 602273 h 602272"/>
                        <a:gd name="connsiteX8" fmla="*/ 259960 w 499719"/>
                        <a:gd name="connsiteY8" fmla="*/ 366639 h 602272"/>
                        <a:gd name="connsiteX9" fmla="*/ 238882 w 499719"/>
                        <a:gd name="connsiteY9" fmla="*/ 371915 h 602272"/>
                        <a:gd name="connsiteX10" fmla="*/ 233612 w 499719"/>
                        <a:gd name="connsiteY10" fmla="*/ 602273 h 602272"/>
                        <a:gd name="connsiteX11" fmla="*/ 233612 w 499719"/>
                        <a:gd name="connsiteY11" fmla="*/ 602273 h 6022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499719" h="602272">
                          <a:moveTo>
                            <a:pt x="233612" y="601394"/>
                          </a:moveTo>
                          <a:lnTo>
                            <a:pt x="0" y="601394"/>
                          </a:lnTo>
                          <a:lnTo>
                            <a:pt x="20199" y="135401"/>
                          </a:lnTo>
                          <a:lnTo>
                            <a:pt x="44790" y="45720"/>
                          </a:lnTo>
                          <a:lnTo>
                            <a:pt x="388183" y="0"/>
                          </a:lnTo>
                          <a:lnTo>
                            <a:pt x="449660" y="124851"/>
                          </a:lnTo>
                          <a:cubicBezTo>
                            <a:pt x="462834" y="160020"/>
                            <a:pt x="499720" y="596998"/>
                            <a:pt x="499720" y="596998"/>
                          </a:cubicBezTo>
                          <a:lnTo>
                            <a:pt x="274890" y="602273"/>
                          </a:lnTo>
                          <a:lnTo>
                            <a:pt x="259960" y="366639"/>
                          </a:lnTo>
                          <a:lnTo>
                            <a:pt x="238882" y="371915"/>
                          </a:lnTo>
                          <a:lnTo>
                            <a:pt x="233612" y="602273"/>
                          </a:lnTo>
                          <a:lnTo>
                            <a:pt x="233612" y="602273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03" name="Freeform 102">
                    <a:extLst>
                      <a:ext uri="{FF2B5EF4-FFF2-40B4-BE49-F238E27FC236}">
                        <a16:creationId xmlns:a16="http://schemas.microsoft.com/office/drawing/2014/main" id="{B32C0652-B5C6-856B-8E41-6E6A06B1F383}"/>
                      </a:ext>
                    </a:extLst>
                  </p:cNvPr>
                  <p:cNvSpPr/>
                  <p:nvPr/>
                </p:nvSpPr>
                <p:spPr>
                  <a:xfrm>
                    <a:off x="-10145379" y="4042691"/>
                    <a:ext cx="736845" cy="653268"/>
                  </a:xfrm>
                  <a:custGeom>
                    <a:avLst/>
                    <a:gdLst>
                      <a:gd name="connsiteX0" fmla="*/ 95728 w 736845"/>
                      <a:gd name="connsiteY0" fmla="*/ 109025 h 653268"/>
                      <a:gd name="connsiteX1" fmla="*/ 230978 w 736845"/>
                      <a:gd name="connsiteY1" fmla="*/ 19343 h 653268"/>
                      <a:gd name="connsiteX2" fmla="*/ 413652 w 736845"/>
                      <a:gd name="connsiteY2" fmla="*/ 0 h 653268"/>
                      <a:gd name="connsiteX3" fmla="*/ 555049 w 736845"/>
                      <a:gd name="connsiteY3" fmla="*/ 23739 h 653268"/>
                      <a:gd name="connsiteX4" fmla="*/ 663951 w 736845"/>
                      <a:gd name="connsiteY4" fmla="*/ 91440 h 653268"/>
                      <a:gd name="connsiteX5" fmla="*/ 736845 w 736845"/>
                      <a:gd name="connsiteY5" fmla="*/ 383345 h 653268"/>
                      <a:gd name="connsiteX6" fmla="*/ 610379 w 736845"/>
                      <a:gd name="connsiteY6" fmla="*/ 413238 h 653268"/>
                      <a:gd name="connsiteX7" fmla="*/ 613892 w 736845"/>
                      <a:gd name="connsiteY7" fmla="*/ 302455 h 653268"/>
                      <a:gd name="connsiteX8" fmla="*/ 603352 w 736845"/>
                      <a:gd name="connsiteY8" fmla="*/ 648872 h 653268"/>
                      <a:gd name="connsiteX9" fmla="*/ 152814 w 736845"/>
                      <a:gd name="connsiteY9" fmla="*/ 653269 h 653268"/>
                      <a:gd name="connsiteX10" fmla="*/ 172135 w 736845"/>
                      <a:gd name="connsiteY10" fmla="*/ 314765 h 653268"/>
                      <a:gd name="connsiteX11" fmla="*/ 133493 w 736845"/>
                      <a:gd name="connsiteY11" fmla="*/ 414997 h 653268"/>
                      <a:gd name="connsiteX12" fmla="*/ 0 w 736845"/>
                      <a:gd name="connsiteY12" fmla="*/ 327074 h 653268"/>
                      <a:gd name="connsiteX13" fmla="*/ 96607 w 736845"/>
                      <a:gd name="connsiteY13" fmla="*/ 110783 h 653268"/>
                      <a:gd name="connsiteX14" fmla="*/ 96607 w 736845"/>
                      <a:gd name="connsiteY14" fmla="*/ 109025 h 6532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736845" h="653268">
                        <a:moveTo>
                          <a:pt x="95728" y="109025"/>
                        </a:moveTo>
                        <a:cubicBezTo>
                          <a:pt x="137006" y="36049"/>
                          <a:pt x="230978" y="19343"/>
                          <a:pt x="230978" y="19343"/>
                        </a:cubicBezTo>
                        <a:cubicBezTo>
                          <a:pt x="230978" y="19343"/>
                          <a:pt x="310898" y="2638"/>
                          <a:pt x="413652" y="0"/>
                        </a:cubicBezTo>
                        <a:cubicBezTo>
                          <a:pt x="518163" y="4396"/>
                          <a:pt x="555049" y="23739"/>
                          <a:pt x="555049" y="23739"/>
                        </a:cubicBezTo>
                        <a:cubicBezTo>
                          <a:pt x="598083" y="38686"/>
                          <a:pt x="645508" y="63305"/>
                          <a:pt x="663951" y="91440"/>
                        </a:cubicBezTo>
                        <a:cubicBezTo>
                          <a:pt x="685029" y="122213"/>
                          <a:pt x="716646" y="252339"/>
                          <a:pt x="736845" y="383345"/>
                        </a:cubicBezTo>
                        <a:lnTo>
                          <a:pt x="610379" y="413238"/>
                        </a:lnTo>
                        <a:lnTo>
                          <a:pt x="613892" y="302455"/>
                        </a:lnTo>
                        <a:lnTo>
                          <a:pt x="603352" y="648872"/>
                        </a:lnTo>
                        <a:lnTo>
                          <a:pt x="152814" y="653269"/>
                        </a:lnTo>
                        <a:cubicBezTo>
                          <a:pt x="152814" y="653269"/>
                          <a:pt x="170379" y="452804"/>
                          <a:pt x="172135" y="314765"/>
                        </a:cubicBezTo>
                        <a:lnTo>
                          <a:pt x="133493" y="414997"/>
                        </a:lnTo>
                        <a:cubicBezTo>
                          <a:pt x="133493" y="414997"/>
                          <a:pt x="36008" y="371915"/>
                          <a:pt x="0" y="327074"/>
                        </a:cubicBezTo>
                        <a:cubicBezTo>
                          <a:pt x="12295" y="284871"/>
                          <a:pt x="55329" y="182880"/>
                          <a:pt x="96607" y="110783"/>
                        </a:cubicBezTo>
                        <a:lnTo>
                          <a:pt x="96607" y="1090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4" name="Freeform 103">
                    <a:extLst>
                      <a:ext uri="{FF2B5EF4-FFF2-40B4-BE49-F238E27FC236}">
                        <a16:creationId xmlns:a16="http://schemas.microsoft.com/office/drawing/2014/main" id="{350BD8A7-1D44-2EF1-C074-19D4D553BC25}"/>
                      </a:ext>
                    </a:extLst>
                  </p:cNvPr>
                  <p:cNvSpPr/>
                  <p:nvPr/>
                </p:nvSpPr>
                <p:spPr>
                  <a:xfrm>
                    <a:off x="-9872246" y="3894980"/>
                    <a:ext cx="243273" cy="239150"/>
                  </a:xfrm>
                  <a:custGeom>
                    <a:avLst/>
                    <a:gdLst>
                      <a:gd name="connsiteX0" fmla="*/ 0 w 243273"/>
                      <a:gd name="connsiteY0" fmla="*/ 160899 h 239150"/>
                      <a:gd name="connsiteX1" fmla="*/ 58842 w 243273"/>
                      <a:gd name="connsiteY1" fmla="*/ 152107 h 239150"/>
                      <a:gd name="connsiteX2" fmla="*/ 65868 w 243273"/>
                      <a:gd name="connsiteY2" fmla="*/ 0 h 239150"/>
                      <a:gd name="connsiteX3" fmla="*/ 195848 w 243273"/>
                      <a:gd name="connsiteY3" fmla="*/ 43962 h 239150"/>
                      <a:gd name="connsiteX4" fmla="*/ 191457 w 243273"/>
                      <a:gd name="connsiteY4" fmla="*/ 150349 h 239150"/>
                      <a:gd name="connsiteX5" fmla="*/ 243273 w 243273"/>
                      <a:gd name="connsiteY5" fmla="*/ 159141 h 239150"/>
                      <a:gd name="connsiteX6" fmla="*/ 122076 w 243273"/>
                      <a:gd name="connsiteY6" fmla="*/ 239151 h 239150"/>
                      <a:gd name="connsiteX7" fmla="*/ 0 w 243273"/>
                      <a:gd name="connsiteY7" fmla="*/ 160899 h 239150"/>
                      <a:gd name="connsiteX8" fmla="*/ 0 w 243273"/>
                      <a:gd name="connsiteY8" fmla="*/ 160899 h 239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3273" h="239150">
                        <a:moveTo>
                          <a:pt x="0" y="160899"/>
                        </a:moveTo>
                        <a:lnTo>
                          <a:pt x="58842" y="152107"/>
                        </a:lnTo>
                        <a:lnTo>
                          <a:pt x="65868" y="0"/>
                        </a:lnTo>
                        <a:lnTo>
                          <a:pt x="195848" y="43962"/>
                        </a:lnTo>
                        <a:lnTo>
                          <a:pt x="191457" y="150349"/>
                        </a:lnTo>
                        <a:lnTo>
                          <a:pt x="243273" y="159141"/>
                        </a:lnTo>
                        <a:cubicBezTo>
                          <a:pt x="243273" y="159141"/>
                          <a:pt x="218683" y="239151"/>
                          <a:pt x="122076" y="239151"/>
                        </a:cubicBezTo>
                        <a:cubicBezTo>
                          <a:pt x="25469" y="239151"/>
                          <a:pt x="0" y="160899"/>
                          <a:pt x="0" y="160899"/>
                        </a:cubicBezTo>
                        <a:lnTo>
                          <a:pt x="0" y="160899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5" name="Freeform 104">
                    <a:extLst>
                      <a:ext uri="{FF2B5EF4-FFF2-40B4-BE49-F238E27FC236}">
                        <a16:creationId xmlns:a16="http://schemas.microsoft.com/office/drawing/2014/main" id="{28C75DED-FAA0-65F9-F7BA-ED9B5D3EC075}"/>
                      </a:ext>
                    </a:extLst>
                  </p:cNvPr>
                  <p:cNvSpPr/>
                  <p:nvPr/>
                </p:nvSpPr>
                <p:spPr>
                  <a:xfrm>
                    <a:off x="-9812907" y="3743752"/>
                    <a:ext cx="230192" cy="262889"/>
                  </a:xfrm>
                  <a:custGeom>
                    <a:avLst/>
                    <a:gdLst>
                      <a:gd name="connsiteX0" fmla="*/ 23216 w 230192"/>
                      <a:gd name="connsiteY0" fmla="*/ 196068 h 262889"/>
                      <a:gd name="connsiteX1" fmla="*/ 10042 w 230192"/>
                      <a:gd name="connsiteY1" fmla="*/ 176725 h 262889"/>
                      <a:gd name="connsiteX2" fmla="*/ 8286 w 230192"/>
                      <a:gd name="connsiteY2" fmla="*/ 174088 h 262889"/>
                      <a:gd name="connsiteX3" fmla="*/ 48685 w 230192"/>
                      <a:gd name="connsiteY3" fmla="*/ 116059 h 262889"/>
                      <a:gd name="connsiteX4" fmla="*/ 53955 w 230192"/>
                      <a:gd name="connsiteY4" fmla="*/ 104629 h 262889"/>
                      <a:gd name="connsiteX5" fmla="*/ 73276 w 230192"/>
                      <a:gd name="connsiteY5" fmla="*/ 101991 h 262889"/>
                      <a:gd name="connsiteX6" fmla="*/ 68885 w 230192"/>
                      <a:gd name="connsiteY6" fmla="*/ 88802 h 262889"/>
                      <a:gd name="connsiteX7" fmla="*/ 107527 w 230192"/>
                      <a:gd name="connsiteY7" fmla="*/ 30773 h 262889"/>
                      <a:gd name="connsiteX8" fmla="*/ 159344 w 230192"/>
                      <a:gd name="connsiteY8" fmla="*/ 2638 h 262889"/>
                      <a:gd name="connsiteX9" fmla="*/ 167248 w 230192"/>
                      <a:gd name="connsiteY9" fmla="*/ 0 h 262889"/>
                      <a:gd name="connsiteX10" fmla="*/ 193595 w 230192"/>
                      <a:gd name="connsiteY10" fmla="*/ 74735 h 262889"/>
                      <a:gd name="connsiteX11" fmla="*/ 226090 w 230192"/>
                      <a:gd name="connsiteY11" fmla="*/ 116059 h 262889"/>
                      <a:gd name="connsiteX12" fmla="*/ 220821 w 230192"/>
                      <a:gd name="connsiteY12" fmla="*/ 141556 h 262889"/>
                      <a:gd name="connsiteX13" fmla="*/ 220821 w 230192"/>
                      <a:gd name="connsiteY13" fmla="*/ 171450 h 262889"/>
                      <a:gd name="connsiteX14" fmla="*/ 213795 w 230192"/>
                      <a:gd name="connsiteY14" fmla="*/ 186397 h 262889"/>
                      <a:gd name="connsiteX15" fmla="*/ 219064 w 230192"/>
                      <a:gd name="connsiteY15" fmla="*/ 203102 h 262889"/>
                      <a:gd name="connsiteX16" fmla="*/ 212916 w 230192"/>
                      <a:gd name="connsiteY16" fmla="*/ 245305 h 262889"/>
                      <a:gd name="connsiteX17" fmla="*/ 118945 w 230192"/>
                      <a:gd name="connsiteY17" fmla="*/ 262890 h 262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30192" h="262889">
                        <a:moveTo>
                          <a:pt x="23216" y="196068"/>
                        </a:moveTo>
                        <a:cubicBezTo>
                          <a:pt x="17947" y="190793"/>
                          <a:pt x="13555" y="183759"/>
                          <a:pt x="10042" y="176725"/>
                        </a:cubicBezTo>
                        <a:cubicBezTo>
                          <a:pt x="10042" y="175846"/>
                          <a:pt x="9164" y="174967"/>
                          <a:pt x="8286" y="174088"/>
                        </a:cubicBezTo>
                        <a:cubicBezTo>
                          <a:pt x="-16305" y="119575"/>
                          <a:pt x="18825" y="92319"/>
                          <a:pt x="48685" y="116059"/>
                        </a:cubicBezTo>
                        <a:cubicBezTo>
                          <a:pt x="55711" y="121334"/>
                          <a:pt x="48685" y="94078"/>
                          <a:pt x="53955" y="104629"/>
                        </a:cubicBezTo>
                        <a:cubicBezTo>
                          <a:pt x="62737" y="123972"/>
                          <a:pt x="81180" y="131005"/>
                          <a:pt x="73276" y="101991"/>
                        </a:cubicBezTo>
                        <a:cubicBezTo>
                          <a:pt x="73276" y="99353"/>
                          <a:pt x="71519" y="98474"/>
                          <a:pt x="68885" y="88802"/>
                        </a:cubicBezTo>
                        <a:cubicBezTo>
                          <a:pt x="60102" y="62425"/>
                          <a:pt x="85571" y="36928"/>
                          <a:pt x="107527" y="30773"/>
                        </a:cubicBezTo>
                        <a:cubicBezTo>
                          <a:pt x="138266" y="21981"/>
                          <a:pt x="159344" y="2638"/>
                          <a:pt x="159344" y="2638"/>
                        </a:cubicBezTo>
                        <a:cubicBezTo>
                          <a:pt x="159344" y="2638"/>
                          <a:pt x="166370" y="0"/>
                          <a:pt x="167248" y="0"/>
                        </a:cubicBezTo>
                        <a:cubicBezTo>
                          <a:pt x="172517" y="5275"/>
                          <a:pt x="195351" y="35169"/>
                          <a:pt x="193595" y="74735"/>
                        </a:cubicBezTo>
                        <a:cubicBezTo>
                          <a:pt x="193595" y="84406"/>
                          <a:pt x="219942" y="106387"/>
                          <a:pt x="226090" y="116059"/>
                        </a:cubicBezTo>
                        <a:cubicBezTo>
                          <a:pt x="232238" y="125730"/>
                          <a:pt x="232238" y="133643"/>
                          <a:pt x="220821" y="141556"/>
                        </a:cubicBezTo>
                        <a:cubicBezTo>
                          <a:pt x="206769" y="150349"/>
                          <a:pt x="216429" y="167054"/>
                          <a:pt x="220821" y="171450"/>
                        </a:cubicBezTo>
                        <a:cubicBezTo>
                          <a:pt x="225212" y="176725"/>
                          <a:pt x="209403" y="184638"/>
                          <a:pt x="213795" y="186397"/>
                        </a:cubicBezTo>
                        <a:cubicBezTo>
                          <a:pt x="213795" y="186397"/>
                          <a:pt x="224334" y="195189"/>
                          <a:pt x="219064" y="203102"/>
                        </a:cubicBezTo>
                        <a:cubicBezTo>
                          <a:pt x="213795" y="211015"/>
                          <a:pt x="216429" y="236513"/>
                          <a:pt x="212916" y="245305"/>
                        </a:cubicBezTo>
                        <a:cubicBezTo>
                          <a:pt x="206769" y="262011"/>
                          <a:pt x="142657" y="262011"/>
                          <a:pt x="118945" y="262890"/>
                        </a:cubicBezTo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6" name="Freeform 105">
                    <a:extLst>
                      <a:ext uri="{FF2B5EF4-FFF2-40B4-BE49-F238E27FC236}">
                        <a16:creationId xmlns:a16="http://schemas.microsoft.com/office/drawing/2014/main" id="{79257572-AE1E-07C2-B71D-B5870129759B}"/>
                      </a:ext>
                    </a:extLst>
                  </p:cNvPr>
                  <p:cNvSpPr/>
                  <p:nvPr/>
                </p:nvSpPr>
                <p:spPr>
                  <a:xfrm>
                    <a:off x="-9913093" y="3689492"/>
                    <a:ext cx="287769" cy="295389"/>
                  </a:xfrm>
                  <a:custGeom>
                    <a:avLst/>
                    <a:gdLst>
                      <a:gd name="connsiteX0" fmla="*/ 24160 w 287769"/>
                      <a:gd name="connsiteY0" fmla="*/ 76241 h 295389"/>
                      <a:gd name="connsiteX1" fmla="*/ 61047 w 287769"/>
                      <a:gd name="connsiteY1" fmla="*/ 23487 h 295389"/>
                      <a:gd name="connsiteX2" fmla="*/ 174340 w 287769"/>
                      <a:gd name="connsiteY2" fmla="*/ 627 h 295389"/>
                      <a:gd name="connsiteX3" fmla="*/ 271825 w 287769"/>
                      <a:gd name="connsiteY3" fmla="*/ 67449 h 295389"/>
                      <a:gd name="connsiteX4" fmla="*/ 198931 w 287769"/>
                      <a:gd name="connsiteY4" fmla="*/ 88550 h 295389"/>
                      <a:gd name="connsiteX5" fmla="*/ 175218 w 287769"/>
                      <a:gd name="connsiteY5" fmla="*/ 162406 h 295389"/>
                      <a:gd name="connsiteX6" fmla="*/ 157653 w 287769"/>
                      <a:gd name="connsiteY6" fmla="*/ 185266 h 295389"/>
                      <a:gd name="connsiteX7" fmla="*/ 141845 w 287769"/>
                      <a:gd name="connsiteY7" fmla="*/ 172077 h 295389"/>
                      <a:gd name="connsiteX8" fmla="*/ 108472 w 287769"/>
                      <a:gd name="connsiteY8" fmla="*/ 227469 h 295389"/>
                      <a:gd name="connsiteX9" fmla="*/ 130428 w 287769"/>
                      <a:gd name="connsiteY9" fmla="*/ 250329 h 295389"/>
                      <a:gd name="connsiteX10" fmla="*/ 104959 w 287769"/>
                      <a:gd name="connsiteY10" fmla="*/ 285498 h 295389"/>
                      <a:gd name="connsiteX11" fmla="*/ 83881 w 287769"/>
                      <a:gd name="connsiteY11" fmla="*/ 285498 h 295389"/>
                      <a:gd name="connsiteX12" fmla="*/ 34699 w 287769"/>
                      <a:gd name="connsiteY12" fmla="*/ 221314 h 295389"/>
                      <a:gd name="connsiteX13" fmla="*/ 24160 w 287769"/>
                      <a:gd name="connsiteY13" fmla="*/ 77120 h 295389"/>
                      <a:gd name="connsiteX14" fmla="*/ 24160 w 287769"/>
                      <a:gd name="connsiteY14" fmla="*/ 77120 h 2953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7769" h="295389">
                        <a:moveTo>
                          <a:pt x="24160" y="76241"/>
                        </a:moveTo>
                        <a:cubicBezTo>
                          <a:pt x="24160" y="76241"/>
                          <a:pt x="22404" y="46347"/>
                          <a:pt x="61047" y="23487"/>
                        </a:cubicBezTo>
                        <a:cubicBezTo>
                          <a:pt x="99689" y="-252"/>
                          <a:pt x="174340" y="627"/>
                          <a:pt x="174340" y="627"/>
                        </a:cubicBezTo>
                        <a:cubicBezTo>
                          <a:pt x="321006" y="-7286"/>
                          <a:pt x="290268" y="62174"/>
                          <a:pt x="271825" y="67449"/>
                        </a:cubicBezTo>
                        <a:cubicBezTo>
                          <a:pt x="253382" y="71845"/>
                          <a:pt x="229669" y="79758"/>
                          <a:pt x="198931" y="88550"/>
                        </a:cubicBezTo>
                        <a:cubicBezTo>
                          <a:pt x="176974" y="94705"/>
                          <a:pt x="146236" y="116686"/>
                          <a:pt x="175218" y="162406"/>
                        </a:cubicBezTo>
                        <a:cubicBezTo>
                          <a:pt x="204200" y="208126"/>
                          <a:pt x="157653" y="185266"/>
                          <a:pt x="157653" y="185266"/>
                        </a:cubicBezTo>
                        <a:cubicBezTo>
                          <a:pt x="157653" y="185266"/>
                          <a:pt x="146236" y="187024"/>
                          <a:pt x="141845" y="172077"/>
                        </a:cubicBezTo>
                        <a:cubicBezTo>
                          <a:pt x="137454" y="158010"/>
                          <a:pt x="83881" y="154493"/>
                          <a:pt x="108472" y="227469"/>
                        </a:cubicBezTo>
                        <a:cubicBezTo>
                          <a:pt x="115498" y="243295"/>
                          <a:pt x="128671" y="249450"/>
                          <a:pt x="130428" y="250329"/>
                        </a:cubicBezTo>
                        <a:cubicBezTo>
                          <a:pt x="138332" y="252087"/>
                          <a:pt x="108472" y="277585"/>
                          <a:pt x="104959" y="285498"/>
                        </a:cubicBezTo>
                        <a:cubicBezTo>
                          <a:pt x="98811" y="298687"/>
                          <a:pt x="90029" y="298687"/>
                          <a:pt x="83881" y="285498"/>
                        </a:cubicBezTo>
                        <a:cubicBezTo>
                          <a:pt x="78611" y="274068"/>
                          <a:pt x="61925" y="248570"/>
                          <a:pt x="34699" y="221314"/>
                        </a:cubicBezTo>
                        <a:cubicBezTo>
                          <a:pt x="-1309" y="185266"/>
                          <a:pt x="-16239" y="135150"/>
                          <a:pt x="24160" y="77120"/>
                        </a:cubicBezTo>
                        <a:lnTo>
                          <a:pt x="24160" y="77120"/>
                        </a:lnTo>
                        <a:close/>
                      </a:path>
                    </a:pathLst>
                  </a:custGeom>
                  <a:solidFill>
                    <a:srgbClr val="7A3E1A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5" name="Freeform 94">
                  <a:extLst>
                    <a:ext uri="{FF2B5EF4-FFF2-40B4-BE49-F238E27FC236}">
                      <a16:creationId xmlns:a16="http://schemas.microsoft.com/office/drawing/2014/main" id="{853649D5-655A-12E2-8639-6C74657D395B}"/>
                    </a:ext>
                  </a:extLst>
                </p:cNvPr>
                <p:cNvSpPr/>
                <p:nvPr/>
              </p:nvSpPr>
              <p:spPr>
                <a:xfrm>
                  <a:off x="-9624582" y="5681577"/>
                  <a:ext cx="160174" cy="74431"/>
                </a:xfrm>
                <a:custGeom>
                  <a:avLst/>
                  <a:gdLst>
                    <a:gd name="connsiteX0" fmla="*/ 10539 w 160174"/>
                    <a:gd name="connsiteY0" fmla="*/ 0 h 74431"/>
                    <a:gd name="connsiteX1" fmla="*/ 0 w 160174"/>
                    <a:gd name="connsiteY1" fmla="*/ 33411 h 74431"/>
                    <a:gd name="connsiteX2" fmla="*/ 137884 w 160174"/>
                    <a:gd name="connsiteY2" fmla="*/ 73856 h 74431"/>
                    <a:gd name="connsiteX3" fmla="*/ 146667 w 160174"/>
                    <a:gd name="connsiteY3" fmla="*/ 40445 h 74431"/>
                    <a:gd name="connsiteX4" fmla="*/ 10539 w 160174"/>
                    <a:gd name="connsiteY4" fmla="*/ 0 h 7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174" h="74431">
                      <a:moveTo>
                        <a:pt x="10539" y="0"/>
                      </a:moveTo>
                      <a:lnTo>
                        <a:pt x="0" y="33411"/>
                      </a:lnTo>
                      <a:cubicBezTo>
                        <a:pt x="0" y="33411"/>
                        <a:pt x="106267" y="67701"/>
                        <a:pt x="137884" y="73856"/>
                      </a:cubicBezTo>
                      <a:cubicBezTo>
                        <a:pt x="162475" y="79131"/>
                        <a:pt x="168623" y="46599"/>
                        <a:pt x="146667" y="40445"/>
                      </a:cubicBezTo>
                      <a:cubicBezTo>
                        <a:pt x="127345" y="35169"/>
                        <a:pt x="10539" y="0"/>
                        <a:pt x="10539" y="0"/>
                      </a:cubicBez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5E643100-FECE-321A-998B-4BD0CD4F1D34}"/>
                    </a:ext>
                  </a:extLst>
                </p:cNvPr>
                <p:cNvSpPr/>
                <p:nvPr/>
              </p:nvSpPr>
              <p:spPr>
                <a:xfrm>
                  <a:off x="-9714724" y="4269532"/>
                  <a:ext cx="129662" cy="117936"/>
                </a:xfrm>
                <a:custGeom>
                  <a:avLst/>
                  <a:gdLst>
                    <a:gd name="connsiteX0" fmla="*/ 561 w 129662"/>
                    <a:gd name="connsiteY0" fmla="*/ 0 h 117936"/>
                    <a:gd name="connsiteX1" fmla="*/ 129663 w 129662"/>
                    <a:gd name="connsiteY1" fmla="*/ 4396 h 117936"/>
                    <a:gd name="connsiteX2" fmla="*/ 60282 w 129662"/>
                    <a:gd name="connsiteY2" fmla="*/ 117817 h 117936"/>
                    <a:gd name="connsiteX3" fmla="*/ 561 w 129662"/>
                    <a:gd name="connsiteY3" fmla="*/ 0 h 117936"/>
                    <a:gd name="connsiteX4" fmla="*/ 561 w 129662"/>
                    <a:gd name="connsiteY4" fmla="*/ 0 h 11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62" h="117936">
                      <a:moveTo>
                        <a:pt x="561" y="0"/>
                      </a:moveTo>
                      <a:lnTo>
                        <a:pt x="129663" y="4396"/>
                      </a:lnTo>
                      <a:cubicBezTo>
                        <a:pt x="129663" y="4396"/>
                        <a:pt x="129663" y="122213"/>
                        <a:pt x="60282" y="117817"/>
                      </a:cubicBezTo>
                      <a:cubicBezTo>
                        <a:pt x="-9978" y="113421"/>
                        <a:pt x="561" y="0"/>
                        <a:pt x="561" y="0"/>
                      </a:cubicBezTo>
                      <a:lnTo>
                        <a:pt x="561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A451DF60-DFD8-A5E1-CC8C-55E1AA825C2E}"/>
                    </a:ext>
                  </a:extLst>
                </p:cNvPr>
                <p:cNvSpPr/>
                <p:nvPr/>
              </p:nvSpPr>
              <p:spPr>
                <a:xfrm>
                  <a:off x="-10009689" y="5676985"/>
                  <a:ext cx="164667" cy="122799"/>
                </a:xfrm>
                <a:custGeom>
                  <a:avLst/>
                  <a:gdLst>
                    <a:gd name="connsiteX0" fmla="*/ 164668 w 164667"/>
                    <a:gd name="connsiteY0" fmla="*/ 103945 h 122799"/>
                    <a:gd name="connsiteX1" fmla="*/ 161155 w 164667"/>
                    <a:gd name="connsiteY1" fmla="*/ 52070 h 122799"/>
                    <a:gd name="connsiteX2" fmla="*/ 154129 w 164667"/>
                    <a:gd name="connsiteY2" fmla="*/ 28331 h 122799"/>
                    <a:gd name="connsiteX3" fmla="*/ 135686 w 164667"/>
                    <a:gd name="connsiteY3" fmla="*/ 12505 h 122799"/>
                    <a:gd name="connsiteX4" fmla="*/ 46983 w 164667"/>
                    <a:gd name="connsiteY4" fmla="*/ 12505 h 122799"/>
                    <a:gd name="connsiteX5" fmla="*/ 2193 w 164667"/>
                    <a:gd name="connsiteY5" fmla="*/ 81085 h 122799"/>
                    <a:gd name="connsiteX6" fmla="*/ 14488 w 164667"/>
                    <a:gd name="connsiteY6" fmla="*/ 122408 h 122799"/>
                    <a:gd name="connsiteX7" fmla="*/ 149738 w 164667"/>
                    <a:gd name="connsiteY7" fmla="*/ 122408 h 122799"/>
                    <a:gd name="connsiteX8" fmla="*/ 163790 w 164667"/>
                    <a:gd name="connsiteY8" fmla="*/ 103065 h 122799"/>
                    <a:gd name="connsiteX9" fmla="*/ 164668 w 164667"/>
                    <a:gd name="connsiteY9" fmla="*/ 103065 h 122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667" h="122799">
                      <a:moveTo>
                        <a:pt x="164668" y="103945"/>
                      </a:moveTo>
                      <a:lnTo>
                        <a:pt x="161155" y="52070"/>
                      </a:lnTo>
                      <a:lnTo>
                        <a:pt x="154129" y="28331"/>
                      </a:lnTo>
                      <a:cubicBezTo>
                        <a:pt x="151494" y="24814"/>
                        <a:pt x="140955" y="16901"/>
                        <a:pt x="135686" y="12505"/>
                      </a:cubicBezTo>
                      <a:cubicBezTo>
                        <a:pt x="100556" y="-15631"/>
                        <a:pt x="46983" y="12505"/>
                        <a:pt x="46983" y="12505"/>
                      </a:cubicBezTo>
                      <a:cubicBezTo>
                        <a:pt x="32931" y="37123"/>
                        <a:pt x="4828" y="73172"/>
                        <a:pt x="2193" y="81085"/>
                      </a:cubicBezTo>
                      <a:cubicBezTo>
                        <a:pt x="-4833" y="106582"/>
                        <a:pt x="6584" y="121529"/>
                        <a:pt x="14488" y="122408"/>
                      </a:cubicBezTo>
                      <a:cubicBezTo>
                        <a:pt x="22393" y="123288"/>
                        <a:pt x="142712" y="122408"/>
                        <a:pt x="149738" y="122408"/>
                      </a:cubicBezTo>
                      <a:cubicBezTo>
                        <a:pt x="156764" y="122408"/>
                        <a:pt x="164668" y="108341"/>
                        <a:pt x="163790" y="103065"/>
                      </a:cubicBezTo>
                      <a:lnTo>
                        <a:pt x="164668" y="103065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" name="Freeform 97">
                  <a:extLst>
                    <a:ext uri="{FF2B5EF4-FFF2-40B4-BE49-F238E27FC236}">
                      <a16:creationId xmlns:a16="http://schemas.microsoft.com/office/drawing/2014/main" id="{0D91CF10-A4A5-771F-C474-94194175FE39}"/>
                    </a:ext>
                  </a:extLst>
                </p:cNvPr>
                <p:cNvSpPr/>
                <p:nvPr/>
              </p:nvSpPr>
              <p:spPr>
                <a:xfrm>
                  <a:off x="-10159651" y="4379436"/>
                  <a:ext cx="328603" cy="513470"/>
                </a:xfrm>
                <a:custGeom>
                  <a:avLst/>
                  <a:gdLst>
                    <a:gd name="connsiteX0" fmla="*/ 218902 w 328603"/>
                    <a:gd name="connsiteY0" fmla="*/ 334987 h 513470"/>
                    <a:gd name="connsiteX1" fmla="*/ 274231 w 328603"/>
                    <a:gd name="connsiteY1" fmla="*/ 357847 h 513470"/>
                    <a:gd name="connsiteX2" fmla="*/ 293552 w 328603"/>
                    <a:gd name="connsiteY2" fmla="*/ 376311 h 513470"/>
                    <a:gd name="connsiteX3" fmla="*/ 325169 w 328603"/>
                    <a:gd name="connsiteY3" fmla="*/ 414117 h 513470"/>
                    <a:gd name="connsiteX4" fmla="*/ 284770 w 328603"/>
                    <a:gd name="connsiteY4" fmla="*/ 412359 h 513470"/>
                    <a:gd name="connsiteX5" fmla="*/ 266327 w 328603"/>
                    <a:gd name="connsiteY5" fmla="*/ 396533 h 513470"/>
                    <a:gd name="connsiteX6" fmla="*/ 275109 w 328603"/>
                    <a:gd name="connsiteY6" fmla="*/ 410601 h 513470"/>
                    <a:gd name="connsiteX7" fmla="*/ 326047 w 328603"/>
                    <a:gd name="connsiteY7" fmla="*/ 461596 h 513470"/>
                    <a:gd name="connsiteX8" fmla="*/ 313752 w 328603"/>
                    <a:gd name="connsiteY8" fmla="*/ 477422 h 513470"/>
                    <a:gd name="connsiteX9" fmla="*/ 260179 w 328603"/>
                    <a:gd name="connsiteY9" fmla="*/ 433461 h 513470"/>
                    <a:gd name="connsiteX10" fmla="*/ 273353 w 328603"/>
                    <a:gd name="connsiteY10" fmla="*/ 448408 h 513470"/>
                    <a:gd name="connsiteX11" fmla="*/ 307604 w 328603"/>
                    <a:gd name="connsiteY11" fmla="*/ 477422 h 513470"/>
                    <a:gd name="connsiteX12" fmla="*/ 307604 w 328603"/>
                    <a:gd name="connsiteY12" fmla="*/ 503799 h 513470"/>
                    <a:gd name="connsiteX13" fmla="*/ 236466 w 328603"/>
                    <a:gd name="connsiteY13" fmla="*/ 442253 h 513470"/>
                    <a:gd name="connsiteX14" fmla="*/ 248762 w 328603"/>
                    <a:gd name="connsiteY14" fmla="*/ 456321 h 513470"/>
                    <a:gd name="connsiteX15" fmla="*/ 283891 w 328603"/>
                    <a:gd name="connsiteY15" fmla="*/ 494127 h 513470"/>
                    <a:gd name="connsiteX16" fmla="*/ 274231 w 328603"/>
                    <a:gd name="connsiteY16" fmla="*/ 513471 h 513470"/>
                    <a:gd name="connsiteX17" fmla="*/ 212754 w 328603"/>
                    <a:gd name="connsiteY17" fmla="*/ 446649 h 513470"/>
                    <a:gd name="connsiteX18" fmla="*/ 247883 w 328603"/>
                    <a:gd name="connsiteY18" fmla="*/ 497644 h 513470"/>
                    <a:gd name="connsiteX19" fmla="*/ 241736 w 328603"/>
                    <a:gd name="connsiteY19" fmla="*/ 511712 h 513470"/>
                    <a:gd name="connsiteX20" fmla="*/ 189041 w 328603"/>
                    <a:gd name="connsiteY20" fmla="*/ 458079 h 513470"/>
                    <a:gd name="connsiteX21" fmla="*/ 160937 w 328603"/>
                    <a:gd name="connsiteY21" fmla="*/ 392137 h 513470"/>
                    <a:gd name="connsiteX22" fmla="*/ 157425 w 328603"/>
                    <a:gd name="connsiteY22" fmla="*/ 370156 h 513470"/>
                    <a:gd name="connsiteX23" fmla="*/ 219 w 328603"/>
                    <a:gd name="connsiteY23" fmla="*/ 103749 h 513470"/>
                    <a:gd name="connsiteX24" fmla="*/ 26566 w 328603"/>
                    <a:gd name="connsiteY24" fmla="*/ 0 h 513470"/>
                    <a:gd name="connsiteX25" fmla="*/ 138103 w 328603"/>
                    <a:gd name="connsiteY25" fmla="*/ 73855 h 513470"/>
                    <a:gd name="connsiteX26" fmla="*/ 117904 w 328603"/>
                    <a:gd name="connsiteY26" fmla="*/ 124851 h 513470"/>
                    <a:gd name="connsiteX27" fmla="*/ 220658 w 328603"/>
                    <a:gd name="connsiteY27" fmla="*/ 334987 h 513470"/>
                    <a:gd name="connsiteX28" fmla="*/ 218902 w 328603"/>
                    <a:gd name="connsiteY28" fmla="*/ 334987 h 513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28603" h="513470">
                      <a:moveTo>
                        <a:pt x="218902" y="334987"/>
                      </a:moveTo>
                      <a:cubicBezTo>
                        <a:pt x="225049" y="343779"/>
                        <a:pt x="266327" y="352571"/>
                        <a:pt x="274231" y="357847"/>
                      </a:cubicBezTo>
                      <a:cubicBezTo>
                        <a:pt x="283891" y="364881"/>
                        <a:pt x="293552" y="376311"/>
                        <a:pt x="293552" y="376311"/>
                      </a:cubicBezTo>
                      <a:cubicBezTo>
                        <a:pt x="303213" y="392137"/>
                        <a:pt x="325169" y="409721"/>
                        <a:pt x="325169" y="414117"/>
                      </a:cubicBezTo>
                      <a:cubicBezTo>
                        <a:pt x="325169" y="418514"/>
                        <a:pt x="304091" y="433461"/>
                        <a:pt x="284770" y="412359"/>
                      </a:cubicBezTo>
                      <a:cubicBezTo>
                        <a:pt x="265448" y="391258"/>
                        <a:pt x="273353" y="399171"/>
                        <a:pt x="266327" y="396533"/>
                      </a:cubicBezTo>
                      <a:cubicBezTo>
                        <a:pt x="269839" y="406204"/>
                        <a:pt x="273353" y="407963"/>
                        <a:pt x="275109" y="410601"/>
                      </a:cubicBezTo>
                      <a:cubicBezTo>
                        <a:pt x="283891" y="422031"/>
                        <a:pt x="319899" y="456321"/>
                        <a:pt x="326047" y="461596"/>
                      </a:cubicBezTo>
                      <a:cubicBezTo>
                        <a:pt x="332195" y="466871"/>
                        <a:pt x="326925" y="479181"/>
                        <a:pt x="313752" y="477422"/>
                      </a:cubicBezTo>
                      <a:cubicBezTo>
                        <a:pt x="299700" y="475664"/>
                        <a:pt x="260179" y="433461"/>
                        <a:pt x="260179" y="433461"/>
                      </a:cubicBezTo>
                      <a:lnTo>
                        <a:pt x="273353" y="448408"/>
                      </a:lnTo>
                      <a:cubicBezTo>
                        <a:pt x="275109" y="451045"/>
                        <a:pt x="301456" y="473026"/>
                        <a:pt x="307604" y="477422"/>
                      </a:cubicBezTo>
                      <a:cubicBezTo>
                        <a:pt x="313752" y="481818"/>
                        <a:pt x="324291" y="500282"/>
                        <a:pt x="307604" y="503799"/>
                      </a:cubicBezTo>
                      <a:cubicBezTo>
                        <a:pt x="290918" y="506437"/>
                        <a:pt x="236466" y="442253"/>
                        <a:pt x="236466" y="442253"/>
                      </a:cubicBezTo>
                      <a:lnTo>
                        <a:pt x="248762" y="456321"/>
                      </a:lnTo>
                      <a:cubicBezTo>
                        <a:pt x="248762" y="456321"/>
                        <a:pt x="268083" y="479181"/>
                        <a:pt x="283891" y="494127"/>
                      </a:cubicBezTo>
                      <a:cubicBezTo>
                        <a:pt x="299700" y="509075"/>
                        <a:pt x="274231" y="513471"/>
                        <a:pt x="274231" y="513471"/>
                      </a:cubicBezTo>
                      <a:cubicBezTo>
                        <a:pt x="250518" y="508195"/>
                        <a:pt x="216267" y="450166"/>
                        <a:pt x="212754" y="446649"/>
                      </a:cubicBezTo>
                      <a:cubicBezTo>
                        <a:pt x="214510" y="456321"/>
                        <a:pt x="247883" y="497644"/>
                        <a:pt x="247883" y="497644"/>
                      </a:cubicBezTo>
                      <a:cubicBezTo>
                        <a:pt x="247883" y="497644"/>
                        <a:pt x="254031" y="509075"/>
                        <a:pt x="241736" y="511712"/>
                      </a:cubicBezTo>
                      <a:cubicBezTo>
                        <a:pt x="229441" y="514350"/>
                        <a:pt x="197824" y="480939"/>
                        <a:pt x="189041" y="458079"/>
                      </a:cubicBezTo>
                      <a:cubicBezTo>
                        <a:pt x="180259" y="435219"/>
                        <a:pt x="174111" y="426427"/>
                        <a:pt x="160937" y="392137"/>
                      </a:cubicBezTo>
                      <a:cubicBezTo>
                        <a:pt x="158303" y="384224"/>
                        <a:pt x="157425" y="378948"/>
                        <a:pt x="157425" y="370156"/>
                      </a:cubicBezTo>
                      <a:cubicBezTo>
                        <a:pt x="157425" y="370156"/>
                        <a:pt x="-6807" y="146831"/>
                        <a:pt x="219" y="103749"/>
                      </a:cubicBezTo>
                      <a:cubicBezTo>
                        <a:pt x="7245" y="60667"/>
                        <a:pt x="18662" y="18464"/>
                        <a:pt x="26566" y="0"/>
                      </a:cubicBezTo>
                      <a:cubicBezTo>
                        <a:pt x="79261" y="44841"/>
                        <a:pt x="138103" y="73855"/>
                        <a:pt x="138103" y="73855"/>
                      </a:cubicBezTo>
                      <a:lnTo>
                        <a:pt x="117904" y="124851"/>
                      </a:lnTo>
                      <a:lnTo>
                        <a:pt x="220658" y="334987"/>
                      </a:lnTo>
                      <a:lnTo>
                        <a:pt x="218902" y="33498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C4B97CE6-5CAE-52A6-E76A-B4648706E006}"/>
                    </a:ext>
                  </a:extLst>
                </p:cNvPr>
                <p:cNvSpPr/>
                <p:nvPr/>
              </p:nvSpPr>
              <p:spPr>
                <a:xfrm>
                  <a:off x="-9537636" y="4429552"/>
                  <a:ext cx="288981" cy="457248"/>
                </a:xfrm>
                <a:custGeom>
                  <a:avLst/>
                  <a:gdLst>
                    <a:gd name="connsiteX0" fmla="*/ 202874 w 288981"/>
                    <a:gd name="connsiteY0" fmla="*/ 274320 h 457248"/>
                    <a:gd name="connsiteX1" fmla="*/ 252056 w 288981"/>
                    <a:gd name="connsiteY1" fmla="*/ 307731 h 457248"/>
                    <a:gd name="connsiteX2" fmla="*/ 269621 w 288981"/>
                    <a:gd name="connsiteY2" fmla="*/ 329712 h 457248"/>
                    <a:gd name="connsiteX3" fmla="*/ 288942 w 288981"/>
                    <a:gd name="connsiteY3" fmla="*/ 370156 h 457248"/>
                    <a:gd name="connsiteX4" fmla="*/ 254690 w 288981"/>
                    <a:gd name="connsiteY4" fmla="*/ 360485 h 457248"/>
                    <a:gd name="connsiteX5" fmla="*/ 236247 w 288981"/>
                    <a:gd name="connsiteY5" fmla="*/ 339383 h 457248"/>
                    <a:gd name="connsiteX6" fmla="*/ 242395 w 288981"/>
                    <a:gd name="connsiteY6" fmla="*/ 358726 h 457248"/>
                    <a:gd name="connsiteX7" fmla="*/ 281038 w 288981"/>
                    <a:gd name="connsiteY7" fmla="*/ 417635 h 457248"/>
                    <a:gd name="connsiteX8" fmla="*/ 266108 w 288981"/>
                    <a:gd name="connsiteY8" fmla="*/ 431702 h 457248"/>
                    <a:gd name="connsiteX9" fmla="*/ 223074 w 288981"/>
                    <a:gd name="connsiteY9" fmla="*/ 377190 h 457248"/>
                    <a:gd name="connsiteX10" fmla="*/ 232734 w 288981"/>
                    <a:gd name="connsiteY10" fmla="*/ 393896 h 457248"/>
                    <a:gd name="connsiteX11" fmla="*/ 257325 w 288981"/>
                    <a:gd name="connsiteY11" fmla="*/ 429065 h 457248"/>
                    <a:gd name="connsiteX12" fmla="*/ 253812 w 288981"/>
                    <a:gd name="connsiteY12" fmla="*/ 453683 h 457248"/>
                    <a:gd name="connsiteX13" fmla="*/ 198483 w 288981"/>
                    <a:gd name="connsiteY13" fmla="*/ 380707 h 457248"/>
                    <a:gd name="connsiteX14" fmla="*/ 203752 w 288981"/>
                    <a:gd name="connsiteY14" fmla="*/ 394775 h 457248"/>
                    <a:gd name="connsiteX15" fmla="*/ 233613 w 288981"/>
                    <a:gd name="connsiteY15" fmla="*/ 441374 h 457248"/>
                    <a:gd name="connsiteX16" fmla="*/ 219561 w 288981"/>
                    <a:gd name="connsiteY16" fmla="*/ 457200 h 457248"/>
                    <a:gd name="connsiteX17" fmla="*/ 174770 w 288981"/>
                    <a:gd name="connsiteY17" fmla="*/ 380707 h 457248"/>
                    <a:gd name="connsiteX18" fmla="*/ 197605 w 288981"/>
                    <a:gd name="connsiteY18" fmla="*/ 437857 h 457248"/>
                    <a:gd name="connsiteX19" fmla="*/ 190579 w 288981"/>
                    <a:gd name="connsiteY19" fmla="*/ 449287 h 457248"/>
                    <a:gd name="connsiteX20" fmla="*/ 149301 w 288981"/>
                    <a:gd name="connsiteY20" fmla="*/ 386861 h 457248"/>
                    <a:gd name="connsiteX21" fmla="*/ 135249 w 288981"/>
                    <a:gd name="connsiteY21" fmla="*/ 317402 h 457248"/>
                    <a:gd name="connsiteX22" fmla="*/ 135249 w 288981"/>
                    <a:gd name="connsiteY22" fmla="*/ 295422 h 457248"/>
                    <a:gd name="connsiteX23" fmla="*/ 0 w 288981"/>
                    <a:gd name="connsiteY23" fmla="*/ 87044 h 457248"/>
                    <a:gd name="connsiteX24" fmla="*/ 1757 w 288981"/>
                    <a:gd name="connsiteY24" fmla="*/ 24619 h 457248"/>
                    <a:gd name="connsiteX25" fmla="*/ 108024 w 288981"/>
                    <a:gd name="connsiteY25" fmla="*/ 0 h 457248"/>
                    <a:gd name="connsiteX26" fmla="*/ 115928 w 288981"/>
                    <a:gd name="connsiteY26" fmla="*/ 57150 h 457248"/>
                    <a:gd name="connsiteX27" fmla="*/ 201996 w 288981"/>
                    <a:gd name="connsiteY27" fmla="*/ 273441 h 457248"/>
                    <a:gd name="connsiteX28" fmla="*/ 201996 w 288981"/>
                    <a:gd name="connsiteY28" fmla="*/ 273441 h 457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8981" h="457248">
                      <a:moveTo>
                        <a:pt x="202874" y="274320"/>
                      </a:moveTo>
                      <a:cubicBezTo>
                        <a:pt x="207265" y="283992"/>
                        <a:pt x="245908" y="300697"/>
                        <a:pt x="252056" y="307731"/>
                      </a:cubicBezTo>
                      <a:cubicBezTo>
                        <a:pt x="259960" y="316523"/>
                        <a:pt x="269621" y="329712"/>
                        <a:pt x="269621" y="329712"/>
                      </a:cubicBezTo>
                      <a:cubicBezTo>
                        <a:pt x="275768" y="347296"/>
                        <a:pt x="289820" y="365760"/>
                        <a:pt x="288942" y="370156"/>
                      </a:cubicBezTo>
                      <a:cubicBezTo>
                        <a:pt x="288064" y="374552"/>
                        <a:pt x="266108" y="386861"/>
                        <a:pt x="254690" y="360485"/>
                      </a:cubicBezTo>
                      <a:cubicBezTo>
                        <a:pt x="249421" y="349055"/>
                        <a:pt x="243273" y="343779"/>
                        <a:pt x="236247" y="339383"/>
                      </a:cubicBezTo>
                      <a:cubicBezTo>
                        <a:pt x="238004" y="349055"/>
                        <a:pt x="241517" y="355209"/>
                        <a:pt x="242395" y="358726"/>
                      </a:cubicBezTo>
                      <a:cubicBezTo>
                        <a:pt x="244152" y="369277"/>
                        <a:pt x="276646" y="411480"/>
                        <a:pt x="281038" y="417635"/>
                      </a:cubicBezTo>
                      <a:cubicBezTo>
                        <a:pt x="285429" y="424669"/>
                        <a:pt x="279281" y="436098"/>
                        <a:pt x="266108" y="431702"/>
                      </a:cubicBezTo>
                      <a:cubicBezTo>
                        <a:pt x="252934" y="427306"/>
                        <a:pt x="223074" y="377190"/>
                        <a:pt x="223074" y="377190"/>
                      </a:cubicBezTo>
                      <a:lnTo>
                        <a:pt x="232734" y="393896"/>
                      </a:lnTo>
                      <a:cubicBezTo>
                        <a:pt x="233613" y="397412"/>
                        <a:pt x="256447" y="424669"/>
                        <a:pt x="257325" y="429065"/>
                      </a:cubicBezTo>
                      <a:cubicBezTo>
                        <a:pt x="262594" y="436098"/>
                        <a:pt x="269621" y="453683"/>
                        <a:pt x="253812" y="453683"/>
                      </a:cubicBezTo>
                      <a:cubicBezTo>
                        <a:pt x="238004" y="453683"/>
                        <a:pt x="198483" y="380707"/>
                        <a:pt x="198483" y="380707"/>
                      </a:cubicBezTo>
                      <a:lnTo>
                        <a:pt x="203752" y="394775"/>
                      </a:lnTo>
                      <a:cubicBezTo>
                        <a:pt x="203752" y="394775"/>
                        <a:pt x="221317" y="423789"/>
                        <a:pt x="233613" y="441374"/>
                      </a:cubicBezTo>
                      <a:cubicBezTo>
                        <a:pt x="246786" y="458959"/>
                        <a:pt x="219561" y="457200"/>
                        <a:pt x="219561" y="457200"/>
                      </a:cubicBezTo>
                      <a:cubicBezTo>
                        <a:pt x="197605" y="446649"/>
                        <a:pt x="176527" y="384224"/>
                        <a:pt x="174770" y="380707"/>
                      </a:cubicBezTo>
                      <a:cubicBezTo>
                        <a:pt x="174770" y="390378"/>
                        <a:pt x="197605" y="437857"/>
                        <a:pt x="197605" y="437857"/>
                      </a:cubicBezTo>
                      <a:cubicBezTo>
                        <a:pt x="197605" y="437857"/>
                        <a:pt x="202874" y="450166"/>
                        <a:pt x="190579" y="449287"/>
                      </a:cubicBezTo>
                      <a:cubicBezTo>
                        <a:pt x="174770" y="449287"/>
                        <a:pt x="153692" y="410601"/>
                        <a:pt x="149301" y="386861"/>
                      </a:cubicBezTo>
                      <a:cubicBezTo>
                        <a:pt x="144910" y="363122"/>
                        <a:pt x="141397" y="353451"/>
                        <a:pt x="135249" y="317402"/>
                      </a:cubicBezTo>
                      <a:cubicBezTo>
                        <a:pt x="133493" y="309489"/>
                        <a:pt x="134371" y="304214"/>
                        <a:pt x="135249" y="295422"/>
                      </a:cubicBezTo>
                      <a:lnTo>
                        <a:pt x="0" y="87044"/>
                      </a:lnTo>
                      <a:lnTo>
                        <a:pt x="1757" y="24619"/>
                      </a:lnTo>
                      <a:lnTo>
                        <a:pt x="108024" y="0"/>
                      </a:lnTo>
                      <a:lnTo>
                        <a:pt x="115928" y="57150"/>
                      </a:lnTo>
                      <a:lnTo>
                        <a:pt x="201996" y="273441"/>
                      </a:lnTo>
                      <a:lnTo>
                        <a:pt x="201996" y="273441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989579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raphic 88">
            <a:extLst>
              <a:ext uri="{FF2B5EF4-FFF2-40B4-BE49-F238E27FC236}">
                <a16:creationId xmlns:a16="http://schemas.microsoft.com/office/drawing/2014/main" id="{DA2F40D0-02B6-9EC0-6CC8-E4A2AD3444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493035" y="1142470"/>
            <a:ext cx="6858002" cy="4573061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E58DCB8-B688-4BDD-5C36-F36FE37B0532}"/>
              </a:ext>
            </a:extLst>
          </p:cNvPr>
          <p:cNvGrpSpPr/>
          <p:nvPr userDrawn="1"/>
        </p:nvGrpSpPr>
        <p:grpSpPr>
          <a:xfrm flipH="1">
            <a:off x="6581458" y="967568"/>
            <a:ext cx="6150870" cy="4953078"/>
            <a:chOff x="-13480067" y="1704817"/>
            <a:chExt cx="5092469" cy="4100785"/>
          </a:xfrm>
        </p:grpSpPr>
        <p:grpSp>
          <p:nvGrpSpPr>
            <p:cNvPr id="7" name="Graphic 6">
              <a:extLst>
                <a:ext uri="{FF2B5EF4-FFF2-40B4-BE49-F238E27FC236}">
                  <a16:creationId xmlns:a16="http://schemas.microsoft.com/office/drawing/2014/main" id="{3A1AF0BB-B6E3-54E8-283F-FEB5C2004152}"/>
                </a:ext>
              </a:extLst>
            </p:cNvPr>
            <p:cNvGrpSpPr/>
            <p:nvPr userDrawn="1"/>
          </p:nvGrpSpPr>
          <p:grpSpPr>
            <a:xfrm>
              <a:off x="-13480067" y="1704817"/>
              <a:ext cx="6848491" cy="4096335"/>
              <a:chOff x="-13480067" y="1704817"/>
              <a:chExt cx="6848491" cy="4096335"/>
            </a:xfrm>
          </p:grpSpPr>
          <p:grpSp>
            <p:nvGrpSpPr>
              <p:cNvPr id="50" name="Graphic 6">
                <a:extLst>
                  <a:ext uri="{FF2B5EF4-FFF2-40B4-BE49-F238E27FC236}">
                    <a16:creationId xmlns:a16="http://schemas.microsoft.com/office/drawing/2014/main" id="{9C38174E-621F-4BED-9695-2021B901D3C0}"/>
                  </a:ext>
                </a:extLst>
              </p:cNvPr>
              <p:cNvGrpSpPr/>
              <p:nvPr/>
            </p:nvGrpSpPr>
            <p:grpSpPr>
              <a:xfrm>
                <a:off x="-11320983" y="2416072"/>
                <a:ext cx="2648676" cy="3385079"/>
                <a:chOff x="-11320983" y="2416072"/>
                <a:chExt cx="2648676" cy="3385079"/>
              </a:xfrm>
            </p:grpSpPr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335E34F8-CBB5-E677-CF27-34287DFCB728}"/>
                    </a:ext>
                  </a:extLst>
                </p:cNvPr>
                <p:cNvSpPr/>
                <p:nvPr/>
              </p:nvSpPr>
              <p:spPr>
                <a:xfrm>
                  <a:off x="-11054367" y="2416072"/>
                  <a:ext cx="548029" cy="562749"/>
                </a:xfrm>
                <a:custGeom>
                  <a:avLst/>
                  <a:gdLst>
                    <a:gd name="connsiteX0" fmla="*/ 498848 w 548029"/>
                    <a:gd name="connsiteY0" fmla="*/ 203144 h 562749"/>
                    <a:gd name="connsiteX1" fmla="*/ 468109 w 548029"/>
                    <a:gd name="connsiteY1" fmla="*/ 58950 h 562749"/>
                    <a:gd name="connsiteX2" fmla="*/ 364477 w 548029"/>
                    <a:gd name="connsiteY2" fmla="*/ 7075 h 562749"/>
                    <a:gd name="connsiteX3" fmla="*/ 335495 w 548029"/>
                    <a:gd name="connsiteY3" fmla="*/ 1800 h 562749"/>
                    <a:gd name="connsiteX4" fmla="*/ 277531 w 548029"/>
                    <a:gd name="connsiteY4" fmla="*/ 3559 h 562749"/>
                    <a:gd name="connsiteX5" fmla="*/ 164237 w 548029"/>
                    <a:gd name="connsiteY5" fmla="*/ 77414 h 562749"/>
                    <a:gd name="connsiteX6" fmla="*/ 6 w 548029"/>
                    <a:gd name="connsiteY6" fmla="*/ 562749 h 562749"/>
                    <a:gd name="connsiteX7" fmla="*/ 289826 w 548029"/>
                    <a:gd name="connsiteY7" fmla="*/ 562749 h 562749"/>
                    <a:gd name="connsiteX8" fmla="*/ 272261 w 548029"/>
                    <a:gd name="connsiteY8" fmla="*/ 490652 h 562749"/>
                    <a:gd name="connsiteX9" fmla="*/ 403120 w 548029"/>
                    <a:gd name="connsiteY9" fmla="*/ 492411 h 562749"/>
                    <a:gd name="connsiteX10" fmla="*/ 548030 w 548029"/>
                    <a:gd name="connsiteY10" fmla="*/ 524063 h 562749"/>
                    <a:gd name="connsiteX11" fmla="*/ 498848 w 548029"/>
                    <a:gd name="connsiteY11" fmla="*/ 203144 h 562749"/>
                    <a:gd name="connsiteX12" fmla="*/ 498848 w 548029"/>
                    <a:gd name="connsiteY12" fmla="*/ 203144 h 562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48029" h="562749">
                      <a:moveTo>
                        <a:pt x="498848" y="203144"/>
                      </a:moveTo>
                      <a:cubicBezTo>
                        <a:pt x="504996" y="163579"/>
                        <a:pt x="507630" y="93240"/>
                        <a:pt x="468109" y="58950"/>
                      </a:cubicBezTo>
                      <a:cubicBezTo>
                        <a:pt x="426832" y="22902"/>
                        <a:pt x="384676" y="10592"/>
                        <a:pt x="364477" y="7075"/>
                      </a:cubicBezTo>
                      <a:cubicBezTo>
                        <a:pt x="354816" y="4438"/>
                        <a:pt x="345155" y="2679"/>
                        <a:pt x="335495" y="1800"/>
                      </a:cubicBezTo>
                      <a:cubicBezTo>
                        <a:pt x="317052" y="-838"/>
                        <a:pt x="296852" y="-838"/>
                        <a:pt x="277531" y="3559"/>
                      </a:cubicBezTo>
                      <a:cubicBezTo>
                        <a:pt x="231862" y="11472"/>
                        <a:pt x="190585" y="36090"/>
                        <a:pt x="164237" y="77414"/>
                      </a:cubicBezTo>
                      <a:cubicBezTo>
                        <a:pt x="91343" y="189955"/>
                        <a:pt x="-872" y="451087"/>
                        <a:pt x="6" y="562749"/>
                      </a:cubicBezTo>
                      <a:lnTo>
                        <a:pt x="289826" y="562749"/>
                      </a:lnTo>
                      <a:cubicBezTo>
                        <a:pt x="278409" y="546923"/>
                        <a:pt x="274018" y="521425"/>
                        <a:pt x="272261" y="490652"/>
                      </a:cubicBezTo>
                      <a:cubicBezTo>
                        <a:pt x="337251" y="494169"/>
                        <a:pt x="397850" y="490652"/>
                        <a:pt x="403120" y="492411"/>
                      </a:cubicBezTo>
                      <a:cubicBezTo>
                        <a:pt x="456692" y="501203"/>
                        <a:pt x="544517" y="537252"/>
                        <a:pt x="548030" y="524063"/>
                      </a:cubicBezTo>
                      <a:cubicBezTo>
                        <a:pt x="505874" y="412401"/>
                        <a:pt x="512900" y="300739"/>
                        <a:pt x="498848" y="203144"/>
                      </a:cubicBezTo>
                      <a:lnTo>
                        <a:pt x="498848" y="203144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73BA80AB-134E-E53C-0FFE-9541FFB6EC7D}"/>
                    </a:ext>
                  </a:extLst>
                </p:cNvPr>
                <p:cNvSpPr/>
                <p:nvPr/>
              </p:nvSpPr>
              <p:spPr>
                <a:xfrm>
                  <a:off x="-10853243" y="2453042"/>
                  <a:ext cx="330414" cy="535451"/>
                </a:xfrm>
                <a:custGeom>
                  <a:avLst/>
                  <a:gdLst>
                    <a:gd name="connsiteX0" fmla="*/ 328463 w 330414"/>
                    <a:gd name="connsiteY0" fmla="*/ 203982 h 535451"/>
                    <a:gd name="connsiteX1" fmla="*/ 328463 w 330414"/>
                    <a:gd name="connsiteY1" fmla="*/ 189035 h 535451"/>
                    <a:gd name="connsiteX2" fmla="*/ 288942 w 330414"/>
                    <a:gd name="connsiteY2" fmla="*/ 144194 h 535451"/>
                    <a:gd name="connsiteX3" fmla="*/ 287185 w 330414"/>
                    <a:gd name="connsiteY3" fmla="*/ 138918 h 535451"/>
                    <a:gd name="connsiteX4" fmla="*/ 229221 w 330414"/>
                    <a:gd name="connsiteY4" fmla="*/ 22860 h 535451"/>
                    <a:gd name="connsiteX5" fmla="*/ 193213 w 330414"/>
                    <a:gd name="connsiteY5" fmla="*/ 0 h 535451"/>
                    <a:gd name="connsiteX6" fmla="*/ 188822 w 330414"/>
                    <a:gd name="connsiteY6" fmla="*/ 1759 h 535451"/>
                    <a:gd name="connsiteX7" fmla="*/ 143153 w 330414"/>
                    <a:gd name="connsiteY7" fmla="*/ 187276 h 535451"/>
                    <a:gd name="connsiteX8" fmla="*/ 90459 w 330414"/>
                    <a:gd name="connsiteY8" fmla="*/ 154745 h 535451"/>
                    <a:gd name="connsiteX9" fmla="*/ 87824 w 330414"/>
                    <a:gd name="connsiteY9" fmla="*/ 243547 h 535451"/>
                    <a:gd name="connsiteX10" fmla="*/ 92215 w 330414"/>
                    <a:gd name="connsiteY10" fmla="*/ 248822 h 535451"/>
                    <a:gd name="connsiteX11" fmla="*/ 0 w 330414"/>
                    <a:gd name="connsiteY11" fmla="*/ 451925 h 535451"/>
                    <a:gd name="connsiteX12" fmla="*/ 191457 w 330414"/>
                    <a:gd name="connsiteY12" fmla="*/ 535452 h 535451"/>
                    <a:gd name="connsiteX13" fmla="*/ 223074 w 330414"/>
                    <a:gd name="connsiteY13" fmla="*/ 326195 h 535451"/>
                    <a:gd name="connsiteX14" fmla="*/ 234491 w 330414"/>
                    <a:gd name="connsiteY14" fmla="*/ 327074 h 535451"/>
                    <a:gd name="connsiteX15" fmla="*/ 295090 w 330414"/>
                    <a:gd name="connsiteY15" fmla="*/ 330591 h 535451"/>
                    <a:gd name="connsiteX16" fmla="*/ 316167 w 330414"/>
                    <a:gd name="connsiteY16" fmla="*/ 283112 h 535451"/>
                    <a:gd name="connsiteX17" fmla="*/ 327584 w 330414"/>
                    <a:gd name="connsiteY17" fmla="*/ 272562 h 535451"/>
                    <a:gd name="connsiteX18" fmla="*/ 307385 w 330414"/>
                    <a:gd name="connsiteY18" fmla="*/ 255856 h 535451"/>
                    <a:gd name="connsiteX19" fmla="*/ 326706 w 330414"/>
                    <a:gd name="connsiteY19" fmla="*/ 233875 h 535451"/>
                    <a:gd name="connsiteX20" fmla="*/ 317046 w 330414"/>
                    <a:gd name="connsiteY20" fmla="*/ 220687 h 535451"/>
                    <a:gd name="connsiteX21" fmla="*/ 317924 w 330414"/>
                    <a:gd name="connsiteY21" fmla="*/ 211015 h 535451"/>
                    <a:gd name="connsiteX22" fmla="*/ 328463 w 330414"/>
                    <a:gd name="connsiteY22" fmla="*/ 202223 h 535451"/>
                    <a:gd name="connsiteX23" fmla="*/ 328463 w 330414"/>
                    <a:gd name="connsiteY23" fmla="*/ 202223 h 535451"/>
                    <a:gd name="connsiteX24" fmla="*/ 328463 w 330414"/>
                    <a:gd name="connsiteY24" fmla="*/ 203982 h 535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0414" h="535451">
                      <a:moveTo>
                        <a:pt x="328463" y="203982"/>
                      </a:moveTo>
                      <a:cubicBezTo>
                        <a:pt x="328463" y="203982"/>
                        <a:pt x="332854" y="196068"/>
                        <a:pt x="328463" y="189035"/>
                      </a:cubicBezTo>
                      <a:lnTo>
                        <a:pt x="288942" y="144194"/>
                      </a:lnTo>
                      <a:cubicBezTo>
                        <a:pt x="288063" y="142435"/>
                        <a:pt x="287185" y="140677"/>
                        <a:pt x="287185" y="138918"/>
                      </a:cubicBezTo>
                      <a:cubicBezTo>
                        <a:pt x="281916" y="63305"/>
                        <a:pt x="229221" y="22860"/>
                        <a:pt x="229221" y="22860"/>
                      </a:cubicBezTo>
                      <a:cubicBezTo>
                        <a:pt x="214291" y="11430"/>
                        <a:pt x="200239" y="3517"/>
                        <a:pt x="193213" y="0"/>
                      </a:cubicBezTo>
                      <a:cubicBezTo>
                        <a:pt x="191457" y="0"/>
                        <a:pt x="190578" y="0"/>
                        <a:pt x="188822" y="1759"/>
                      </a:cubicBezTo>
                      <a:cubicBezTo>
                        <a:pt x="156327" y="80889"/>
                        <a:pt x="143153" y="187276"/>
                        <a:pt x="143153" y="187276"/>
                      </a:cubicBezTo>
                      <a:cubicBezTo>
                        <a:pt x="143153" y="187276"/>
                        <a:pt x="123832" y="136281"/>
                        <a:pt x="90459" y="154745"/>
                      </a:cubicBezTo>
                      <a:cubicBezTo>
                        <a:pt x="65868" y="167933"/>
                        <a:pt x="62355" y="210136"/>
                        <a:pt x="87824" y="243547"/>
                      </a:cubicBezTo>
                      <a:cubicBezTo>
                        <a:pt x="89581" y="245305"/>
                        <a:pt x="91337" y="247064"/>
                        <a:pt x="92215" y="248822"/>
                      </a:cubicBezTo>
                      <a:cubicBezTo>
                        <a:pt x="86068" y="286629"/>
                        <a:pt x="64112" y="383345"/>
                        <a:pt x="0" y="451925"/>
                      </a:cubicBezTo>
                      <a:cubicBezTo>
                        <a:pt x="23712" y="506437"/>
                        <a:pt x="104511" y="523142"/>
                        <a:pt x="191457" y="535452"/>
                      </a:cubicBezTo>
                      <a:cubicBezTo>
                        <a:pt x="191457" y="535452"/>
                        <a:pt x="214291" y="389499"/>
                        <a:pt x="223074" y="326195"/>
                      </a:cubicBezTo>
                      <a:cubicBezTo>
                        <a:pt x="230099" y="326195"/>
                        <a:pt x="234491" y="327074"/>
                        <a:pt x="234491" y="327074"/>
                      </a:cubicBezTo>
                      <a:cubicBezTo>
                        <a:pt x="254690" y="329712"/>
                        <a:pt x="275768" y="331470"/>
                        <a:pt x="295090" y="330591"/>
                      </a:cubicBezTo>
                      <a:cubicBezTo>
                        <a:pt x="295090" y="330591"/>
                        <a:pt x="338123" y="328832"/>
                        <a:pt x="316167" y="283112"/>
                      </a:cubicBezTo>
                      <a:lnTo>
                        <a:pt x="327584" y="272562"/>
                      </a:lnTo>
                      <a:cubicBezTo>
                        <a:pt x="327584" y="272562"/>
                        <a:pt x="331097" y="262011"/>
                        <a:pt x="307385" y="255856"/>
                      </a:cubicBezTo>
                      <a:cubicBezTo>
                        <a:pt x="307385" y="255856"/>
                        <a:pt x="332854" y="246185"/>
                        <a:pt x="326706" y="233875"/>
                      </a:cubicBezTo>
                      <a:lnTo>
                        <a:pt x="317046" y="220687"/>
                      </a:lnTo>
                      <a:cubicBezTo>
                        <a:pt x="315289" y="218049"/>
                        <a:pt x="315289" y="213653"/>
                        <a:pt x="317924" y="211015"/>
                      </a:cubicBezTo>
                      <a:lnTo>
                        <a:pt x="328463" y="202223"/>
                      </a:lnTo>
                      <a:lnTo>
                        <a:pt x="328463" y="202223"/>
                      </a:lnTo>
                      <a:lnTo>
                        <a:pt x="328463" y="203982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7443C785-7BDA-F950-1012-07668480D3C6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77F0ADE5-5B91-DD64-6DD4-40D6A78C4077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736447C8-5D9B-9EAF-64FF-AC5AD3432668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311B382C-BE6D-2B68-3C4B-21A1094E913B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82D153F7-5F55-69BE-30C0-442C386E83F8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B94DF912-32DE-A60C-E12D-0480ECFC1381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7D89D581-E36A-0C5F-3989-70CA31A14AD8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4E5DD3CB-1121-0168-9A37-FDF28551499D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1DEA8991-987D-9489-AE51-9CE22ACCBBA9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22137266-236D-E82A-1969-93A9A897D9B3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C2D5D3E6-B1AD-8216-CB1E-43E5329D0F9A}"/>
                    </a:ext>
                  </a:extLst>
                </p:cNvPr>
                <p:cNvSpPr/>
                <p:nvPr/>
              </p:nvSpPr>
              <p:spPr>
                <a:xfrm>
                  <a:off x="-10164051" y="2785601"/>
                  <a:ext cx="173697" cy="310719"/>
                </a:xfrm>
                <a:custGeom>
                  <a:avLst/>
                  <a:gdLst>
                    <a:gd name="connsiteX0" fmla="*/ 170607 w 173697"/>
                    <a:gd name="connsiteY0" fmla="*/ 68370 h 310719"/>
                    <a:gd name="connsiteX1" fmla="*/ 155677 w 173697"/>
                    <a:gd name="connsiteY1" fmla="*/ 77162 h 310719"/>
                    <a:gd name="connsiteX2" fmla="*/ 137234 w 173697"/>
                    <a:gd name="connsiteY2" fmla="*/ 135192 h 310719"/>
                    <a:gd name="connsiteX3" fmla="*/ 139869 w 173697"/>
                    <a:gd name="connsiteY3" fmla="*/ 28805 h 310719"/>
                    <a:gd name="connsiteX4" fmla="*/ 124061 w 173697"/>
                    <a:gd name="connsiteY4" fmla="*/ 42873 h 310719"/>
                    <a:gd name="connsiteX5" fmla="*/ 115278 w 173697"/>
                    <a:gd name="connsiteY5" fmla="*/ 100902 h 310719"/>
                    <a:gd name="connsiteX6" fmla="*/ 110887 w 173697"/>
                    <a:gd name="connsiteY6" fmla="*/ 119366 h 310719"/>
                    <a:gd name="connsiteX7" fmla="*/ 101226 w 173697"/>
                    <a:gd name="connsiteY7" fmla="*/ 2428 h 310719"/>
                    <a:gd name="connsiteX8" fmla="*/ 84540 w 173697"/>
                    <a:gd name="connsiteY8" fmla="*/ 34080 h 310719"/>
                    <a:gd name="connsiteX9" fmla="*/ 84540 w 173697"/>
                    <a:gd name="connsiteY9" fmla="*/ 100902 h 310719"/>
                    <a:gd name="connsiteX10" fmla="*/ 81905 w 173697"/>
                    <a:gd name="connsiteY10" fmla="*/ 105298 h 310719"/>
                    <a:gd name="connsiteX11" fmla="*/ 65218 w 173697"/>
                    <a:gd name="connsiteY11" fmla="*/ 25288 h 310719"/>
                    <a:gd name="connsiteX12" fmla="*/ 49410 w 173697"/>
                    <a:gd name="connsiteY12" fmla="*/ 25288 h 310719"/>
                    <a:gd name="connsiteX13" fmla="*/ 47654 w 173697"/>
                    <a:gd name="connsiteY13" fmla="*/ 133433 h 310719"/>
                    <a:gd name="connsiteX14" fmla="*/ 37993 w 173697"/>
                    <a:gd name="connsiteY14" fmla="*/ 156293 h 310719"/>
                    <a:gd name="connsiteX15" fmla="*/ 29210 w 173697"/>
                    <a:gd name="connsiteY15" fmla="*/ 119366 h 310719"/>
                    <a:gd name="connsiteX16" fmla="*/ 3741 w 173697"/>
                    <a:gd name="connsiteY16" fmla="*/ 84196 h 310719"/>
                    <a:gd name="connsiteX17" fmla="*/ 228 w 173697"/>
                    <a:gd name="connsiteY17" fmla="*/ 88592 h 310719"/>
                    <a:gd name="connsiteX18" fmla="*/ 1985 w 173697"/>
                    <a:gd name="connsiteY18" fmla="*/ 151897 h 310719"/>
                    <a:gd name="connsiteX19" fmla="*/ 1985 w 173697"/>
                    <a:gd name="connsiteY19" fmla="*/ 151897 h 310719"/>
                    <a:gd name="connsiteX20" fmla="*/ 7254 w 173697"/>
                    <a:gd name="connsiteY20" fmla="*/ 185308 h 310719"/>
                    <a:gd name="connsiteX21" fmla="*/ 35358 w 173697"/>
                    <a:gd name="connsiteY21" fmla="*/ 294332 h 310719"/>
                    <a:gd name="connsiteX22" fmla="*/ 37993 w 173697"/>
                    <a:gd name="connsiteY22" fmla="*/ 296970 h 310719"/>
                    <a:gd name="connsiteX23" fmla="*/ 108252 w 173697"/>
                    <a:gd name="connsiteY23" fmla="*/ 310159 h 310719"/>
                    <a:gd name="connsiteX24" fmla="*/ 132843 w 173697"/>
                    <a:gd name="connsiteY24" fmla="*/ 251250 h 310719"/>
                    <a:gd name="connsiteX25" fmla="*/ 155677 w 173697"/>
                    <a:gd name="connsiteY25" fmla="*/ 182670 h 310719"/>
                    <a:gd name="connsiteX26" fmla="*/ 161825 w 173697"/>
                    <a:gd name="connsiteY26" fmla="*/ 159810 h 310719"/>
                    <a:gd name="connsiteX27" fmla="*/ 169729 w 173697"/>
                    <a:gd name="connsiteY27" fmla="*/ 70129 h 310719"/>
                    <a:gd name="connsiteX28" fmla="*/ 169729 w 173697"/>
                    <a:gd name="connsiteY28" fmla="*/ 70129 h 310719"/>
                    <a:gd name="connsiteX29" fmla="*/ 169729 w 173697"/>
                    <a:gd name="connsiteY29" fmla="*/ 68370 h 310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3697" h="310719">
                      <a:moveTo>
                        <a:pt x="170607" y="68370"/>
                      </a:moveTo>
                      <a:cubicBezTo>
                        <a:pt x="158312" y="56940"/>
                        <a:pt x="155677" y="77162"/>
                        <a:pt x="155677" y="77162"/>
                      </a:cubicBezTo>
                      <a:cubicBezTo>
                        <a:pt x="155677" y="77162"/>
                        <a:pt x="145138" y="125520"/>
                        <a:pt x="137234" y="135192"/>
                      </a:cubicBezTo>
                      <a:cubicBezTo>
                        <a:pt x="138112" y="129037"/>
                        <a:pt x="155677" y="56061"/>
                        <a:pt x="139869" y="28805"/>
                      </a:cubicBezTo>
                      <a:cubicBezTo>
                        <a:pt x="139869" y="28805"/>
                        <a:pt x="124061" y="13858"/>
                        <a:pt x="124061" y="42873"/>
                      </a:cubicBezTo>
                      <a:cubicBezTo>
                        <a:pt x="124061" y="71887"/>
                        <a:pt x="115278" y="100902"/>
                        <a:pt x="115278" y="100902"/>
                      </a:cubicBezTo>
                      <a:lnTo>
                        <a:pt x="110887" y="119366"/>
                      </a:lnTo>
                      <a:cubicBezTo>
                        <a:pt x="110887" y="119366"/>
                        <a:pt x="118791" y="15616"/>
                        <a:pt x="101226" y="2428"/>
                      </a:cubicBezTo>
                      <a:cubicBezTo>
                        <a:pt x="83662" y="-10761"/>
                        <a:pt x="84540" y="34080"/>
                        <a:pt x="84540" y="34080"/>
                      </a:cubicBezTo>
                      <a:cubicBezTo>
                        <a:pt x="84540" y="34080"/>
                        <a:pt x="87174" y="86834"/>
                        <a:pt x="84540" y="100902"/>
                      </a:cubicBezTo>
                      <a:lnTo>
                        <a:pt x="81905" y="105298"/>
                      </a:lnTo>
                      <a:cubicBezTo>
                        <a:pt x="81905" y="105298"/>
                        <a:pt x="76635" y="40235"/>
                        <a:pt x="65218" y="25288"/>
                      </a:cubicBezTo>
                      <a:cubicBezTo>
                        <a:pt x="54679" y="10341"/>
                        <a:pt x="49410" y="13858"/>
                        <a:pt x="49410" y="25288"/>
                      </a:cubicBezTo>
                      <a:cubicBezTo>
                        <a:pt x="49410" y="36718"/>
                        <a:pt x="52923" y="120245"/>
                        <a:pt x="47654" y="133433"/>
                      </a:cubicBezTo>
                      <a:cubicBezTo>
                        <a:pt x="46775" y="136071"/>
                        <a:pt x="42384" y="148380"/>
                        <a:pt x="37993" y="156293"/>
                      </a:cubicBezTo>
                      <a:cubicBezTo>
                        <a:pt x="33602" y="144863"/>
                        <a:pt x="30089" y="128158"/>
                        <a:pt x="29210" y="119366"/>
                      </a:cubicBezTo>
                      <a:cubicBezTo>
                        <a:pt x="29210" y="92109"/>
                        <a:pt x="12524" y="85955"/>
                        <a:pt x="3741" y="84196"/>
                      </a:cubicBezTo>
                      <a:cubicBezTo>
                        <a:pt x="1107" y="84196"/>
                        <a:pt x="-650" y="85955"/>
                        <a:pt x="228" y="88592"/>
                      </a:cubicBezTo>
                      <a:cubicBezTo>
                        <a:pt x="6376" y="107056"/>
                        <a:pt x="3741" y="129916"/>
                        <a:pt x="1985" y="151897"/>
                      </a:cubicBezTo>
                      <a:lnTo>
                        <a:pt x="1985" y="151897"/>
                      </a:lnTo>
                      <a:cubicBezTo>
                        <a:pt x="1985" y="153656"/>
                        <a:pt x="1985" y="171240"/>
                        <a:pt x="7254" y="185308"/>
                      </a:cubicBezTo>
                      <a:cubicBezTo>
                        <a:pt x="11646" y="198496"/>
                        <a:pt x="32723" y="281144"/>
                        <a:pt x="35358" y="294332"/>
                      </a:cubicBezTo>
                      <a:cubicBezTo>
                        <a:pt x="35358" y="295212"/>
                        <a:pt x="36236" y="296091"/>
                        <a:pt x="37993" y="296970"/>
                      </a:cubicBezTo>
                      <a:cubicBezTo>
                        <a:pt x="48532" y="299608"/>
                        <a:pt x="102983" y="313676"/>
                        <a:pt x="108252" y="310159"/>
                      </a:cubicBezTo>
                      <a:cubicBezTo>
                        <a:pt x="117913" y="304004"/>
                        <a:pt x="122304" y="275869"/>
                        <a:pt x="132843" y="251250"/>
                      </a:cubicBezTo>
                      <a:cubicBezTo>
                        <a:pt x="150408" y="205530"/>
                        <a:pt x="154799" y="183549"/>
                        <a:pt x="155677" y="182670"/>
                      </a:cubicBezTo>
                      <a:lnTo>
                        <a:pt x="161825" y="159810"/>
                      </a:lnTo>
                      <a:cubicBezTo>
                        <a:pt x="161825" y="157173"/>
                        <a:pt x="182025" y="81559"/>
                        <a:pt x="169729" y="70129"/>
                      </a:cubicBezTo>
                      <a:lnTo>
                        <a:pt x="169729" y="70129"/>
                      </a:lnTo>
                      <a:lnTo>
                        <a:pt x="169729" y="68370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A62BADC6-8C41-ADB2-BB3B-1ACBFCAB9253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DD56409E-3291-F9B7-1F47-10A57517FF4E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00B90E16-26E6-B511-E158-11AD805B1B93}"/>
                    </a:ext>
                  </a:extLst>
                </p:cNvPr>
                <p:cNvSpPr/>
                <p:nvPr/>
              </p:nvSpPr>
              <p:spPr>
                <a:xfrm>
                  <a:off x="-11320983" y="2913759"/>
                  <a:ext cx="1280114" cy="783067"/>
                </a:xfrm>
                <a:custGeom>
                  <a:avLst/>
                  <a:gdLst>
                    <a:gd name="connsiteX0" fmla="*/ 376403 w 1280114"/>
                    <a:gd name="connsiteY0" fmla="*/ 725365 h 783067"/>
                    <a:gd name="connsiteX1" fmla="*/ 861193 w 1280114"/>
                    <a:gd name="connsiteY1" fmla="*/ 701626 h 783067"/>
                    <a:gd name="connsiteX2" fmla="*/ 848897 w 1280114"/>
                    <a:gd name="connsiteY2" fmla="*/ 524022 h 783067"/>
                    <a:gd name="connsiteX3" fmla="*/ 956921 w 1280114"/>
                    <a:gd name="connsiteY3" fmla="*/ 707781 h 783067"/>
                    <a:gd name="connsiteX4" fmla="*/ 1126422 w 1280114"/>
                    <a:gd name="connsiteY4" fmla="*/ 610186 h 783067"/>
                    <a:gd name="connsiteX5" fmla="*/ 1280115 w 1280114"/>
                    <a:gd name="connsiteY5" fmla="*/ 168812 h 783067"/>
                    <a:gd name="connsiteX6" fmla="*/ 1184386 w 1280114"/>
                    <a:gd name="connsiteY6" fmla="*/ 145952 h 783067"/>
                    <a:gd name="connsiteX7" fmla="*/ 1184386 w 1280114"/>
                    <a:gd name="connsiteY7" fmla="*/ 145952 h 783067"/>
                    <a:gd name="connsiteX8" fmla="*/ 1021033 w 1280114"/>
                    <a:gd name="connsiteY8" fmla="*/ 406205 h 783067"/>
                    <a:gd name="connsiteX9" fmla="*/ 989416 w 1280114"/>
                    <a:gd name="connsiteY9" fmla="*/ 291905 h 783067"/>
                    <a:gd name="connsiteX10" fmla="*/ 933209 w 1280114"/>
                    <a:gd name="connsiteY10" fmla="*/ 124851 h 783067"/>
                    <a:gd name="connsiteX11" fmla="*/ 858558 w 1280114"/>
                    <a:gd name="connsiteY11" fmla="*/ 50995 h 783067"/>
                    <a:gd name="connsiteX12" fmla="*/ 807620 w 1280114"/>
                    <a:gd name="connsiteY12" fmla="*/ 30773 h 783067"/>
                    <a:gd name="connsiteX13" fmla="*/ 670614 w 1280114"/>
                    <a:gd name="connsiteY13" fmla="*/ 0 h 783067"/>
                    <a:gd name="connsiteX14" fmla="*/ 457201 w 1280114"/>
                    <a:gd name="connsiteY14" fmla="*/ 0 h 783067"/>
                    <a:gd name="connsiteX15" fmla="*/ 307900 w 1280114"/>
                    <a:gd name="connsiteY15" fmla="*/ 54512 h 783067"/>
                    <a:gd name="connsiteX16" fmla="*/ 204267 w 1280114"/>
                    <a:gd name="connsiteY16" fmla="*/ 139798 h 783067"/>
                    <a:gd name="connsiteX17" fmla="*/ 1393 w 1280114"/>
                    <a:gd name="connsiteY17" fmla="*/ 654148 h 783067"/>
                    <a:gd name="connsiteX18" fmla="*/ 572251 w 1280114"/>
                    <a:gd name="connsiteY18" fmla="*/ 640080 h 783067"/>
                    <a:gd name="connsiteX19" fmla="*/ 536243 w 1280114"/>
                    <a:gd name="connsiteY19" fmla="*/ 545123 h 783067"/>
                    <a:gd name="connsiteX20" fmla="*/ 244667 w 1280114"/>
                    <a:gd name="connsiteY20" fmla="*/ 589964 h 783067"/>
                    <a:gd name="connsiteX21" fmla="*/ 328978 w 1280114"/>
                    <a:gd name="connsiteY21" fmla="*/ 436098 h 783067"/>
                    <a:gd name="connsiteX22" fmla="*/ 339517 w 1280114"/>
                    <a:gd name="connsiteY22" fmla="*/ 552157 h 783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80114" h="783067">
                      <a:moveTo>
                        <a:pt x="376403" y="725365"/>
                      </a:moveTo>
                      <a:lnTo>
                        <a:pt x="861193" y="701626"/>
                      </a:lnTo>
                      <a:lnTo>
                        <a:pt x="848897" y="524022"/>
                      </a:lnTo>
                      <a:cubicBezTo>
                        <a:pt x="867341" y="559191"/>
                        <a:pt x="905105" y="648872"/>
                        <a:pt x="956921" y="707781"/>
                      </a:cubicBezTo>
                      <a:cubicBezTo>
                        <a:pt x="1024546" y="785153"/>
                        <a:pt x="1107101" y="643597"/>
                        <a:pt x="1126422" y="610186"/>
                      </a:cubicBezTo>
                      <a:cubicBezTo>
                        <a:pt x="1209855" y="465113"/>
                        <a:pt x="1280115" y="168812"/>
                        <a:pt x="1280115" y="168812"/>
                      </a:cubicBezTo>
                      <a:lnTo>
                        <a:pt x="1184386" y="145952"/>
                      </a:lnTo>
                      <a:lnTo>
                        <a:pt x="1184386" y="145952"/>
                      </a:lnTo>
                      <a:lnTo>
                        <a:pt x="1021033" y="406205"/>
                      </a:lnTo>
                      <a:cubicBezTo>
                        <a:pt x="1011372" y="368398"/>
                        <a:pt x="1000833" y="329712"/>
                        <a:pt x="989416" y="291905"/>
                      </a:cubicBezTo>
                      <a:cubicBezTo>
                        <a:pt x="972730" y="226842"/>
                        <a:pt x="953408" y="166175"/>
                        <a:pt x="933209" y="124851"/>
                      </a:cubicBezTo>
                      <a:cubicBezTo>
                        <a:pt x="913887" y="85285"/>
                        <a:pt x="885784" y="65063"/>
                        <a:pt x="858558" y="50995"/>
                      </a:cubicBezTo>
                      <a:cubicBezTo>
                        <a:pt x="831333" y="36928"/>
                        <a:pt x="824307" y="35169"/>
                        <a:pt x="807620" y="30773"/>
                      </a:cubicBezTo>
                      <a:lnTo>
                        <a:pt x="670614" y="0"/>
                      </a:lnTo>
                      <a:cubicBezTo>
                        <a:pt x="657441" y="70338"/>
                        <a:pt x="516922" y="53633"/>
                        <a:pt x="457201" y="0"/>
                      </a:cubicBezTo>
                      <a:lnTo>
                        <a:pt x="307900" y="54512"/>
                      </a:lnTo>
                      <a:cubicBezTo>
                        <a:pt x="275405" y="58908"/>
                        <a:pt x="237641" y="79131"/>
                        <a:pt x="204267" y="139798"/>
                      </a:cubicBezTo>
                      <a:cubicBezTo>
                        <a:pt x="47940" y="427306"/>
                        <a:pt x="-10024" y="596118"/>
                        <a:pt x="1393" y="654148"/>
                      </a:cubicBezTo>
                      <a:cubicBezTo>
                        <a:pt x="57601" y="952207"/>
                        <a:pt x="572251" y="640080"/>
                        <a:pt x="572251" y="640080"/>
                      </a:cubicBezTo>
                      <a:lnTo>
                        <a:pt x="536243" y="545123"/>
                      </a:lnTo>
                      <a:cubicBezTo>
                        <a:pt x="536243" y="545123"/>
                        <a:pt x="250814" y="601394"/>
                        <a:pt x="244667" y="589964"/>
                      </a:cubicBezTo>
                      <a:lnTo>
                        <a:pt x="328978" y="436098"/>
                      </a:lnTo>
                      <a:cubicBezTo>
                        <a:pt x="328978" y="441374"/>
                        <a:pt x="333369" y="493248"/>
                        <a:pt x="339517" y="552157"/>
                      </a:cubicBezTo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770AB1CA-0E16-19FC-5390-152B13ADEA85}"/>
                    </a:ext>
                  </a:extLst>
                </p:cNvPr>
                <p:cNvSpPr/>
                <p:nvPr/>
              </p:nvSpPr>
              <p:spPr>
                <a:xfrm>
                  <a:off x="-10720884" y="2450565"/>
                  <a:ext cx="89252" cy="179202"/>
                </a:xfrm>
                <a:custGeom>
                  <a:avLst/>
                  <a:gdLst>
                    <a:gd name="connsiteX0" fmla="*/ 18698 w 89252"/>
                    <a:gd name="connsiteY0" fmla="*/ 178323 h 179202"/>
                    <a:gd name="connsiteX1" fmla="*/ 88080 w 89252"/>
                    <a:gd name="connsiteY1" fmla="*/ 20941 h 179202"/>
                    <a:gd name="connsiteX2" fmla="*/ 27481 w 89252"/>
                    <a:gd name="connsiteY2" fmla="*/ 719 h 179202"/>
                    <a:gd name="connsiteX3" fmla="*/ 18698 w 89252"/>
                    <a:gd name="connsiteY3" fmla="*/ 179202 h 179202"/>
                    <a:gd name="connsiteX4" fmla="*/ 18698 w 89252"/>
                    <a:gd name="connsiteY4" fmla="*/ 179202 h 17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252" h="179202">
                      <a:moveTo>
                        <a:pt x="18698" y="178323"/>
                      </a:moveTo>
                      <a:cubicBezTo>
                        <a:pt x="23968" y="120294"/>
                        <a:pt x="99497" y="83366"/>
                        <a:pt x="88080" y="20941"/>
                      </a:cubicBezTo>
                      <a:cubicBezTo>
                        <a:pt x="88080" y="20941"/>
                        <a:pt x="83688" y="-4557"/>
                        <a:pt x="27481" y="719"/>
                      </a:cubicBezTo>
                      <a:cubicBezTo>
                        <a:pt x="-28727" y="5994"/>
                        <a:pt x="18698" y="179202"/>
                        <a:pt x="18698" y="179202"/>
                      </a:cubicBezTo>
                      <a:lnTo>
                        <a:pt x="18698" y="179202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16FF1B71-56F3-775B-EF08-B644C1C7C482}"/>
                    </a:ext>
                  </a:extLst>
                </p:cNvPr>
                <p:cNvSpPr/>
                <p:nvPr/>
              </p:nvSpPr>
              <p:spPr>
                <a:xfrm>
                  <a:off x="-11045578" y="2762531"/>
                  <a:ext cx="272255" cy="216290"/>
                </a:xfrm>
                <a:custGeom>
                  <a:avLst/>
                  <a:gdLst>
                    <a:gd name="connsiteX0" fmla="*/ 272255 w 272255"/>
                    <a:gd name="connsiteY0" fmla="*/ 879 h 216290"/>
                    <a:gd name="connsiteX1" fmla="*/ 259960 w 272255"/>
                    <a:gd name="connsiteY1" fmla="*/ 216291 h 216290"/>
                    <a:gd name="connsiteX2" fmla="*/ 0 w 272255"/>
                    <a:gd name="connsiteY2" fmla="*/ 216291 h 216290"/>
                    <a:gd name="connsiteX3" fmla="*/ 62355 w 272255"/>
                    <a:gd name="connsiteY3" fmla="*/ 0 h 216290"/>
                    <a:gd name="connsiteX4" fmla="*/ 272255 w 272255"/>
                    <a:gd name="connsiteY4" fmla="*/ 0 h 216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2255" h="216290">
                      <a:moveTo>
                        <a:pt x="272255" y="879"/>
                      </a:moveTo>
                      <a:cubicBezTo>
                        <a:pt x="272255" y="879"/>
                        <a:pt x="221317" y="162658"/>
                        <a:pt x="259960" y="216291"/>
                      </a:cubicBezTo>
                      <a:lnTo>
                        <a:pt x="0" y="216291"/>
                      </a:lnTo>
                      <a:lnTo>
                        <a:pt x="62355" y="0"/>
                      </a:lnTo>
                      <a:lnTo>
                        <a:pt x="272255" y="0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3C825090-6A1C-9378-EDC1-1F9FB518C703}"/>
                  </a:ext>
                </a:extLst>
              </p:cNvPr>
              <p:cNvSpPr/>
              <p:nvPr/>
            </p:nvSpPr>
            <p:spPr>
              <a:xfrm>
                <a:off x="-10873775" y="3549442"/>
                <a:ext cx="180674" cy="261131"/>
              </a:xfrm>
              <a:custGeom>
                <a:avLst/>
                <a:gdLst>
                  <a:gd name="connsiteX0" fmla="*/ 180372 w 180674"/>
                  <a:gd name="connsiteY0" fmla="*/ 220687 h 261131"/>
                  <a:gd name="connsiteX1" fmla="*/ 149633 w 180674"/>
                  <a:gd name="connsiteY1" fmla="*/ 182001 h 261131"/>
                  <a:gd name="connsiteX2" fmla="*/ 93426 w 180674"/>
                  <a:gd name="connsiteY2" fmla="*/ 149469 h 261131"/>
                  <a:gd name="connsiteX3" fmla="*/ 122408 w 180674"/>
                  <a:gd name="connsiteY3" fmla="*/ 0 h 261131"/>
                  <a:gd name="connsiteX4" fmla="*/ 37218 w 180674"/>
                  <a:gd name="connsiteY4" fmla="*/ 0 h 261131"/>
                  <a:gd name="connsiteX5" fmla="*/ 18775 w 180674"/>
                  <a:gd name="connsiteY5" fmla="*/ 135401 h 261131"/>
                  <a:gd name="connsiteX6" fmla="*/ 3845 w 180674"/>
                  <a:gd name="connsiteY6" fmla="*/ 186397 h 261131"/>
                  <a:gd name="connsiteX7" fmla="*/ 86400 w 180674"/>
                  <a:gd name="connsiteY7" fmla="*/ 232117 h 261131"/>
                  <a:gd name="connsiteX8" fmla="*/ 136460 w 180674"/>
                  <a:gd name="connsiteY8" fmla="*/ 249701 h 261131"/>
                  <a:gd name="connsiteX9" fmla="*/ 166320 w 180674"/>
                  <a:gd name="connsiteY9" fmla="*/ 261131 h 261131"/>
                  <a:gd name="connsiteX10" fmla="*/ 179494 w 180674"/>
                  <a:gd name="connsiteY10" fmla="*/ 220687 h 261131"/>
                  <a:gd name="connsiteX11" fmla="*/ 180372 w 180674"/>
                  <a:gd name="connsiteY11" fmla="*/ 220687 h 26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0674" h="261131">
                    <a:moveTo>
                      <a:pt x="180372" y="220687"/>
                    </a:moveTo>
                    <a:cubicBezTo>
                      <a:pt x="183007" y="188155"/>
                      <a:pt x="168076" y="188155"/>
                      <a:pt x="149633" y="182001"/>
                    </a:cubicBezTo>
                    <a:cubicBezTo>
                      <a:pt x="123286" y="172329"/>
                      <a:pt x="93426" y="149469"/>
                      <a:pt x="93426" y="149469"/>
                    </a:cubicBezTo>
                    <a:lnTo>
                      <a:pt x="122408" y="0"/>
                    </a:lnTo>
                    <a:lnTo>
                      <a:pt x="37218" y="0"/>
                    </a:lnTo>
                    <a:lnTo>
                      <a:pt x="18775" y="135401"/>
                    </a:lnTo>
                    <a:cubicBezTo>
                      <a:pt x="18775" y="135401"/>
                      <a:pt x="-10207" y="163537"/>
                      <a:pt x="3845" y="186397"/>
                    </a:cubicBezTo>
                    <a:cubicBezTo>
                      <a:pt x="17019" y="209257"/>
                      <a:pt x="53905" y="201344"/>
                      <a:pt x="86400" y="232117"/>
                    </a:cubicBezTo>
                    <a:cubicBezTo>
                      <a:pt x="103087" y="247943"/>
                      <a:pt x="112747" y="246185"/>
                      <a:pt x="136460" y="249701"/>
                    </a:cubicBezTo>
                    <a:cubicBezTo>
                      <a:pt x="143486" y="250581"/>
                      <a:pt x="146999" y="261131"/>
                      <a:pt x="166320" y="261131"/>
                    </a:cubicBezTo>
                    <a:cubicBezTo>
                      <a:pt x="185641" y="261131"/>
                      <a:pt x="178616" y="235634"/>
                      <a:pt x="179494" y="220687"/>
                    </a:cubicBezTo>
                    <a:lnTo>
                      <a:pt x="180372" y="220687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519930F5-274C-60A9-1CB0-1C576481371F}"/>
                  </a:ext>
                </a:extLst>
              </p:cNvPr>
              <p:cNvSpPr/>
              <p:nvPr/>
            </p:nvSpPr>
            <p:spPr>
              <a:xfrm>
                <a:off x="-11018818" y="3375937"/>
                <a:ext cx="366021" cy="167529"/>
              </a:xfrm>
              <a:custGeom>
                <a:avLst/>
                <a:gdLst>
                  <a:gd name="connsiteX0" fmla="*/ 3979 w 366021"/>
                  <a:gd name="connsiteY0" fmla="*/ 97012 h 167529"/>
                  <a:gd name="connsiteX1" fmla="*/ 206853 w 366021"/>
                  <a:gd name="connsiteY1" fmla="*/ 125148 h 167529"/>
                  <a:gd name="connsiteX2" fmla="*/ 364058 w 366021"/>
                  <a:gd name="connsiteY2" fmla="*/ 154162 h 167529"/>
                  <a:gd name="connsiteX3" fmla="*/ 311364 w 366021"/>
                  <a:gd name="connsiteY3" fmla="*/ 52171 h 167529"/>
                  <a:gd name="connsiteX4" fmla="*/ 154158 w 366021"/>
                  <a:gd name="connsiteY4" fmla="*/ 297 h 167529"/>
                  <a:gd name="connsiteX5" fmla="*/ 3101 w 366021"/>
                  <a:gd name="connsiteY5" fmla="*/ 96133 h 167529"/>
                  <a:gd name="connsiteX6" fmla="*/ 3101 w 366021"/>
                  <a:gd name="connsiteY6" fmla="*/ 96133 h 16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021" h="167529">
                    <a:moveTo>
                      <a:pt x="3979" y="97012"/>
                    </a:moveTo>
                    <a:cubicBezTo>
                      <a:pt x="21544" y="145370"/>
                      <a:pt x="206853" y="125148"/>
                      <a:pt x="206853" y="125148"/>
                    </a:cubicBezTo>
                    <a:cubicBezTo>
                      <a:pt x="206853" y="125148"/>
                      <a:pt x="357910" y="196365"/>
                      <a:pt x="364058" y="154162"/>
                    </a:cubicBezTo>
                    <a:cubicBezTo>
                      <a:pt x="371084" y="111959"/>
                      <a:pt x="360545" y="62722"/>
                      <a:pt x="311364" y="52171"/>
                    </a:cubicBezTo>
                    <a:cubicBezTo>
                      <a:pt x="262182" y="41621"/>
                      <a:pt x="211244" y="-4099"/>
                      <a:pt x="154158" y="297"/>
                    </a:cubicBezTo>
                    <a:cubicBezTo>
                      <a:pt x="43500" y="11727"/>
                      <a:pt x="-14464" y="47775"/>
                      <a:pt x="3101" y="96133"/>
                    </a:cubicBezTo>
                    <a:lnTo>
                      <a:pt x="3101" y="9613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2EE8900E-CA8A-3872-9F65-43DDF02DA90F}"/>
                  </a:ext>
                </a:extLst>
              </p:cNvPr>
              <p:cNvSpPr/>
              <p:nvPr/>
            </p:nvSpPr>
            <p:spPr>
              <a:xfrm>
                <a:off x="-11008880" y="3582853"/>
                <a:ext cx="212722" cy="304647"/>
              </a:xfrm>
              <a:custGeom>
                <a:avLst/>
                <a:gdLst>
                  <a:gd name="connsiteX0" fmla="*/ 147733 w 212722"/>
                  <a:gd name="connsiteY0" fmla="*/ 229479 h 304647"/>
                  <a:gd name="connsiteX1" fmla="*/ 105577 w 212722"/>
                  <a:gd name="connsiteY1" fmla="*/ 181121 h 304647"/>
                  <a:gd name="connsiteX2" fmla="*/ 212723 w 212722"/>
                  <a:gd name="connsiteY2" fmla="*/ 0 h 304647"/>
                  <a:gd name="connsiteX3" fmla="*/ 89769 w 212722"/>
                  <a:gd name="connsiteY3" fmla="*/ 3517 h 304647"/>
                  <a:gd name="connsiteX4" fmla="*/ 31805 w 212722"/>
                  <a:gd name="connsiteY4" fmla="*/ 146831 h 304647"/>
                  <a:gd name="connsiteX5" fmla="*/ 1066 w 212722"/>
                  <a:gd name="connsiteY5" fmla="*/ 197827 h 304647"/>
                  <a:gd name="connsiteX6" fmla="*/ 48491 w 212722"/>
                  <a:gd name="connsiteY6" fmla="*/ 252339 h 304647"/>
                  <a:gd name="connsiteX7" fmla="*/ 90647 w 212722"/>
                  <a:gd name="connsiteY7" fmla="*/ 293663 h 304647"/>
                  <a:gd name="connsiteX8" fmla="*/ 113481 w 212722"/>
                  <a:gd name="connsiteY8" fmla="*/ 290146 h 304647"/>
                  <a:gd name="connsiteX9" fmla="*/ 134559 w 212722"/>
                  <a:gd name="connsiteY9" fmla="*/ 290146 h 304647"/>
                  <a:gd name="connsiteX10" fmla="*/ 156515 w 212722"/>
                  <a:gd name="connsiteY10" fmla="*/ 286629 h 304647"/>
                  <a:gd name="connsiteX11" fmla="*/ 169689 w 212722"/>
                  <a:gd name="connsiteY11" fmla="*/ 275199 h 304647"/>
                  <a:gd name="connsiteX12" fmla="*/ 146854 w 212722"/>
                  <a:gd name="connsiteY12" fmla="*/ 227721 h 304647"/>
                  <a:gd name="connsiteX13" fmla="*/ 146854 w 212722"/>
                  <a:gd name="connsiteY13" fmla="*/ 229479 h 30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2722" h="304647">
                    <a:moveTo>
                      <a:pt x="147733" y="229479"/>
                    </a:moveTo>
                    <a:cubicBezTo>
                      <a:pt x="124898" y="213653"/>
                      <a:pt x="105577" y="181121"/>
                      <a:pt x="105577" y="181121"/>
                    </a:cubicBezTo>
                    <a:cubicBezTo>
                      <a:pt x="120507" y="123971"/>
                      <a:pt x="212723" y="0"/>
                      <a:pt x="212723" y="0"/>
                    </a:cubicBezTo>
                    <a:lnTo>
                      <a:pt x="89769" y="3517"/>
                    </a:lnTo>
                    <a:lnTo>
                      <a:pt x="31805" y="146831"/>
                    </a:lnTo>
                    <a:cubicBezTo>
                      <a:pt x="31805" y="146831"/>
                      <a:pt x="-6838" y="172329"/>
                      <a:pt x="1066" y="197827"/>
                    </a:cubicBezTo>
                    <a:cubicBezTo>
                      <a:pt x="8970" y="223325"/>
                      <a:pt x="22144" y="215412"/>
                      <a:pt x="48491" y="252339"/>
                    </a:cubicBezTo>
                    <a:cubicBezTo>
                      <a:pt x="62543" y="273441"/>
                      <a:pt x="67813" y="288388"/>
                      <a:pt x="90647" y="293663"/>
                    </a:cubicBezTo>
                    <a:cubicBezTo>
                      <a:pt x="100307" y="311248"/>
                      <a:pt x="117872" y="305972"/>
                      <a:pt x="113481" y="290146"/>
                    </a:cubicBezTo>
                    <a:cubicBezTo>
                      <a:pt x="116994" y="303335"/>
                      <a:pt x="139828" y="305972"/>
                      <a:pt x="134559" y="290146"/>
                    </a:cubicBezTo>
                    <a:cubicBezTo>
                      <a:pt x="138072" y="302455"/>
                      <a:pt x="158271" y="294542"/>
                      <a:pt x="156515" y="286629"/>
                    </a:cubicBezTo>
                    <a:cubicBezTo>
                      <a:pt x="161784" y="294542"/>
                      <a:pt x="181106" y="286629"/>
                      <a:pt x="169689" y="275199"/>
                    </a:cubicBezTo>
                    <a:cubicBezTo>
                      <a:pt x="197792" y="262011"/>
                      <a:pt x="179349" y="248822"/>
                      <a:pt x="146854" y="227721"/>
                    </a:cubicBezTo>
                    <a:lnTo>
                      <a:pt x="146854" y="22947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187C5C15-EC15-B73A-2318-16E3C3A2E9CC}"/>
                  </a:ext>
                </a:extLst>
              </p:cNvPr>
              <p:cNvSpPr/>
              <p:nvPr/>
            </p:nvSpPr>
            <p:spPr>
              <a:xfrm>
                <a:off x="-10950752" y="2820159"/>
                <a:ext cx="273395" cy="309206"/>
              </a:xfrm>
              <a:custGeom>
                <a:avLst/>
                <a:gdLst>
                  <a:gd name="connsiteX0" fmla="*/ 158986 w 273395"/>
                  <a:gd name="connsiteY0" fmla="*/ 250103 h 309206"/>
                  <a:gd name="connsiteX1" fmla="*/ 218707 w 273395"/>
                  <a:gd name="connsiteY1" fmla="*/ 260653 h 309206"/>
                  <a:gd name="connsiteX2" fmla="*/ 241541 w 273395"/>
                  <a:gd name="connsiteY2" fmla="*/ 232518 h 309206"/>
                  <a:gd name="connsiteX3" fmla="*/ 249445 w 273395"/>
                  <a:gd name="connsiteY3" fmla="*/ 211417 h 309206"/>
                  <a:gd name="connsiteX4" fmla="*/ 239784 w 273395"/>
                  <a:gd name="connsiteY4" fmla="*/ 207900 h 309206"/>
                  <a:gd name="connsiteX5" fmla="*/ 258228 w 273395"/>
                  <a:gd name="connsiteY5" fmla="*/ 211417 h 309206"/>
                  <a:gd name="connsiteX6" fmla="*/ 256471 w 273395"/>
                  <a:gd name="connsiteY6" fmla="*/ 185919 h 309206"/>
                  <a:gd name="connsiteX7" fmla="*/ 267888 w 273395"/>
                  <a:gd name="connsiteY7" fmla="*/ 181523 h 309206"/>
                  <a:gd name="connsiteX8" fmla="*/ 270523 w 273395"/>
                  <a:gd name="connsiteY8" fmla="*/ 162180 h 309206"/>
                  <a:gd name="connsiteX9" fmla="*/ 255593 w 273395"/>
                  <a:gd name="connsiteY9" fmla="*/ 135803 h 309206"/>
                  <a:gd name="connsiteX10" fmla="*/ 263497 w 273395"/>
                  <a:gd name="connsiteY10" fmla="*/ 112064 h 309206"/>
                  <a:gd name="connsiteX11" fmla="*/ 91361 w 273395"/>
                  <a:gd name="connsiteY11" fmla="*/ 401 h 309206"/>
                  <a:gd name="connsiteX12" fmla="*/ 24 w 273395"/>
                  <a:gd name="connsiteY12" fmla="*/ 131407 h 309206"/>
                  <a:gd name="connsiteX13" fmla="*/ 38667 w 273395"/>
                  <a:gd name="connsiteY13" fmla="*/ 233397 h 309206"/>
                  <a:gd name="connsiteX14" fmla="*/ 7928 w 273395"/>
                  <a:gd name="connsiteY14" fmla="*/ 300219 h 309206"/>
                  <a:gd name="connsiteX15" fmla="*/ 154595 w 273395"/>
                  <a:gd name="connsiteY15" fmla="*/ 300219 h 309206"/>
                  <a:gd name="connsiteX16" fmla="*/ 158108 w 273395"/>
                  <a:gd name="connsiteY16" fmla="*/ 250982 h 30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3395" h="309206">
                    <a:moveTo>
                      <a:pt x="158986" y="250103"/>
                    </a:moveTo>
                    <a:cubicBezTo>
                      <a:pt x="195872" y="258895"/>
                      <a:pt x="205533" y="260653"/>
                      <a:pt x="218707" y="260653"/>
                    </a:cubicBezTo>
                    <a:cubicBezTo>
                      <a:pt x="231880" y="260653"/>
                      <a:pt x="236271" y="243948"/>
                      <a:pt x="241541" y="232518"/>
                    </a:cubicBezTo>
                    <a:cubicBezTo>
                      <a:pt x="254715" y="231639"/>
                      <a:pt x="258228" y="214934"/>
                      <a:pt x="249445" y="211417"/>
                    </a:cubicBezTo>
                    <a:cubicBezTo>
                      <a:pt x="240663" y="207900"/>
                      <a:pt x="244176" y="210537"/>
                      <a:pt x="239784" y="207900"/>
                    </a:cubicBezTo>
                    <a:cubicBezTo>
                      <a:pt x="248567" y="211417"/>
                      <a:pt x="252958" y="214054"/>
                      <a:pt x="258228" y="211417"/>
                    </a:cubicBezTo>
                    <a:cubicBezTo>
                      <a:pt x="263497" y="202624"/>
                      <a:pt x="256471" y="191194"/>
                      <a:pt x="256471" y="185919"/>
                    </a:cubicBezTo>
                    <a:cubicBezTo>
                      <a:pt x="256471" y="185919"/>
                      <a:pt x="260862" y="184160"/>
                      <a:pt x="267888" y="181523"/>
                    </a:cubicBezTo>
                    <a:cubicBezTo>
                      <a:pt x="273158" y="178885"/>
                      <a:pt x="275792" y="170093"/>
                      <a:pt x="270523" y="162180"/>
                    </a:cubicBezTo>
                    <a:cubicBezTo>
                      <a:pt x="265254" y="154267"/>
                      <a:pt x="258228" y="147233"/>
                      <a:pt x="255593" y="135803"/>
                    </a:cubicBezTo>
                    <a:cubicBezTo>
                      <a:pt x="259984" y="126131"/>
                      <a:pt x="263497" y="112064"/>
                      <a:pt x="263497" y="112064"/>
                    </a:cubicBezTo>
                    <a:cubicBezTo>
                      <a:pt x="292479" y="-12787"/>
                      <a:pt x="91361" y="401"/>
                      <a:pt x="91361" y="401"/>
                    </a:cubicBezTo>
                    <a:cubicBezTo>
                      <a:pt x="21980" y="10952"/>
                      <a:pt x="-854" y="80411"/>
                      <a:pt x="24" y="131407"/>
                    </a:cubicBezTo>
                    <a:cubicBezTo>
                      <a:pt x="903" y="182402"/>
                      <a:pt x="38667" y="233397"/>
                      <a:pt x="38667" y="233397"/>
                    </a:cubicBezTo>
                    <a:cubicBezTo>
                      <a:pt x="38667" y="233397"/>
                      <a:pt x="14954" y="279997"/>
                      <a:pt x="7928" y="300219"/>
                    </a:cubicBezTo>
                    <a:cubicBezTo>
                      <a:pt x="903" y="320441"/>
                      <a:pt x="154595" y="300219"/>
                      <a:pt x="154595" y="300219"/>
                    </a:cubicBezTo>
                    <a:lnTo>
                      <a:pt x="158108" y="250982"/>
                    </a:lnTo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E697AF1C-DBD2-E86B-4FD2-993A1C9F5EDD}"/>
                  </a:ext>
                </a:extLst>
              </p:cNvPr>
              <p:cNvSpPr/>
              <p:nvPr/>
            </p:nvSpPr>
            <p:spPr>
              <a:xfrm>
                <a:off x="-10796157" y="3405134"/>
                <a:ext cx="209436" cy="177361"/>
              </a:xfrm>
              <a:custGeom>
                <a:avLst/>
                <a:gdLst>
                  <a:gd name="connsiteX0" fmla="*/ 75529 w 209436"/>
                  <a:gd name="connsiteY0" fmla="*/ 33525 h 177361"/>
                  <a:gd name="connsiteX1" fmla="*/ 0 w 209436"/>
                  <a:gd name="connsiteY1" fmla="*/ 107380 h 177361"/>
                  <a:gd name="connsiteX2" fmla="*/ 11417 w 209436"/>
                  <a:gd name="connsiteY2" fmla="*/ 168047 h 177361"/>
                  <a:gd name="connsiteX3" fmla="*/ 155449 w 209436"/>
                  <a:gd name="connsiteY3" fmla="*/ 172444 h 177361"/>
                  <a:gd name="connsiteX4" fmla="*/ 196726 w 209436"/>
                  <a:gd name="connsiteY4" fmla="*/ 152221 h 177361"/>
                  <a:gd name="connsiteX5" fmla="*/ 196726 w 209436"/>
                  <a:gd name="connsiteY5" fmla="*/ 124965 h 177361"/>
                  <a:gd name="connsiteX6" fmla="*/ 167744 w 209436"/>
                  <a:gd name="connsiteY6" fmla="*/ 138154 h 177361"/>
                  <a:gd name="connsiteX7" fmla="*/ 196726 w 209436"/>
                  <a:gd name="connsiteY7" fmla="*/ 124965 h 177361"/>
                  <a:gd name="connsiteX8" fmla="*/ 202874 w 209436"/>
                  <a:gd name="connsiteY8" fmla="*/ 91554 h 177361"/>
                  <a:gd name="connsiteX9" fmla="*/ 165109 w 209436"/>
                  <a:gd name="connsiteY9" fmla="*/ 110018 h 177361"/>
                  <a:gd name="connsiteX10" fmla="*/ 202874 w 209436"/>
                  <a:gd name="connsiteY10" fmla="*/ 90675 h 177361"/>
                  <a:gd name="connsiteX11" fmla="*/ 194970 w 209436"/>
                  <a:gd name="connsiteY11" fmla="*/ 51110 h 177361"/>
                  <a:gd name="connsiteX12" fmla="*/ 160718 w 209436"/>
                  <a:gd name="connsiteY12" fmla="*/ 81883 h 177361"/>
                  <a:gd name="connsiteX13" fmla="*/ 187944 w 209436"/>
                  <a:gd name="connsiteY13" fmla="*/ 68694 h 177361"/>
                  <a:gd name="connsiteX14" fmla="*/ 185309 w 209436"/>
                  <a:gd name="connsiteY14" fmla="*/ 30887 h 177361"/>
                  <a:gd name="connsiteX15" fmla="*/ 136128 w 209436"/>
                  <a:gd name="connsiteY15" fmla="*/ 30008 h 177361"/>
                  <a:gd name="connsiteX16" fmla="*/ 159840 w 209436"/>
                  <a:gd name="connsiteY16" fmla="*/ 48472 h 177361"/>
                  <a:gd name="connsiteX17" fmla="*/ 140519 w 209436"/>
                  <a:gd name="connsiteY17" fmla="*/ 55506 h 177361"/>
                  <a:gd name="connsiteX18" fmla="*/ 108024 w 209436"/>
                  <a:gd name="connsiteY18" fmla="*/ 56385 h 177361"/>
                  <a:gd name="connsiteX19" fmla="*/ 144032 w 209436"/>
                  <a:gd name="connsiteY19" fmla="*/ 4510 h 177361"/>
                  <a:gd name="connsiteX20" fmla="*/ 75529 w 209436"/>
                  <a:gd name="connsiteY20" fmla="*/ 33525 h 17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09436" h="177361">
                    <a:moveTo>
                      <a:pt x="75529" y="33525"/>
                    </a:moveTo>
                    <a:cubicBezTo>
                      <a:pt x="64112" y="43197"/>
                      <a:pt x="0" y="107380"/>
                      <a:pt x="0" y="107380"/>
                    </a:cubicBezTo>
                    <a:cubicBezTo>
                      <a:pt x="0" y="107380"/>
                      <a:pt x="7904" y="151342"/>
                      <a:pt x="11417" y="168047"/>
                    </a:cubicBezTo>
                    <a:cubicBezTo>
                      <a:pt x="20199" y="174202"/>
                      <a:pt x="120319" y="182994"/>
                      <a:pt x="155449" y="172444"/>
                    </a:cubicBezTo>
                    <a:cubicBezTo>
                      <a:pt x="187066" y="162772"/>
                      <a:pt x="190578" y="159255"/>
                      <a:pt x="196726" y="152221"/>
                    </a:cubicBezTo>
                    <a:cubicBezTo>
                      <a:pt x="202874" y="145187"/>
                      <a:pt x="206387" y="118810"/>
                      <a:pt x="196726" y="124965"/>
                    </a:cubicBezTo>
                    <a:cubicBezTo>
                      <a:pt x="186187" y="136395"/>
                      <a:pt x="167744" y="138154"/>
                      <a:pt x="167744" y="138154"/>
                    </a:cubicBezTo>
                    <a:cubicBezTo>
                      <a:pt x="167744" y="138154"/>
                      <a:pt x="178283" y="138154"/>
                      <a:pt x="196726" y="124965"/>
                    </a:cubicBezTo>
                    <a:cubicBezTo>
                      <a:pt x="209900" y="114414"/>
                      <a:pt x="214291" y="98588"/>
                      <a:pt x="202874" y="91554"/>
                    </a:cubicBezTo>
                    <a:cubicBezTo>
                      <a:pt x="183553" y="110897"/>
                      <a:pt x="165109" y="110018"/>
                      <a:pt x="165109" y="110018"/>
                    </a:cubicBezTo>
                    <a:cubicBezTo>
                      <a:pt x="165109" y="110018"/>
                      <a:pt x="193213" y="104743"/>
                      <a:pt x="202874" y="90675"/>
                    </a:cubicBezTo>
                    <a:cubicBezTo>
                      <a:pt x="215169" y="73090"/>
                      <a:pt x="194970" y="44955"/>
                      <a:pt x="194970" y="51110"/>
                    </a:cubicBezTo>
                    <a:cubicBezTo>
                      <a:pt x="194970" y="65177"/>
                      <a:pt x="187066" y="72211"/>
                      <a:pt x="160718" y="81883"/>
                    </a:cubicBezTo>
                    <a:cubicBezTo>
                      <a:pt x="160718" y="81883"/>
                      <a:pt x="176527" y="81883"/>
                      <a:pt x="187944" y="68694"/>
                    </a:cubicBezTo>
                    <a:cubicBezTo>
                      <a:pt x="199361" y="55506"/>
                      <a:pt x="196726" y="40559"/>
                      <a:pt x="185309" y="30887"/>
                    </a:cubicBezTo>
                    <a:cubicBezTo>
                      <a:pt x="174770" y="21216"/>
                      <a:pt x="137884" y="23854"/>
                      <a:pt x="136128" y="30008"/>
                    </a:cubicBezTo>
                    <a:cubicBezTo>
                      <a:pt x="122076" y="69574"/>
                      <a:pt x="163353" y="45834"/>
                      <a:pt x="159840" y="48472"/>
                    </a:cubicBezTo>
                    <a:cubicBezTo>
                      <a:pt x="149301" y="54627"/>
                      <a:pt x="147545" y="53747"/>
                      <a:pt x="140519" y="55506"/>
                    </a:cubicBezTo>
                    <a:cubicBezTo>
                      <a:pt x="133493" y="57264"/>
                      <a:pt x="117684" y="57264"/>
                      <a:pt x="108024" y="56385"/>
                    </a:cubicBezTo>
                    <a:cubicBezTo>
                      <a:pt x="105389" y="53747"/>
                      <a:pt x="156327" y="22974"/>
                      <a:pt x="144032" y="4510"/>
                    </a:cubicBezTo>
                    <a:cubicBezTo>
                      <a:pt x="131736" y="-13953"/>
                      <a:pt x="79920" y="30008"/>
                      <a:pt x="75529" y="33525"/>
                    </a:cubicBez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60CB4E27-0D96-B831-7373-5D6F5BB57FBA}"/>
                  </a:ext>
                </a:extLst>
              </p:cNvPr>
              <p:cNvSpPr/>
              <p:nvPr/>
            </p:nvSpPr>
            <p:spPr>
              <a:xfrm>
                <a:off x="-10852365" y="3844864"/>
                <a:ext cx="13173" cy="14947"/>
              </a:xfrm>
              <a:custGeom>
                <a:avLst/>
                <a:gdLst>
                  <a:gd name="connsiteX0" fmla="*/ 0 w 13173"/>
                  <a:gd name="connsiteY0" fmla="*/ 0 h 14947"/>
                  <a:gd name="connsiteX1" fmla="*/ 13174 w 13173"/>
                  <a:gd name="connsiteY1" fmla="*/ 14947 h 14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73" h="14947">
                    <a:moveTo>
                      <a:pt x="0" y="0"/>
                    </a:moveTo>
                    <a:cubicBezTo>
                      <a:pt x="0" y="0"/>
                      <a:pt x="9660" y="7034"/>
                      <a:pt x="13174" y="14947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8AD474A2-C68B-80FB-9BFD-B51D1F503BB0}"/>
                  </a:ext>
                </a:extLst>
              </p:cNvPr>
              <p:cNvSpPr/>
              <p:nvPr/>
            </p:nvSpPr>
            <p:spPr>
              <a:xfrm>
                <a:off x="-10864660" y="3857173"/>
                <a:ext cx="12295" cy="13188"/>
              </a:xfrm>
              <a:custGeom>
                <a:avLst/>
                <a:gdLst>
                  <a:gd name="connsiteX0" fmla="*/ 0 w 12295"/>
                  <a:gd name="connsiteY0" fmla="*/ 0 h 13188"/>
                  <a:gd name="connsiteX1" fmla="*/ 12296 w 12295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5" h="13188">
                    <a:moveTo>
                      <a:pt x="0" y="0"/>
                    </a:moveTo>
                    <a:cubicBezTo>
                      <a:pt x="0" y="0"/>
                      <a:pt x="7904" y="5275"/>
                      <a:pt x="12296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3E68533B-DD3B-8007-4BFF-3B5001F43F32}"/>
                  </a:ext>
                </a:extLst>
              </p:cNvPr>
              <p:cNvSpPr/>
              <p:nvPr/>
            </p:nvSpPr>
            <p:spPr>
              <a:xfrm>
                <a:off x="-10881347" y="3861569"/>
                <a:ext cx="7904" cy="13188"/>
              </a:xfrm>
              <a:custGeom>
                <a:avLst/>
                <a:gdLst>
                  <a:gd name="connsiteX0" fmla="*/ 0 w 7904"/>
                  <a:gd name="connsiteY0" fmla="*/ 0 h 13188"/>
                  <a:gd name="connsiteX1" fmla="*/ 7904 w 7904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4" h="13188">
                    <a:moveTo>
                      <a:pt x="0" y="0"/>
                    </a:moveTo>
                    <a:cubicBezTo>
                      <a:pt x="0" y="0"/>
                      <a:pt x="4391" y="3517"/>
                      <a:pt x="7904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1076C015-C795-6FFF-2699-CE6C8DD920B1}"/>
                  </a:ext>
                </a:extLst>
              </p:cNvPr>
              <p:cNvSpPr/>
              <p:nvPr/>
            </p:nvSpPr>
            <p:spPr>
              <a:xfrm>
                <a:off x="-10903303" y="3862448"/>
                <a:ext cx="8782" cy="12309"/>
              </a:xfrm>
              <a:custGeom>
                <a:avLst/>
                <a:gdLst>
                  <a:gd name="connsiteX0" fmla="*/ 0 w 8782"/>
                  <a:gd name="connsiteY0" fmla="*/ 0 h 12309"/>
                  <a:gd name="connsiteX1" fmla="*/ 8782 w 8782"/>
                  <a:gd name="connsiteY1" fmla="*/ 12309 h 1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2" h="12309">
                    <a:moveTo>
                      <a:pt x="0" y="0"/>
                    </a:moveTo>
                    <a:cubicBezTo>
                      <a:pt x="0" y="0"/>
                      <a:pt x="5270" y="2638"/>
                      <a:pt x="8782" y="12309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C0D49CF7-1E6D-4B7D-11E8-472FC02E60F7}"/>
                  </a:ext>
                </a:extLst>
              </p:cNvPr>
              <p:cNvSpPr/>
              <p:nvPr/>
            </p:nvSpPr>
            <p:spPr>
              <a:xfrm>
                <a:off x="-10717115" y="3779801"/>
                <a:ext cx="25468" cy="20222"/>
              </a:xfrm>
              <a:custGeom>
                <a:avLst/>
                <a:gdLst>
                  <a:gd name="connsiteX0" fmla="*/ 0 w 25468"/>
                  <a:gd name="connsiteY0" fmla="*/ 0 h 20222"/>
                  <a:gd name="connsiteX1" fmla="*/ 25469 w 25468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68" h="20222">
                    <a:moveTo>
                      <a:pt x="0" y="0"/>
                    </a:moveTo>
                    <a:cubicBezTo>
                      <a:pt x="0" y="0"/>
                      <a:pt x="25469" y="4396"/>
                      <a:pt x="25469" y="20222"/>
                    </a:cubicBezTo>
                  </a:path>
                </a:pathLst>
              </a:custGeom>
              <a:solidFill>
                <a:srgbClr val="FA69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F27F05B9-885A-5710-C8DD-5BDCDE052932}"/>
                  </a:ext>
                </a:extLst>
              </p:cNvPr>
              <p:cNvSpPr/>
              <p:nvPr/>
            </p:nvSpPr>
            <p:spPr>
              <a:xfrm>
                <a:off x="-10712724" y="3765733"/>
                <a:ext cx="20199" cy="17584"/>
              </a:xfrm>
              <a:custGeom>
                <a:avLst/>
                <a:gdLst>
                  <a:gd name="connsiteX0" fmla="*/ 0 w 20199"/>
                  <a:gd name="connsiteY0" fmla="*/ 0 h 17584"/>
                  <a:gd name="connsiteX1" fmla="*/ 20199 w 20199"/>
                  <a:gd name="connsiteY1" fmla="*/ 17585 h 17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99" h="17584">
                    <a:moveTo>
                      <a:pt x="0" y="0"/>
                    </a:moveTo>
                    <a:cubicBezTo>
                      <a:pt x="0" y="0"/>
                      <a:pt x="19321" y="0"/>
                      <a:pt x="20199" y="17585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7BB1371-AF59-CE54-0C17-CC6255E4823F}"/>
                  </a:ext>
                </a:extLst>
              </p:cNvPr>
              <p:cNvSpPr/>
              <p:nvPr/>
            </p:nvSpPr>
            <p:spPr>
              <a:xfrm>
                <a:off x="-10709211" y="3752545"/>
                <a:ext cx="18815" cy="20222"/>
              </a:xfrm>
              <a:custGeom>
                <a:avLst/>
                <a:gdLst>
                  <a:gd name="connsiteX0" fmla="*/ 0 w 18815"/>
                  <a:gd name="connsiteY0" fmla="*/ 0 h 20222"/>
                  <a:gd name="connsiteX1" fmla="*/ 16687 w 18815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15" h="20222">
                    <a:moveTo>
                      <a:pt x="0" y="0"/>
                    </a:moveTo>
                    <a:cubicBezTo>
                      <a:pt x="0" y="0"/>
                      <a:pt x="26347" y="2638"/>
                      <a:pt x="16687" y="20222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036FEBAA-9BE8-0DFF-1308-CED64FA4A4A2}"/>
                  </a:ext>
                </a:extLst>
              </p:cNvPr>
              <p:cNvSpPr/>
              <p:nvPr/>
            </p:nvSpPr>
            <p:spPr>
              <a:xfrm>
                <a:off x="-10873076" y="3190858"/>
                <a:ext cx="325400" cy="137155"/>
              </a:xfrm>
              <a:custGeom>
                <a:avLst/>
                <a:gdLst>
                  <a:gd name="connsiteX0" fmla="*/ 23346 w 325400"/>
                  <a:gd name="connsiteY0" fmla="*/ 55249 h 137155"/>
                  <a:gd name="connsiteX1" fmla="*/ 10173 w 325400"/>
                  <a:gd name="connsiteY1" fmla="*/ 137018 h 137155"/>
                  <a:gd name="connsiteX2" fmla="*/ 184065 w 325400"/>
                  <a:gd name="connsiteY2" fmla="*/ 103607 h 137155"/>
                  <a:gd name="connsiteX3" fmla="*/ 262228 w 325400"/>
                  <a:gd name="connsiteY3" fmla="*/ 107124 h 137155"/>
                  <a:gd name="connsiteX4" fmla="*/ 306141 w 325400"/>
                  <a:gd name="connsiteY4" fmla="*/ 90419 h 137155"/>
                  <a:gd name="connsiteX5" fmla="*/ 306141 w 325400"/>
                  <a:gd name="connsiteY5" fmla="*/ 70196 h 137155"/>
                  <a:gd name="connsiteX6" fmla="*/ 275402 w 325400"/>
                  <a:gd name="connsiteY6" fmla="*/ 85143 h 137155"/>
                  <a:gd name="connsiteX7" fmla="*/ 312288 w 325400"/>
                  <a:gd name="connsiteY7" fmla="*/ 65800 h 137155"/>
                  <a:gd name="connsiteX8" fmla="*/ 306141 w 325400"/>
                  <a:gd name="connsiteY8" fmla="*/ 47336 h 137155"/>
                  <a:gd name="connsiteX9" fmla="*/ 271011 w 325400"/>
                  <a:gd name="connsiteY9" fmla="*/ 64921 h 137155"/>
                  <a:gd name="connsiteX10" fmla="*/ 313166 w 325400"/>
                  <a:gd name="connsiteY10" fmla="*/ 41182 h 137155"/>
                  <a:gd name="connsiteX11" fmla="*/ 306141 w 325400"/>
                  <a:gd name="connsiteY11" fmla="*/ 23597 h 137155"/>
                  <a:gd name="connsiteX12" fmla="*/ 269254 w 325400"/>
                  <a:gd name="connsiteY12" fmla="*/ 46457 h 137155"/>
                  <a:gd name="connsiteX13" fmla="*/ 295601 w 325400"/>
                  <a:gd name="connsiteY13" fmla="*/ 31510 h 137155"/>
                  <a:gd name="connsiteX14" fmla="*/ 293845 w 325400"/>
                  <a:gd name="connsiteY14" fmla="*/ 10409 h 137155"/>
                  <a:gd name="connsiteX15" fmla="*/ 265741 w 325400"/>
                  <a:gd name="connsiteY15" fmla="*/ 29752 h 137155"/>
                  <a:gd name="connsiteX16" fmla="*/ 243785 w 325400"/>
                  <a:gd name="connsiteY16" fmla="*/ 35027 h 137155"/>
                  <a:gd name="connsiteX17" fmla="*/ 260472 w 325400"/>
                  <a:gd name="connsiteY17" fmla="*/ 2496 h 137155"/>
                  <a:gd name="connsiteX18" fmla="*/ 219194 w 325400"/>
                  <a:gd name="connsiteY18" fmla="*/ 30631 h 137155"/>
                  <a:gd name="connsiteX19" fmla="*/ 180552 w 325400"/>
                  <a:gd name="connsiteY19" fmla="*/ 60525 h 137155"/>
                  <a:gd name="connsiteX20" fmla="*/ 22468 w 325400"/>
                  <a:gd name="connsiteY20" fmla="*/ 57008 h 137155"/>
                  <a:gd name="connsiteX21" fmla="*/ 22468 w 325400"/>
                  <a:gd name="connsiteY21" fmla="*/ 55249 h 13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5400" h="137155">
                    <a:moveTo>
                      <a:pt x="23346" y="55249"/>
                    </a:moveTo>
                    <a:cubicBezTo>
                      <a:pt x="23346" y="59646"/>
                      <a:pt x="-18809" y="134380"/>
                      <a:pt x="10173" y="137018"/>
                    </a:cubicBezTo>
                    <a:cubicBezTo>
                      <a:pt x="39155" y="139656"/>
                      <a:pt x="184065" y="103607"/>
                      <a:pt x="184065" y="103607"/>
                    </a:cubicBezTo>
                    <a:cubicBezTo>
                      <a:pt x="188456" y="108003"/>
                      <a:pt x="235881" y="111520"/>
                      <a:pt x="262228" y="107124"/>
                    </a:cubicBezTo>
                    <a:cubicBezTo>
                      <a:pt x="288576" y="102728"/>
                      <a:pt x="294723" y="95694"/>
                      <a:pt x="306141" y="90419"/>
                    </a:cubicBezTo>
                    <a:cubicBezTo>
                      <a:pt x="323705" y="81626"/>
                      <a:pt x="317558" y="63162"/>
                      <a:pt x="306141" y="70196"/>
                    </a:cubicBezTo>
                    <a:cubicBezTo>
                      <a:pt x="294723" y="77230"/>
                      <a:pt x="275402" y="85143"/>
                      <a:pt x="275402" y="85143"/>
                    </a:cubicBezTo>
                    <a:cubicBezTo>
                      <a:pt x="275402" y="85143"/>
                      <a:pt x="302627" y="75472"/>
                      <a:pt x="312288" y="65800"/>
                    </a:cubicBezTo>
                    <a:cubicBezTo>
                      <a:pt x="326340" y="53491"/>
                      <a:pt x="324583" y="33269"/>
                      <a:pt x="306141" y="47336"/>
                    </a:cubicBezTo>
                    <a:cubicBezTo>
                      <a:pt x="289454" y="57887"/>
                      <a:pt x="271011" y="64921"/>
                      <a:pt x="271011" y="64921"/>
                    </a:cubicBezTo>
                    <a:cubicBezTo>
                      <a:pt x="271011" y="64921"/>
                      <a:pt x="299114" y="53491"/>
                      <a:pt x="313166" y="41182"/>
                    </a:cubicBezTo>
                    <a:cubicBezTo>
                      <a:pt x="339514" y="18322"/>
                      <a:pt x="316679" y="13046"/>
                      <a:pt x="306141" y="23597"/>
                    </a:cubicBezTo>
                    <a:cubicBezTo>
                      <a:pt x="295601" y="34148"/>
                      <a:pt x="283306" y="40303"/>
                      <a:pt x="269254" y="46457"/>
                    </a:cubicBezTo>
                    <a:cubicBezTo>
                      <a:pt x="269254" y="46457"/>
                      <a:pt x="282428" y="41182"/>
                      <a:pt x="295601" y="31510"/>
                    </a:cubicBezTo>
                    <a:cubicBezTo>
                      <a:pt x="308775" y="21839"/>
                      <a:pt x="303506" y="3375"/>
                      <a:pt x="293845" y="10409"/>
                    </a:cubicBezTo>
                    <a:cubicBezTo>
                      <a:pt x="284184" y="17443"/>
                      <a:pt x="273645" y="27114"/>
                      <a:pt x="265741" y="29752"/>
                    </a:cubicBezTo>
                    <a:cubicBezTo>
                      <a:pt x="257837" y="32389"/>
                      <a:pt x="249055" y="35906"/>
                      <a:pt x="243785" y="35027"/>
                    </a:cubicBezTo>
                    <a:cubicBezTo>
                      <a:pt x="242029" y="33269"/>
                      <a:pt x="268376" y="13046"/>
                      <a:pt x="260472" y="2496"/>
                    </a:cubicBezTo>
                    <a:cubicBezTo>
                      <a:pt x="252568" y="-8055"/>
                      <a:pt x="228855" y="17443"/>
                      <a:pt x="219194" y="30631"/>
                    </a:cubicBezTo>
                    <a:cubicBezTo>
                      <a:pt x="209534" y="43819"/>
                      <a:pt x="180552" y="60525"/>
                      <a:pt x="180552" y="60525"/>
                    </a:cubicBezTo>
                    <a:cubicBezTo>
                      <a:pt x="180552" y="60525"/>
                      <a:pt x="21590" y="53491"/>
                      <a:pt x="22468" y="57008"/>
                    </a:cubicBezTo>
                    <a:lnTo>
                      <a:pt x="22468" y="5524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EE84DAEA-DD1F-1B3A-004C-A825B4A5B5C8}"/>
                  </a:ext>
                </a:extLst>
              </p:cNvPr>
              <p:cNvSpPr/>
              <p:nvPr/>
            </p:nvSpPr>
            <p:spPr>
              <a:xfrm>
                <a:off x="-11123877" y="3076153"/>
                <a:ext cx="353347" cy="527140"/>
              </a:xfrm>
              <a:custGeom>
                <a:avLst/>
                <a:gdLst>
                  <a:gd name="connsiteX0" fmla="*/ 347041 w 353347"/>
                  <a:gd name="connsiteY0" fmla="*/ 59171 h 527140"/>
                  <a:gd name="connsiteX1" fmla="*/ 124846 w 353347"/>
                  <a:gd name="connsiteY1" fmla="*/ 41587 h 527140"/>
                  <a:gd name="connsiteX2" fmla="*/ 1013 w 353347"/>
                  <a:gd name="connsiteY2" fmla="*/ 360748 h 527140"/>
                  <a:gd name="connsiteX3" fmla="*/ 195983 w 353347"/>
                  <a:gd name="connsiteY3" fmla="*/ 474168 h 527140"/>
                  <a:gd name="connsiteX4" fmla="*/ 318937 w 353347"/>
                  <a:gd name="connsiteY4" fmla="*/ 518130 h 527140"/>
                  <a:gd name="connsiteX5" fmla="*/ 306642 w 353347"/>
                  <a:gd name="connsiteY5" fmla="*/ 409985 h 527140"/>
                  <a:gd name="connsiteX6" fmla="*/ 243408 w 353347"/>
                  <a:gd name="connsiteY6" fmla="*/ 346680 h 527140"/>
                  <a:gd name="connsiteX7" fmla="*/ 346163 w 353347"/>
                  <a:gd name="connsiteY7" fmla="*/ 59171 h 527140"/>
                  <a:gd name="connsiteX8" fmla="*/ 347041 w 353347"/>
                  <a:gd name="connsiteY8" fmla="*/ 59171 h 527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347" h="527140">
                    <a:moveTo>
                      <a:pt x="347041" y="59171"/>
                    </a:moveTo>
                    <a:cubicBezTo>
                      <a:pt x="306642" y="-15563"/>
                      <a:pt x="172271" y="-17322"/>
                      <a:pt x="124846" y="41587"/>
                    </a:cubicBezTo>
                    <a:cubicBezTo>
                      <a:pt x="77421" y="100495"/>
                      <a:pt x="-10404" y="242052"/>
                      <a:pt x="1013" y="360748"/>
                    </a:cubicBezTo>
                    <a:cubicBezTo>
                      <a:pt x="12431" y="479444"/>
                      <a:pt x="195983" y="474168"/>
                      <a:pt x="195983" y="474168"/>
                    </a:cubicBezTo>
                    <a:cubicBezTo>
                      <a:pt x="195983" y="474168"/>
                      <a:pt x="294346" y="553299"/>
                      <a:pt x="318937" y="518130"/>
                    </a:cubicBezTo>
                    <a:cubicBezTo>
                      <a:pt x="341772" y="486478"/>
                      <a:pt x="336502" y="450429"/>
                      <a:pt x="306642" y="409985"/>
                    </a:cubicBezTo>
                    <a:cubicBezTo>
                      <a:pt x="282929" y="377453"/>
                      <a:pt x="243408" y="346680"/>
                      <a:pt x="243408" y="346680"/>
                    </a:cubicBezTo>
                    <a:cubicBezTo>
                      <a:pt x="243408" y="346680"/>
                      <a:pt x="386562" y="133906"/>
                      <a:pt x="346163" y="59171"/>
                    </a:cubicBezTo>
                    <a:lnTo>
                      <a:pt x="347041" y="59171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22F4A8E3-A0E1-FB47-6851-008F8339F410}"/>
                  </a:ext>
                </a:extLst>
              </p:cNvPr>
              <p:cNvSpPr/>
              <p:nvPr/>
            </p:nvSpPr>
            <p:spPr>
              <a:xfrm>
                <a:off x="-11149211" y="3460640"/>
                <a:ext cx="378522" cy="220686"/>
              </a:xfrm>
              <a:custGeom>
                <a:avLst/>
                <a:gdLst>
                  <a:gd name="connsiteX0" fmla="*/ 0 w 378522"/>
                  <a:gd name="connsiteY0" fmla="*/ 0 h 220686"/>
                  <a:gd name="connsiteX1" fmla="*/ 361836 w 378522"/>
                  <a:gd name="connsiteY1" fmla="*/ 34290 h 220686"/>
                  <a:gd name="connsiteX2" fmla="*/ 378523 w 378522"/>
                  <a:gd name="connsiteY2" fmla="*/ 119575 h 220686"/>
                  <a:gd name="connsiteX3" fmla="*/ 82555 w 378522"/>
                  <a:gd name="connsiteY3" fmla="*/ 220687 h 220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22" h="220686">
                    <a:moveTo>
                      <a:pt x="0" y="0"/>
                    </a:moveTo>
                    <a:lnTo>
                      <a:pt x="361836" y="34290"/>
                    </a:lnTo>
                    <a:lnTo>
                      <a:pt x="378523" y="119575"/>
                    </a:lnTo>
                    <a:cubicBezTo>
                      <a:pt x="378523" y="119575"/>
                      <a:pt x="201996" y="198706"/>
                      <a:pt x="82555" y="22068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C3AD53ED-CB25-EF31-5D50-D4FA51C26707}"/>
                  </a:ext>
                </a:extLst>
              </p:cNvPr>
              <p:cNvSpPr/>
              <p:nvPr/>
            </p:nvSpPr>
            <p:spPr>
              <a:xfrm>
                <a:off x="-13480067" y="1704817"/>
                <a:ext cx="8782" cy="8792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8792"/>
                </a:pathLst>
              </a:custGeom>
              <a:solidFill>
                <a:srgbClr val="DD9C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EBF6A7CB-FFAA-959D-8B53-B994682B5095}"/>
                  </a:ext>
                </a:extLst>
              </p:cNvPr>
              <p:cNvSpPr/>
              <p:nvPr/>
            </p:nvSpPr>
            <p:spPr>
              <a:xfrm>
                <a:off x="-10950752" y="2817590"/>
                <a:ext cx="263053" cy="235087"/>
              </a:xfrm>
              <a:custGeom>
                <a:avLst/>
                <a:gdLst>
                  <a:gd name="connsiteX0" fmla="*/ 39545 w 263053"/>
                  <a:gd name="connsiteY0" fmla="*/ 235087 h 235087"/>
                  <a:gd name="connsiteX1" fmla="*/ 24 w 263053"/>
                  <a:gd name="connsiteY1" fmla="*/ 133096 h 235087"/>
                  <a:gd name="connsiteX2" fmla="*/ 91361 w 263053"/>
                  <a:gd name="connsiteY2" fmla="*/ 2091 h 235087"/>
                  <a:gd name="connsiteX3" fmla="*/ 259984 w 263053"/>
                  <a:gd name="connsiteY3" fmla="*/ 51328 h 235087"/>
                  <a:gd name="connsiteX4" fmla="*/ 189725 w 263053"/>
                  <a:gd name="connsiteY4" fmla="*/ 82980 h 235087"/>
                  <a:gd name="connsiteX5" fmla="*/ 173916 w 263053"/>
                  <a:gd name="connsiteY5" fmla="*/ 125183 h 235087"/>
                  <a:gd name="connsiteX6" fmla="*/ 144056 w 263053"/>
                  <a:gd name="connsiteY6" fmla="*/ 148043 h 235087"/>
                  <a:gd name="connsiteX7" fmla="*/ 122978 w 263053"/>
                  <a:gd name="connsiteY7" fmla="*/ 107599 h 235087"/>
                  <a:gd name="connsiteX8" fmla="*/ 124735 w 263053"/>
                  <a:gd name="connsiteY8" fmla="*/ 172662 h 235087"/>
                  <a:gd name="connsiteX9" fmla="*/ 82579 w 263053"/>
                  <a:gd name="connsiteY9" fmla="*/ 228053 h 235087"/>
                  <a:gd name="connsiteX10" fmla="*/ 37789 w 263053"/>
                  <a:gd name="connsiteY10" fmla="*/ 232449 h 235087"/>
                  <a:gd name="connsiteX11" fmla="*/ 39545 w 263053"/>
                  <a:gd name="connsiteY11" fmla="*/ 235087 h 23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3053" h="235087">
                    <a:moveTo>
                      <a:pt x="39545" y="235087"/>
                    </a:moveTo>
                    <a:cubicBezTo>
                      <a:pt x="39545" y="235087"/>
                      <a:pt x="1781" y="184092"/>
                      <a:pt x="24" y="133096"/>
                    </a:cubicBezTo>
                    <a:cubicBezTo>
                      <a:pt x="-854" y="82101"/>
                      <a:pt x="21980" y="13521"/>
                      <a:pt x="91361" y="2091"/>
                    </a:cubicBezTo>
                    <a:cubicBezTo>
                      <a:pt x="91361" y="2091"/>
                      <a:pt x="226611" y="-15494"/>
                      <a:pt x="259984" y="51328"/>
                    </a:cubicBezTo>
                    <a:cubicBezTo>
                      <a:pt x="276671" y="86497"/>
                      <a:pt x="221341" y="61879"/>
                      <a:pt x="189725" y="82980"/>
                    </a:cubicBezTo>
                    <a:cubicBezTo>
                      <a:pt x="172160" y="95289"/>
                      <a:pt x="173916" y="117270"/>
                      <a:pt x="173916" y="125183"/>
                    </a:cubicBezTo>
                    <a:cubicBezTo>
                      <a:pt x="173916" y="146285"/>
                      <a:pt x="158108" y="159473"/>
                      <a:pt x="144056" y="148043"/>
                    </a:cubicBezTo>
                    <a:cubicBezTo>
                      <a:pt x="137030" y="141889"/>
                      <a:pt x="155473" y="119908"/>
                      <a:pt x="122978" y="107599"/>
                    </a:cubicBezTo>
                    <a:cubicBezTo>
                      <a:pt x="81701" y="100565"/>
                      <a:pt x="90483" y="162990"/>
                      <a:pt x="124735" y="172662"/>
                    </a:cubicBezTo>
                    <a:cubicBezTo>
                      <a:pt x="104535" y="183212"/>
                      <a:pt x="105413" y="227174"/>
                      <a:pt x="82579" y="228053"/>
                    </a:cubicBezTo>
                    <a:lnTo>
                      <a:pt x="37789" y="232449"/>
                    </a:lnTo>
                    <a:lnTo>
                      <a:pt x="39545" y="235087"/>
                    </a:lnTo>
                    <a:close/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6137C620-3E58-3D09-C757-7FA10B7A1FDA}"/>
                  </a:ext>
                </a:extLst>
              </p:cNvPr>
              <p:cNvSpPr/>
              <p:nvPr/>
            </p:nvSpPr>
            <p:spPr>
              <a:xfrm>
                <a:off x="-11051904" y="2954985"/>
                <a:ext cx="132793" cy="93781"/>
              </a:xfrm>
              <a:custGeom>
                <a:avLst/>
                <a:gdLst>
                  <a:gd name="connsiteX0" fmla="*/ 122254 w 132793"/>
                  <a:gd name="connsiteY0" fmla="*/ 10648 h 93781"/>
                  <a:gd name="connsiteX1" fmla="*/ 39699 w 132793"/>
                  <a:gd name="connsiteY1" fmla="*/ 22957 h 93781"/>
                  <a:gd name="connsiteX2" fmla="*/ 13352 w 132793"/>
                  <a:gd name="connsiteY2" fmla="*/ 73074 h 93781"/>
                  <a:gd name="connsiteX3" fmla="*/ 44091 w 132793"/>
                  <a:gd name="connsiteY3" fmla="*/ 91537 h 93781"/>
                  <a:gd name="connsiteX4" fmla="*/ 132793 w 132793"/>
                  <a:gd name="connsiteY4" fmla="*/ 37904 h 9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793" h="93781">
                    <a:moveTo>
                      <a:pt x="122254" y="10648"/>
                    </a:moveTo>
                    <a:cubicBezTo>
                      <a:pt x="122254" y="10648"/>
                      <a:pt x="49360" y="-20125"/>
                      <a:pt x="39699" y="22957"/>
                    </a:cubicBezTo>
                    <a:cubicBezTo>
                      <a:pt x="30039" y="66040"/>
                      <a:pt x="29160" y="65161"/>
                      <a:pt x="13352" y="73074"/>
                    </a:cubicBezTo>
                    <a:cubicBezTo>
                      <a:pt x="-2456" y="80987"/>
                      <a:pt x="-15630" y="100330"/>
                      <a:pt x="44091" y="91537"/>
                    </a:cubicBezTo>
                    <a:cubicBezTo>
                      <a:pt x="103811" y="82745"/>
                      <a:pt x="132793" y="37904"/>
                      <a:pt x="132793" y="37904"/>
                    </a:cubicBezTo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D554ED38-1F12-E7E3-8974-957B7E737A14}"/>
                  </a:ext>
                </a:extLst>
              </p:cNvPr>
              <p:cNvSpPr/>
              <p:nvPr/>
            </p:nvSpPr>
            <p:spPr>
              <a:xfrm>
                <a:off x="-11003024" y="3268022"/>
                <a:ext cx="361090" cy="247097"/>
              </a:xfrm>
              <a:custGeom>
                <a:avLst/>
                <a:gdLst>
                  <a:gd name="connsiteX0" fmla="*/ 256048 w 361090"/>
                  <a:gd name="connsiteY0" fmla="*/ 231304 h 247097"/>
                  <a:gd name="connsiteX1" fmla="*/ 296447 w 361090"/>
                  <a:gd name="connsiteY1" fmla="*/ 246251 h 247097"/>
                  <a:gd name="connsiteX2" fmla="*/ 321916 w 361090"/>
                  <a:gd name="connsiteY2" fmla="*/ 230425 h 247097"/>
                  <a:gd name="connsiteX3" fmla="*/ 287665 w 361090"/>
                  <a:gd name="connsiteY3" fmla="*/ 224270 h 247097"/>
                  <a:gd name="connsiteX4" fmla="*/ 312256 w 361090"/>
                  <a:gd name="connsiteY4" fmla="*/ 231304 h 247097"/>
                  <a:gd name="connsiteX5" fmla="*/ 335090 w 361090"/>
                  <a:gd name="connsiteY5" fmla="*/ 208444 h 247097"/>
                  <a:gd name="connsiteX6" fmla="*/ 295569 w 361090"/>
                  <a:gd name="connsiteY6" fmla="*/ 205807 h 247097"/>
                  <a:gd name="connsiteX7" fmla="*/ 343873 w 361090"/>
                  <a:gd name="connsiteY7" fmla="*/ 205807 h 247097"/>
                  <a:gd name="connsiteX8" fmla="*/ 346507 w 361090"/>
                  <a:gd name="connsiteY8" fmla="*/ 188222 h 247097"/>
                  <a:gd name="connsiteX9" fmla="*/ 309621 w 361090"/>
                  <a:gd name="connsiteY9" fmla="*/ 188222 h 247097"/>
                  <a:gd name="connsiteX10" fmla="*/ 337725 w 361090"/>
                  <a:gd name="connsiteY10" fmla="*/ 190860 h 247097"/>
                  <a:gd name="connsiteX11" fmla="*/ 357046 w 361090"/>
                  <a:gd name="connsiteY11" fmla="*/ 169758 h 247097"/>
                  <a:gd name="connsiteX12" fmla="*/ 314890 w 361090"/>
                  <a:gd name="connsiteY12" fmla="*/ 166241 h 247097"/>
                  <a:gd name="connsiteX13" fmla="*/ 298204 w 361090"/>
                  <a:gd name="connsiteY13" fmla="*/ 154811 h 247097"/>
                  <a:gd name="connsiteX14" fmla="*/ 335968 w 361090"/>
                  <a:gd name="connsiteY14" fmla="*/ 130193 h 247097"/>
                  <a:gd name="connsiteX15" fmla="*/ 290300 w 361090"/>
                  <a:gd name="connsiteY15" fmla="*/ 132830 h 247097"/>
                  <a:gd name="connsiteX16" fmla="*/ 221797 w 361090"/>
                  <a:gd name="connsiteY16" fmla="*/ 143381 h 247097"/>
                  <a:gd name="connsiteX17" fmla="*/ 117286 w 361090"/>
                  <a:gd name="connsiteY17" fmla="*/ 52821 h 247097"/>
                  <a:gd name="connsiteX18" fmla="*/ 1358 w 361090"/>
                  <a:gd name="connsiteY18" fmla="*/ 1825 h 247097"/>
                  <a:gd name="connsiteX19" fmla="*/ 31218 w 361090"/>
                  <a:gd name="connsiteY19" fmla="*/ 117004 h 247097"/>
                  <a:gd name="connsiteX20" fmla="*/ 205110 w 361090"/>
                  <a:gd name="connsiteY20" fmla="*/ 197894 h 247097"/>
                  <a:gd name="connsiteX21" fmla="*/ 257805 w 361090"/>
                  <a:gd name="connsiteY21" fmla="*/ 233942 h 247097"/>
                  <a:gd name="connsiteX22" fmla="*/ 256048 w 361090"/>
                  <a:gd name="connsiteY22" fmla="*/ 231304 h 24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61090" h="247097">
                    <a:moveTo>
                      <a:pt x="256048" y="231304"/>
                    </a:moveTo>
                    <a:cubicBezTo>
                      <a:pt x="277126" y="242734"/>
                      <a:pt x="288543" y="244493"/>
                      <a:pt x="296447" y="246251"/>
                    </a:cubicBezTo>
                    <a:cubicBezTo>
                      <a:pt x="314890" y="251527"/>
                      <a:pt x="323673" y="230425"/>
                      <a:pt x="321916" y="230425"/>
                    </a:cubicBezTo>
                    <a:cubicBezTo>
                      <a:pt x="302595" y="233063"/>
                      <a:pt x="287665" y="224270"/>
                      <a:pt x="287665" y="224270"/>
                    </a:cubicBezTo>
                    <a:cubicBezTo>
                      <a:pt x="287665" y="224270"/>
                      <a:pt x="296447" y="230425"/>
                      <a:pt x="312256" y="231304"/>
                    </a:cubicBezTo>
                    <a:cubicBezTo>
                      <a:pt x="331577" y="233942"/>
                      <a:pt x="350020" y="216357"/>
                      <a:pt x="335090" y="208444"/>
                    </a:cubicBezTo>
                    <a:cubicBezTo>
                      <a:pt x="315769" y="211082"/>
                      <a:pt x="295569" y="205807"/>
                      <a:pt x="295569" y="205807"/>
                    </a:cubicBezTo>
                    <a:cubicBezTo>
                      <a:pt x="295569" y="205807"/>
                      <a:pt x="330699" y="214599"/>
                      <a:pt x="343873" y="205807"/>
                    </a:cubicBezTo>
                    <a:cubicBezTo>
                      <a:pt x="356168" y="196135"/>
                      <a:pt x="350898" y="186464"/>
                      <a:pt x="346507" y="188222"/>
                    </a:cubicBezTo>
                    <a:cubicBezTo>
                      <a:pt x="342116" y="189980"/>
                      <a:pt x="327186" y="196135"/>
                      <a:pt x="309621" y="188222"/>
                    </a:cubicBezTo>
                    <a:cubicBezTo>
                      <a:pt x="309621" y="188222"/>
                      <a:pt x="324551" y="192618"/>
                      <a:pt x="337725" y="190860"/>
                    </a:cubicBezTo>
                    <a:cubicBezTo>
                      <a:pt x="350898" y="189101"/>
                      <a:pt x="369342" y="175913"/>
                      <a:pt x="357046" y="169758"/>
                    </a:cubicBezTo>
                    <a:cubicBezTo>
                      <a:pt x="344751" y="163603"/>
                      <a:pt x="327186" y="172396"/>
                      <a:pt x="314890" y="166241"/>
                    </a:cubicBezTo>
                    <a:cubicBezTo>
                      <a:pt x="313134" y="165362"/>
                      <a:pt x="302595" y="158328"/>
                      <a:pt x="298204" y="154811"/>
                    </a:cubicBezTo>
                    <a:cubicBezTo>
                      <a:pt x="298204" y="152174"/>
                      <a:pt x="333334" y="145140"/>
                      <a:pt x="335968" y="130193"/>
                    </a:cubicBezTo>
                    <a:cubicBezTo>
                      <a:pt x="338603" y="115246"/>
                      <a:pt x="294691" y="132830"/>
                      <a:pt x="290300" y="132830"/>
                    </a:cubicBezTo>
                    <a:cubicBezTo>
                      <a:pt x="279761" y="133710"/>
                      <a:pt x="221797" y="143381"/>
                      <a:pt x="221797" y="143381"/>
                    </a:cubicBezTo>
                    <a:cubicBezTo>
                      <a:pt x="221797" y="143381"/>
                      <a:pt x="121677" y="45787"/>
                      <a:pt x="117286" y="52821"/>
                    </a:cubicBezTo>
                    <a:cubicBezTo>
                      <a:pt x="112895" y="59854"/>
                      <a:pt x="-14451" y="-12243"/>
                      <a:pt x="1358" y="1825"/>
                    </a:cubicBezTo>
                    <a:cubicBezTo>
                      <a:pt x="17166" y="15893"/>
                      <a:pt x="-13572" y="94144"/>
                      <a:pt x="31218" y="117004"/>
                    </a:cubicBezTo>
                    <a:cubicBezTo>
                      <a:pt x="76009" y="139864"/>
                      <a:pt x="206867" y="195256"/>
                      <a:pt x="205110" y="197894"/>
                    </a:cubicBezTo>
                    <a:cubicBezTo>
                      <a:pt x="205110" y="197894"/>
                      <a:pt x="236727" y="222512"/>
                      <a:pt x="257805" y="233942"/>
                    </a:cubicBezTo>
                    <a:lnTo>
                      <a:pt x="256048" y="231304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AE8AB3A4-3C49-6063-ECA2-F8BE6E22978D}"/>
                  </a:ext>
                </a:extLst>
              </p:cNvPr>
              <p:cNvSpPr/>
              <p:nvPr/>
            </p:nvSpPr>
            <p:spPr>
              <a:xfrm>
                <a:off x="-11006568" y="3174890"/>
                <a:ext cx="157715" cy="150238"/>
              </a:xfrm>
              <a:custGeom>
                <a:avLst/>
                <a:gdLst>
                  <a:gd name="connsiteX0" fmla="*/ 157716 w 157715"/>
                  <a:gd name="connsiteY0" fmla="*/ 29894 h 150238"/>
                  <a:gd name="connsiteX1" fmla="*/ 134003 w 157715"/>
                  <a:gd name="connsiteY1" fmla="*/ 126609 h 150238"/>
                  <a:gd name="connsiteX2" fmla="*/ 1389 w 157715"/>
                  <a:gd name="connsiteY2" fmla="*/ 123092 h 150238"/>
                  <a:gd name="connsiteX3" fmla="*/ 35640 w 157715"/>
                  <a:gd name="connsiteY3" fmla="*/ 0 h 15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715" h="150238">
                    <a:moveTo>
                      <a:pt x="157716" y="29894"/>
                    </a:moveTo>
                    <a:cubicBezTo>
                      <a:pt x="157716" y="29894"/>
                      <a:pt x="149812" y="96715"/>
                      <a:pt x="134003" y="126609"/>
                    </a:cubicBezTo>
                    <a:cubicBezTo>
                      <a:pt x="116438" y="167054"/>
                      <a:pt x="22467" y="148590"/>
                      <a:pt x="1389" y="123092"/>
                    </a:cubicBezTo>
                    <a:cubicBezTo>
                      <a:pt x="-8272" y="57150"/>
                      <a:pt x="35640" y="0"/>
                      <a:pt x="35640" y="0"/>
                    </a:cubicBezTo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922028-2E14-3967-4907-745822809B03}"/>
                </a:ext>
              </a:extLst>
            </p:cNvPr>
            <p:cNvGrpSpPr/>
            <p:nvPr userDrawn="1"/>
          </p:nvGrpSpPr>
          <p:grpSpPr>
            <a:xfrm>
              <a:off x="-12394315" y="2136257"/>
              <a:ext cx="4006717" cy="3669345"/>
              <a:chOff x="-12394315" y="2136257"/>
              <a:chExt cx="4006717" cy="3669345"/>
            </a:xfrm>
          </p:grpSpPr>
          <p:grpSp>
            <p:nvGrpSpPr>
              <p:cNvPr id="19" name="Graphic 6">
                <a:extLst>
                  <a:ext uri="{FF2B5EF4-FFF2-40B4-BE49-F238E27FC236}">
                    <a16:creationId xmlns:a16="http://schemas.microsoft.com/office/drawing/2014/main" id="{8A86297F-7303-E8B3-D96D-CA4A682827E6}"/>
                  </a:ext>
                </a:extLst>
              </p:cNvPr>
              <p:cNvGrpSpPr/>
              <p:nvPr/>
            </p:nvGrpSpPr>
            <p:grpSpPr>
              <a:xfrm>
                <a:off x="-12394315" y="2136257"/>
                <a:ext cx="2480746" cy="3669345"/>
                <a:chOff x="-12394315" y="2136257"/>
                <a:chExt cx="2480746" cy="3669345"/>
              </a:xfrm>
            </p:grpSpPr>
            <p:grpSp>
              <p:nvGrpSpPr>
                <p:cNvPr id="36" name="Graphic 6">
                  <a:extLst>
                    <a:ext uri="{FF2B5EF4-FFF2-40B4-BE49-F238E27FC236}">
                      <a16:creationId xmlns:a16="http://schemas.microsoft.com/office/drawing/2014/main" id="{A3250312-0A6D-3492-D890-0D97ADB8A4AD}"/>
                    </a:ext>
                  </a:extLst>
                </p:cNvPr>
                <p:cNvGrpSpPr/>
                <p:nvPr/>
              </p:nvGrpSpPr>
              <p:grpSpPr>
                <a:xfrm>
                  <a:off x="-12394315" y="2136257"/>
                  <a:ext cx="2480746" cy="3669345"/>
                  <a:chOff x="-12394315" y="2136257"/>
                  <a:chExt cx="2480746" cy="3669345"/>
                </a:xfrm>
              </p:grpSpPr>
              <p:sp>
                <p:nvSpPr>
                  <p:cNvPr id="40" name="Freeform 39">
                    <a:extLst>
                      <a:ext uri="{FF2B5EF4-FFF2-40B4-BE49-F238E27FC236}">
                        <a16:creationId xmlns:a16="http://schemas.microsoft.com/office/drawing/2014/main" id="{9026859B-9900-3307-C7F5-7F38057F7961}"/>
                      </a:ext>
                    </a:extLst>
                  </p:cNvPr>
                  <p:cNvSpPr/>
                  <p:nvPr/>
                </p:nvSpPr>
                <p:spPr>
                  <a:xfrm>
                    <a:off x="-12178674" y="3689240"/>
                    <a:ext cx="836249" cy="1834954"/>
                  </a:xfrm>
                  <a:custGeom>
                    <a:avLst/>
                    <a:gdLst>
                      <a:gd name="connsiteX0" fmla="*/ 163 w 836249"/>
                      <a:gd name="connsiteY0" fmla="*/ 1557117 h 1834954"/>
                      <a:gd name="connsiteX1" fmla="*/ 29145 w 836249"/>
                      <a:gd name="connsiteY1" fmla="*/ 1353136 h 1834954"/>
                      <a:gd name="connsiteX2" fmla="*/ 95891 w 836249"/>
                      <a:gd name="connsiteY2" fmla="*/ 0 h 1834954"/>
                      <a:gd name="connsiteX3" fmla="*/ 813416 w 836249"/>
                      <a:gd name="connsiteY3" fmla="*/ 31652 h 1834954"/>
                      <a:gd name="connsiteX4" fmla="*/ 826589 w 836249"/>
                      <a:gd name="connsiteY4" fmla="*/ 371915 h 1834954"/>
                      <a:gd name="connsiteX5" fmla="*/ 836250 w 836249"/>
                      <a:gd name="connsiteY5" fmla="*/ 1670538 h 1834954"/>
                      <a:gd name="connsiteX6" fmla="*/ 775651 w 836249"/>
                      <a:gd name="connsiteY6" fmla="*/ 1762858 h 1834954"/>
                      <a:gd name="connsiteX7" fmla="*/ 746669 w 836249"/>
                      <a:gd name="connsiteY7" fmla="*/ 1825283 h 1834954"/>
                      <a:gd name="connsiteX8" fmla="*/ 614055 w 836249"/>
                      <a:gd name="connsiteY8" fmla="*/ 1834954 h 1834954"/>
                      <a:gd name="connsiteX9" fmla="*/ 597368 w 836249"/>
                      <a:gd name="connsiteY9" fmla="*/ 1776046 h 1834954"/>
                      <a:gd name="connsiteX10" fmla="*/ 518326 w 836249"/>
                      <a:gd name="connsiteY10" fmla="*/ 1664384 h 1834954"/>
                      <a:gd name="connsiteX11" fmla="*/ 451580 w 836249"/>
                      <a:gd name="connsiteY11" fmla="*/ 534572 h 1834954"/>
                      <a:gd name="connsiteX12" fmla="*/ 451580 w 836249"/>
                      <a:gd name="connsiteY12" fmla="*/ 232117 h 1834954"/>
                      <a:gd name="connsiteX13" fmla="*/ 257488 w 836249"/>
                      <a:gd name="connsiteY13" fmla="*/ 1753186 h 1834954"/>
                      <a:gd name="connsiteX14" fmla="*/ 250462 w 836249"/>
                      <a:gd name="connsiteY14" fmla="*/ 1753186 h 1834954"/>
                      <a:gd name="connsiteX15" fmla="*/ 236410 w 836249"/>
                      <a:gd name="connsiteY15" fmla="*/ 1804181 h 1834954"/>
                      <a:gd name="connsiteX16" fmla="*/ 80083 w 836249"/>
                      <a:gd name="connsiteY16" fmla="*/ 1795389 h 1834954"/>
                      <a:gd name="connsiteX17" fmla="*/ 61640 w 836249"/>
                      <a:gd name="connsiteY17" fmla="*/ 1738239 h 1834954"/>
                      <a:gd name="connsiteX18" fmla="*/ 51101 w 836249"/>
                      <a:gd name="connsiteY18" fmla="*/ 1738239 h 1834954"/>
                      <a:gd name="connsiteX19" fmla="*/ 163 w 836249"/>
                      <a:gd name="connsiteY19" fmla="*/ 1556238 h 1834954"/>
                      <a:gd name="connsiteX20" fmla="*/ 163 w 836249"/>
                      <a:gd name="connsiteY20" fmla="*/ 1556238 h 1834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836249" h="1834954">
                        <a:moveTo>
                          <a:pt x="163" y="1557117"/>
                        </a:moveTo>
                        <a:cubicBezTo>
                          <a:pt x="3676" y="1442817"/>
                          <a:pt x="29145" y="1353136"/>
                          <a:pt x="29145" y="1353136"/>
                        </a:cubicBezTo>
                        <a:lnTo>
                          <a:pt x="95891" y="0"/>
                        </a:lnTo>
                        <a:lnTo>
                          <a:pt x="813416" y="31652"/>
                        </a:lnTo>
                        <a:lnTo>
                          <a:pt x="826589" y="371915"/>
                        </a:lnTo>
                        <a:lnTo>
                          <a:pt x="836250" y="1670538"/>
                        </a:lnTo>
                        <a:cubicBezTo>
                          <a:pt x="836250" y="1670538"/>
                          <a:pt x="807268" y="1747031"/>
                          <a:pt x="775651" y="1762858"/>
                        </a:cubicBezTo>
                        <a:lnTo>
                          <a:pt x="746669" y="1825283"/>
                        </a:lnTo>
                        <a:lnTo>
                          <a:pt x="614055" y="1834954"/>
                        </a:lnTo>
                        <a:lnTo>
                          <a:pt x="597368" y="1776046"/>
                        </a:lnTo>
                        <a:cubicBezTo>
                          <a:pt x="597368" y="1776046"/>
                          <a:pt x="518326" y="1734722"/>
                          <a:pt x="518326" y="1664384"/>
                        </a:cubicBezTo>
                        <a:cubicBezTo>
                          <a:pt x="518326" y="1594045"/>
                          <a:pt x="451580" y="534572"/>
                          <a:pt x="451580" y="534572"/>
                        </a:cubicBezTo>
                        <a:lnTo>
                          <a:pt x="451580" y="232117"/>
                        </a:lnTo>
                        <a:cubicBezTo>
                          <a:pt x="451580" y="232117"/>
                          <a:pt x="362877" y="1674055"/>
                          <a:pt x="257488" y="1753186"/>
                        </a:cubicBezTo>
                        <a:lnTo>
                          <a:pt x="250462" y="1753186"/>
                        </a:lnTo>
                        <a:lnTo>
                          <a:pt x="236410" y="1804181"/>
                        </a:lnTo>
                        <a:lnTo>
                          <a:pt x="80083" y="1795389"/>
                        </a:lnTo>
                        <a:lnTo>
                          <a:pt x="61640" y="1738239"/>
                        </a:lnTo>
                        <a:lnTo>
                          <a:pt x="51101" y="1738239"/>
                        </a:lnTo>
                        <a:cubicBezTo>
                          <a:pt x="51101" y="1738239"/>
                          <a:pt x="-3350" y="1670538"/>
                          <a:pt x="163" y="1556238"/>
                        </a:cubicBezTo>
                        <a:lnTo>
                          <a:pt x="163" y="1556238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eform 40">
                    <a:extLst>
                      <a:ext uri="{FF2B5EF4-FFF2-40B4-BE49-F238E27FC236}">
                        <a16:creationId xmlns:a16="http://schemas.microsoft.com/office/drawing/2014/main" id="{204B21E7-C4D2-08FA-7422-C6598575CB38}"/>
                      </a:ext>
                    </a:extLst>
                  </p:cNvPr>
                  <p:cNvSpPr/>
                  <p:nvPr/>
                </p:nvSpPr>
                <p:spPr>
                  <a:xfrm>
                    <a:off x="-12394315" y="2721448"/>
                    <a:ext cx="481974" cy="928012"/>
                  </a:xfrm>
                  <a:custGeom>
                    <a:avLst/>
                    <a:gdLst>
                      <a:gd name="connsiteX0" fmla="*/ 435365 w 481974"/>
                      <a:gd name="connsiteY0" fmla="*/ 1517 h 928012"/>
                      <a:gd name="connsiteX1" fmla="*/ 95485 w 481974"/>
                      <a:gd name="connsiteY1" fmla="*/ 95595 h 928012"/>
                      <a:gd name="connsiteX2" fmla="*/ 6782 w 481974"/>
                      <a:gd name="connsiteY2" fmla="*/ 864043 h 928012"/>
                      <a:gd name="connsiteX3" fmla="*/ 304507 w 481974"/>
                      <a:gd name="connsiteY3" fmla="*/ 921193 h 928012"/>
                      <a:gd name="connsiteX4" fmla="*/ 435365 w 481974"/>
                      <a:gd name="connsiteY4" fmla="*/ 638 h 928012"/>
                      <a:gd name="connsiteX5" fmla="*/ 435365 w 481974"/>
                      <a:gd name="connsiteY5" fmla="*/ 638 h 928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81974" h="928012">
                        <a:moveTo>
                          <a:pt x="435365" y="1517"/>
                        </a:moveTo>
                        <a:cubicBezTo>
                          <a:pt x="435365" y="1517"/>
                          <a:pt x="179796" y="-19584"/>
                          <a:pt x="95485" y="95595"/>
                        </a:cubicBezTo>
                        <a:cubicBezTo>
                          <a:pt x="95485" y="95595"/>
                          <a:pt x="-30104" y="576534"/>
                          <a:pt x="6782" y="864043"/>
                        </a:cubicBezTo>
                        <a:cubicBezTo>
                          <a:pt x="6782" y="864043"/>
                          <a:pt x="6782" y="952845"/>
                          <a:pt x="304507" y="921193"/>
                        </a:cubicBezTo>
                        <a:cubicBezTo>
                          <a:pt x="602231" y="889540"/>
                          <a:pt x="435365" y="638"/>
                          <a:pt x="435365" y="638"/>
                        </a:cubicBezTo>
                        <a:lnTo>
                          <a:pt x="435365" y="6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eform 41">
                    <a:extLst>
                      <a:ext uri="{FF2B5EF4-FFF2-40B4-BE49-F238E27FC236}">
                        <a16:creationId xmlns:a16="http://schemas.microsoft.com/office/drawing/2014/main" id="{03C0D732-24A3-FEBA-1752-E16809F4A388}"/>
                      </a:ext>
                    </a:extLst>
                  </p:cNvPr>
                  <p:cNvSpPr/>
                  <p:nvPr/>
                </p:nvSpPr>
                <p:spPr>
                  <a:xfrm>
                    <a:off x="-12347065" y="2669332"/>
                    <a:ext cx="1228076" cy="1249386"/>
                  </a:xfrm>
                  <a:custGeom>
                    <a:avLst/>
                    <a:gdLst>
                      <a:gd name="connsiteX0" fmla="*/ 97416 w 1228076"/>
                      <a:gd name="connsiteY0" fmla="*/ 886265 h 1249386"/>
                      <a:gd name="connsiteX1" fmla="*/ 158015 w 1228076"/>
                      <a:gd name="connsiteY1" fmla="*/ 914400 h 1249386"/>
                      <a:gd name="connsiteX2" fmla="*/ 158015 w 1228076"/>
                      <a:gd name="connsiteY2" fmla="*/ 911762 h 1249386"/>
                      <a:gd name="connsiteX3" fmla="*/ 185240 w 1228076"/>
                      <a:gd name="connsiteY3" fmla="*/ 911762 h 1249386"/>
                      <a:gd name="connsiteX4" fmla="*/ 220370 w 1228076"/>
                      <a:gd name="connsiteY4" fmla="*/ 903849 h 1249386"/>
                      <a:gd name="connsiteX5" fmla="*/ 220370 w 1228076"/>
                      <a:gd name="connsiteY5" fmla="*/ 917038 h 1249386"/>
                      <a:gd name="connsiteX6" fmla="*/ 245839 w 1228076"/>
                      <a:gd name="connsiteY6" fmla="*/ 1215097 h 1249386"/>
                      <a:gd name="connsiteX7" fmla="*/ 929990 w 1228076"/>
                      <a:gd name="connsiteY7" fmla="*/ 1227406 h 1249386"/>
                      <a:gd name="connsiteX8" fmla="*/ 1035379 w 1228076"/>
                      <a:gd name="connsiteY8" fmla="*/ 1249387 h 1249386"/>
                      <a:gd name="connsiteX9" fmla="*/ 1080169 w 1228076"/>
                      <a:gd name="connsiteY9" fmla="*/ 1227406 h 1249386"/>
                      <a:gd name="connsiteX10" fmla="*/ 1217175 w 1228076"/>
                      <a:gd name="connsiteY10" fmla="*/ 891540 h 1249386"/>
                      <a:gd name="connsiteX11" fmla="*/ 1224201 w 1228076"/>
                      <a:gd name="connsiteY11" fmla="*/ 762293 h 1249386"/>
                      <a:gd name="connsiteX12" fmla="*/ 1153064 w 1228076"/>
                      <a:gd name="connsiteY12" fmla="*/ 324436 h 1249386"/>
                      <a:gd name="connsiteX13" fmla="*/ 785958 w 1228076"/>
                      <a:gd name="connsiteY13" fmla="*/ 0 h 1249386"/>
                      <a:gd name="connsiteX14" fmla="*/ 522485 w 1228076"/>
                      <a:gd name="connsiteY14" fmla="*/ 21981 h 1249386"/>
                      <a:gd name="connsiteX15" fmla="*/ 508433 w 1228076"/>
                      <a:gd name="connsiteY15" fmla="*/ 19343 h 1249386"/>
                      <a:gd name="connsiteX16" fmla="*/ 503164 w 1228076"/>
                      <a:gd name="connsiteY16" fmla="*/ 19343 h 1249386"/>
                      <a:gd name="connsiteX17" fmla="*/ 491747 w 1228076"/>
                      <a:gd name="connsiteY17" fmla="*/ 22860 h 1249386"/>
                      <a:gd name="connsiteX18" fmla="*/ 200170 w 1228076"/>
                      <a:gd name="connsiteY18" fmla="*/ 144194 h 1249386"/>
                      <a:gd name="connsiteX19" fmla="*/ 4322 w 1228076"/>
                      <a:gd name="connsiteY19" fmla="*/ 659423 h 1249386"/>
                      <a:gd name="connsiteX20" fmla="*/ 98294 w 1228076"/>
                      <a:gd name="connsiteY20" fmla="*/ 888023 h 1249386"/>
                      <a:gd name="connsiteX21" fmla="*/ 97416 w 1228076"/>
                      <a:gd name="connsiteY21" fmla="*/ 888023 h 1249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228076" h="1249386">
                        <a:moveTo>
                          <a:pt x="97416" y="886265"/>
                        </a:moveTo>
                        <a:cubicBezTo>
                          <a:pt x="123763" y="901211"/>
                          <a:pt x="127276" y="902970"/>
                          <a:pt x="158015" y="914400"/>
                        </a:cubicBezTo>
                        <a:lnTo>
                          <a:pt x="158015" y="911762"/>
                        </a:lnTo>
                        <a:cubicBezTo>
                          <a:pt x="166797" y="912641"/>
                          <a:pt x="175580" y="912641"/>
                          <a:pt x="185240" y="911762"/>
                        </a:cubicBezTo>
                        <a:cubicBezTo>
                          <a:pt x="197536" y="910004"/>
                          <a:pt x="208953" y="906487"/>
                          <a:pt x="220370" y="903849"/>
                        </a:cubicBezTo>
                        <a:lnTo>
                          <a:pt x="220370" y="917038"/>
                        </a:lnTo>
                        <a:cubicBezTo>
                          <a:pt x="225639" y="1131570"/>
                          <a:pt x="245839" y="1215097"/>
                          <a:pt x="245839" y="1215097"/>
                        </a:cubicBezTo>
                        <a:cubicBezTo>
                          <a:pt x="245839" y="1215097"/>
                          <a:pt x="763124" y="1237957"/>
                          <a:pt x="929990" y="1227406"/>
                        </a:cubicBezTo>
                        <a:lnTo>
                          <a:pt x="1035379" y="1249387"/>
                        </a:lnTo>
                        <a:lnTo>
                          <a:pt x="1080169" y="1227406"/>
                        </a:lnTo>
                        <a:cubicBezTo>
                          <a:pt x="1159211" y="1187841"/>
                          <a:pt x="1182924" y="1014632"/>
                          <a:pt x="1217175" y="891540"/>
                        </a:cubicBezTo>
                        <a:cubicBezTo>
                          <a:pt x="1228592" y="849337"/>
                          <a:pt x="1231227" y="805375"/>
                          <a:pt x="1224201" y="762293"/>
                        </a:cubicBezTo>
                        <a:lnTo>
                          <a:pt x="1153064" y="324436"/>
                        </a:lnTo>
                        <a:cubicBezTo>
                          <a:pt x="1124082" y="86165"/>
                          <a:pt x="785958" y="0"/>
                          <a:pt x="785958" y="0"/>
                        </a:cubicBezTo>
                        <a:cubicBezTo>
                          <a:pt x="680569" y="43962"/>
                          <a:pt x="566398" y="29894"/>
                          <a:pt x="522485" y="21981"/>
                        </a:cubicBezTo>
                        <a:cubicBezTo>
                          <a:pt x="518094" y="20222"/>
                          <a:pt x="512825" y="19343"/>
                          <a:pt x="508433" y="19343"/>
                        </a:cubicBezTo>
                        <a:cubicBezTo>
                          <a:pt x="504042" y="19343"/>
                          <a:pt x="503164" y="19343"/>
                          <a:pt x="503164" y="19343"/>
                        </a:cubicBezTo>
                        <a:lnTo>
                          <a:pt x="491747" y="22860"/>
                        </a:lnTo>
                        <a:cubicBezTo>
                          <a:pt x="431148" y="36049"/>
                          <a:pt x="260769" y="96715"/>
                          <a:pt x="200170" y="144194"/>
                        </a:cubicBezTo>
                        <a:cubicBezTo>
                          <a:pt x="125520" y="202223"/>
                          <a:pt x="45600" y="465113"/>
                          <a:pt x="4322" y="659423"/>
                        </a:cubicBezTo>
                        <a:cubicBezTo>
                          <a:pt x="-13243" y="743829"/>
                          <a:pt x="23644" y="844941"/>
                          <a:pt x="98294" y="888023"/>
                        </a:cubicBezTo>
                        <a:lnTo>
                          <a:pt x="97416" y="8880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eform 42">
                    <a:extLst>
                      <a:ext uri="{FF2B5EF4-FFF2-40B4-BE49-F238E27FC236}">
                        <a16:creationId xmlns:a16="http://schemas.microsoft.com/office/drawing/2014/main" id="{284033AB-6B30-E9EB-7F66-0D0D3B866B18}"/>
                      </a:ext>
                    </a:extLst>
                  </p:cNvPr>
                  <p:cNvSpPr/>
                  <p:nvPr/>
                </p:nvSpPr>
                <p:spPr>
                  <a:xfrm>
                    <a:off x="-11912333" y="2136257"/>
                    <a:ext cx="421914" cy="572934"/>
                  </a:xfrm>
                  <a:custGeom>
                    <a:avLst/>
                    <a:gdLst>
                      <a:gd name="connsiteX0" fmla="*/ 35937 w 421914"/>
                      <a:gd name="connsiteY0" fmla="*/ 108407 h 572934"/>
                      <a:gd name="connsiteX1" fmla="*/ 63163 w 421914"/>
                      <a:gd name="connsiteY1" fmla="*/ 60050 h 572934"/>
                      <a:gd name="connsiteX2" fmla="*/ 173821 w 421914"/>
                      <a:gd name="connsiteY2" fmla="*/ 8175 h 572934"/>
                      <a:gd name="connsiteX3" fmla="*/ 288871 w 421914"/>
                      <a:gd name="connsiteY3" fmla="*/ 21364 h 572934"/>
                      <a:gd name="connsiteX4" fmla="*/ 306436 w 421914"/>
                      <a:gd name="connsiteY4" fmla="*/ 73238 h 572934"/>
                      <a:gd name="connsiteX5" fmla="*/ 367913 w 421914"/>
                      <a:gd name="connsiteY5" fmla="*/ 169074 h 572934"/>
                      <a:gd name="connsiteX6" fmla="*/ 421486 w 421914"/>
                      <a:gd name="connsiteY6" fmla="*/ 229741 h 572934"/>
                      <a:gd name="connsiteX7" fmla="*/ 406556 w 421914"/>
                      <a:gd name="connsiteY7" fmla="*/ 255239 h 572934"/>
                      <a:gd name="connsiteX8" fmla="*/ 407434 w 421914"/>
                      <a:gd name="connsiteY8" fmla="*/ 286012 h 572934"/>
                      <a:gd name="connsiteX9" fmla="*/ 389869 w 421914"/>
                      <a:gd name="connsiteY9" fmla="*/ 307113 h 572934"/>
                      <a:gd name="connsiteX10" fmla="*/ 407434 w 421914"/>
                      <a:gd name="connsiteY10" fmla="*/ 304476 h 572934"/>
                      <a:gd name="connsiteX11" fmla="*/ 407434 w 421914"/>
                      <a:gd name="connsiteY11" fmla="*/ 325577 h 572934"/>
                      <a:gd name="connsiteX12" fmla="*/ 411825 w 421914"/>
                      <a:gd name="connsiteY12" fmla="*/ 375693 h 572934"/>
                      <a:gd name="connsiteX13" fmla="*/ 325757 w 421914"/>
                      <a:gd name="connsiteY13" fmla="*/ 407346 h 572934"/>
                      <a:gd name="connsiteX14" fmla="*/ 309949 w 421914"/>
                      <a:gd name="connsiteY14" fmla="*/ 511974 h 572934"/>
                      <a:gd name="connsiteX15" fmla="*/ 350348 w 421914"/>
                      <a:gd name="connsiteY15" fmla="*/ 533955 h 572934"/>
                      <a:gd name="connsiteX16" fmla="*/ 53502 w 421914"/>
                      <a:gd name="connsiteY16" fmla="*/ 555057 h 572934"/>
                      <a:gd name="connsiteX17" fmla="*/ 103562 w 421914"/>
                      <a:gd name="connsiteY17" fmla="*/ 520767 h 572934"/>
                      <a:gd name="connsiteX18" fmla="*/ 128153 w 421914"/>
                      <a:gd name="connsiteY18" fmla="*/ 395916 h 572934"/>
                      <a:gd name="connsiteX19" fmla="*/ 116736 w 421914"/>
                      <a:gd name="connsiteY19" fmla="*/ 384486 h 572934"/>
                      <a:gd name="connsiteX20" fmla="*/ 49111 w 421914"/>
                      <a:gd name="connsiteY20" fmla="*/ 309751 h 572934"/>
                      <a:gd name="connsiteX21" fmla="*/ 35059 w 421914"/>
                      <a:gd name="connsiteY21" fmla="*/ 108407 h 572934"/>
                      <a:gd name="connsiteX22" fmla="*/ 35059 w 421914"/>
                      <a:gd name="connsiteY22" fmla="*/ 108407 h 572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421914" h="572934">
                        <a:moveTo>
                          <a:pt x="35937" y="108407"/>
                        </a:moveTo>
                        <a:cubicBezTo>
                          <a:pt x="41207" y="90823"/>
                          <a:pt x="49989" y="74117"/>
                          <a:pt x="63163" y="60050"/>
                        </a:cubicBezTo>
                        <a:cubicBezTo>
                          <a:pt x="102684" y="16967"/>
                          <a:pt x="173821" y="8175"/>
                          <a:pt x="173821" y="8175"/>
                        </a:cubicBezTo>
                        <a:cubicBezTo>
                          <a:pt x="239689" y="-11168"/>
                          <a:pt x="266037" y="8175"/>
                          <a:pt x="288871" y="21364"/>
                        </a:cubicBezTo>
                        <a:cubicBezTo>
                          <a:pt x="330148" y="47740"/>
                          <a:pt x="312584" y="67084"/>
                          <a:pt x="306436" y="73238"/>
                        </a:cubicBezTo>
                        <a:cubicBezTo>
                          <a:pt x="314340" y="79393"/>
                          <a:pt x="370548" y="126871"/>
                          <a:pt x="367913" y="169074"/>
                        </a:cubicBezTo>
                        <a:cubicBezTo>
                          <a:pt x="367913" y="181383"/>
                          <a:pt x="421486" y="229741"/>
                          <a:pt x="421486" y="229741"/>
                        </a:cubicBezTo>
                        <a:cubicBezTo>
                          <a:pt x="421486" y="229741"/>
                          <a:pt x="425877" y="247326"/>
                          <a:pt x="406556" y="255239"/>
                        </a:cubicBezTo>
                        <a:cubicBezTo>
                          <a:pt x="388112" y="263152"/>
                          <a:pt x="407434" y="286012"/>
                          <a:pt x="407434" y="286012"/>
                        </a:cubicBezTo>
                        <a:cubicBezTo>
                          <a:pt x="407434" y="286012"/>
                          <a:pt x="417094" y="298321"/>
                          <a:pt x="389869" y="307113"/>
                        </a:cubicBezTo>
                        <a:cubicBezTo>
                          <a:pt x="383721" y="308872"/>
                          <a:pt x="402164" y="302717"/>
                          <a:pt x="407434" y="304476"/>
                        </a:cubicBezTo>
                        <a:cubicBezTo>
                          <a:pt x="407434" y="304476"/>
                          <a:pt x="413582" y="315027"/>
                          <a:pt x="407434" y="325577"/>
                        </a:cubicBezTo>
                        <a:cubicBezTo>
                          <a:pt x="401286" y="335249"/>
                          <a:pt x="415338" y="364263"/>
                          <a:pt x="411825" y="375693"/>
                        </a:cubicBezTo>
                        <a:cubicBezTo>
                          <a:pt x="407434" y="392399"/>
                          <a:pt x="360009" y="402070"/>
                          <a:pt x="325757" y="407346"/>
                        </a:cubicBezTo>
                        <a:lnTo>
                          <a:pt x="309949" y="511974"/>
                        </a:lnTo>
                        <a:cubicBezTo>
                          <a:pt x="324879" y="531317"/>
                          <a:pt x="350348" y="533955"/>
                          <a:pt x="350348" y="533955"/>
                        </a:cubicBezTo>
                        <a:cubicBezTo>
                          <a:pt x="264280" y="606931"/>
                          <a:pt x="53502" y="555057"/>
                          <a:pt x="53502" y="555057"/>
                        </a:cubicBezTo>
                        <a:cubicBezTo>
                          <a:pt x="85119" y="548902"/>
                          <a:pt x="98292" y="530438"/>
                          <a:pt x="103562" y="520767"/>
                        </a:cubicBezTo>
                        <a:lnTo>
                          <a:pt x="128153" y="395916"/>
                        </a:lnTo>
                        <a:cubicBezTo>
                          <a:pt x="124640" y="395916"/>
                          <a:pt x="120248" y="391520"/>
                          <a:pt x="116736" y="384486"/>
                        </a:cubicBezTo>
                        <a:cubicBezTo>
                          <a:pt x="109710" y="370418"/>
                          <a:pt x="85997" y="340524"/>
                          <a:pt x="49111" y="309751"/>
                        </a:cubicBezTo>
                        <a:cubicBezTo>
                          <a:pt x="-71" y="268427"/>
                          <a:pt x="-24662" y="198089"/>
                          <a:pt x="35059" y="108407"/>
                        </a:cubicBezTo>
                        <a:lnTo>
                          <a:pt x="35059" y="10840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eform 43">
                    <a:extLst>
                      <a:ext uri="{FF2B5EF4-FFF2-40B4-BE49-F238E27FC236}">
                        <a16:creationId xmlns:a16="http://schemas.microsoft.com/office/drawing/2014/main" id="{49472F55-37E2-1094-D66F-E34753745EC6}"/>
                      </a:ext>
                    </a:extLst>
                  </p:cNvPr>
                  <p:cNvSpPr/>
                  <p:nvPr/>
                </p:nvSpPr>
                <p:spPr>
                  <a:xfrm>
                    <a:off x="-11908820" y="2136257"/>
                    <a:ext cx="419414" cy="414617"/>
                  </a:xfrm>
                  <a:custGeom>
                    <a:avLst/>
                    <a:gdLst>
                      <a:gd name="connsiteX0" fmla="*/ 32424 w 419414"/>
                      <a:gd name="connsiteY0" fmla="*/ 108407 h 414617"/>
                      <a:gd name="connsiteX1" fmla="*/ 59650 w 419414"/>
                      <a:gd name="connsiteY1" fmla="*/ 60050 h 414617"/>
                      <a:gd name="connsiteX2" fmla="*/ 170308 w 419414"/>
                      <a:gd name="connsiteY2" fmla="*/ 8175 h 414617"/>
                      <a:gd name="connsiteX3" fmla="*/ 285358 w 419414"/>
                      <a:gd name="connsiteY3" fmla="*/ 21364 h 414617"/>
                      <a:gd name="connsiteX4" fmla="*/ 302923 w 419414"/>
                      <a:gd name="connsiteY4" fmla="*/ 73238 h 414617"/>
                      <a:gd name="connsiteX5" fmla="*/ 302923 w 419414"/>
                      <a:gd name="connsiteY5" fmla="*/ 73238 h 414617"/>
                      <a:gd name="connsiteX6" fmla="*/ 249350 w 419414"/>
                      <a:gd name="connsiteY6" fmla="*/ 122475 h 414617"/>
                      <a:gd name="connsiteX7" fmla="*/ 217733 w 419414"/>
                      <a:gd name="connsiteY7" fmla="*/ 223587 h 414617"/>
                      <a:gd name="connsiteX8" fmla="*/ 325757 w 419414"/>
                      <a:gd name="connsiteY8" fmla="*/ 344920 h 414617"/>
                      <a:gd name="connsiteX9" fmla="*/ 339809 w 419414"/>
                      <a:gd name="connsiteY9" fmla="*/ 290408 h 414617"/>
                      <a:gd name="connsiteX10" fmla="*/ 396017 w 419414"/>
                      <a:gd name="connsiteY10" fmla="*/ 261394 h 414617"/>
                      <a:gd name="connsiteX11" fmla="*/ 403043 w 419414"/>
                      <a:gd name="connsiteY11" fmla="*/ 282495 h 414617"/>
                      <a:gd name="connsiteX12" fmla="*/ 361765 w 419414"/>
                      <a:gd name="connsiteY12" fmla="*/ 304476 h 414617"/>
                      <a:gd name="connsiteX13" fmla="*/ 361765 w 419414"/>
                      <a:gd name="connsiteY13" fmla="*/ 355471 h 414617"/>
                      <a:gd name="connsiteX14" fmla="*/ 410069 w 419414"/>
                      <a:gd name="connsiteY14" fmla="*/ 344920 h 414617"/>
                      <a:gd name="connsiteX15" fmla="*/ 413581 w 419414"/>
                      <a:gd name="connsiteY15" fmla="*/ 395916 h 414617"/>
                      <a:gd name="connsiteX16" fmla="*/ 288871 w 419414"/>
                      <a:gd name="connsiteY16" fmla="*/ 403829 h 414617"/>
                      <a:gd name="connsiteX17" fmla="*/ 217733 w 419414"/>
                      <a:gd name="connsiteY17" fmla="*/ 272823 h 414617"/>
                      <a:gd name="connsiteX18" fmla="*/ 210707 w 419414"/>
                      <a:gd name="connsiteY18" fmla="*/ 263152 h 414617"/>
                      <a:gd name="connsiteX19" fmla="*/ 141326 w 419414"/>
                      <a:gd name="connsiteY19" fmla="*/ 311510 h 414617"/>
                      <a:gd name="connsiteX20" fmla="*/ 162404 w 419414"/>
                      <a:gd name="connsiteY20" fmla="*/ 337887 h 414617"/>
                      <a:gd name="connsiteX21" fmla="*/ 142205 w 419414"/>
                      <a:gd name="connsiteY21" fmla="*/ 383607 h 414617"/>
                      <a:gd name="connsiteX22" fmla="*/ 116735 w 419414"/>
                      <a:gd name="connsiteY22" fmla="*/ 385365 h 414617"/>
                      <a:gd name="connsiteX23" fmla="*/ 49111 w 419414"/>
                      <a:gd name="connsiteY23" fmla="*/ 310630 h 414617"/>
                      <a:gd name="connsiteX24" fmla="*/ 35059 w 419414"/>
                      <a:gd name="connsiteY24" fmla="*/ 109287 h 414617"/>
                      <a:gd name="connsiteX25" fmla="*/ 33302 w 419414"/>
                      <a:gd name="connsiteY25" fmla="*/ 109287 h 4146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19414" h="414617">
                        <a:moveTo>
                          <a:pt x="32424" y="108407"/>
                        </a:moveTo>
                        <a:cubicBezTo>
                          <a:pt x="37694" y="90823"/>
                          <a:pt x="46476" y="74117"/>
                          <a:pt x="59650" y="60050"/>
                        </a:cubicBezTo>
                        <a:cubicBezTo>
                          <a:pt x="99171" y="16967"/>
                          <a:pt x="170308" y="8175"/>
                          <a:pt x="170308" y="8175"/>
                        </a:cubicBezTo>
                        <a:cubicBezTo>
                          <a:pt x="236176" y="-11168"/>
                          <a:pt x="262524" y="8175"/>
                          <a:pt x="285358" y="21364"/>
                        </a:cubicBezTo>
                        <a:cubicBezTo>
                          <a:pt x="326636" y="47740"/>
                          <a:pt x="309071" y="67084"/>
                          <a:pt x="302923" y="73238"/>
                        </a:cubicBezTo>
                        <a:lnTo>
                          <a:pt x="302923" y="73238"/>
                        </a:lnTo>
                        <a:cubicBezTo>
                          <a:pt x="302923" y="73238"/>
                          <a:pt x="286236" y="107528"/>
                          <a:pt x="249350" y="122475"/>
                        </a:cubicBezTo>
                        <a:cubicBezTo>
                          <a:pt x="170308" y="153248"/>
                          <a:pt x="214220" y="214794"/>
                          <a:pt x="217733" y="223587"/>
                        </a:cubicBezTo>
                        <a:cubicBezTo>
                          <a:pt x="224759" y="240292"/>
                          <a:pt x="287115" y="322060"/>
                          <a:pt x="325757" y="344920"/>
                        </a:cubicBezTo>
                        <a:cubicBezTo>
                          <a:pt x="327514" y="330853"/>
                          <a:pt x="331905" y="303597"/>
                          <a:pt x="339809" y="290408"/>
                        </a:cubicBezTo>
                        <a:cubicBezTo>
                          <a:pt x="352104" y="270186"/>
                          <a:pt x="396017" y="261394"/>
                          <a:pt x="396017" y="261394"/>
                        </a:cubicBezTo>
                        <a:cubicBezTo>
                          <a:pt x="400408" y="266669"/>
                          <a:pt x="403043" y="276340"/>
                          <a:pt x="403043" y="282495"/>
                        </a:cubicBezTo>
                        <a:cubicBezTo>
                          <a:pt x="403043" y="282495"/>
                          <a:pt x="381087" y="278978"/>
                          <a:pt x="361765" y="304476"/>
                        </a:cubicBezTo>
                        <a:cubicBezTo>
                          <a:pt x="354739" y="313268"/>
                          <a:pt x="358252" y="344920"/>
                          <a:pt x="361765" y="355471"/>
                        </a:cubicBezTo>
                        <a:cubicBezTo>
                          <a:pt x="399530" y="351075"/>
                          <a:pt x="410069" y="344920"/>
                          <a:pt x="410069" y="344920"/>
                        </a:cubicBezTo>
                        <a:cubicBezTo>
                          <a:pt x="410069" y="344920"/>
                          <a:pt x="428512" y="379210"/>
                          <a:pt x="413581" y="395916"/>
                        </a:cubicBezTo>
                        <a:cubicBezTo>
                          <a:pt x="397773" y="412621"/>
                          <a:pt x="311705" y="424051"/>
                          <a:pt x="288871" y="403829"/>
                        </a:cubicBezTo>
                        <a:cubicBezTo>
                          <a:pt x="267793" y="385365"/>
                          <a:pt x="226516" y="292167"/>
                          <a:pt x="217733" y="272823"/>
                        </a:cubicBezTo>
                        <a:cubicBezTo>
                          <a:pt x="215977" y="271065"/>
                          <a:pt x="213342" y="268427"/>
                          <a:pt x="210707" y="263152"/>
                        </a:cubicBezTo>
                        <a:cubicBezTo>
                          <a:pt x="168552" y="192813"/>
                          <a:pt x="96536" y="231500"/>
                          <a:pt x="141326" y="311510"/>
                        </a:cubicBezTo>
                        <a:cubicBezTo>
                          <a:pt x="147474" y="322060"/>
                          <a:pt x="154500" y="330853"/>
                          <a:pt x="162404" y="337887"/>
                        </a:cubicBezTo>
                        <a:cubicBezTo>
                          <a:pt x="150987" y="358109"/>
                          <a:pt x="146596" y="373056"/>
                          <a:pt x="142205" y="383607"/>
                        </a:cubicBezTo>
                        <a:cubicBezTo>
                          <a:pt x="135179" y="400312"/>
                          <a:pt x="124640" y="401191"/>
                          <a:pt x="116735" y="385365"/>
                        </a:cubicBezTo>
                        <a:cubicBezTo>
                          <a:pt x="109709" y="371297"/>
                          <a:pt x="85997" y="341403"/>
                          <a:pt x="49111" y="310630"/>
                        </a:cubicBezTo>
                        <a:cubicBezTo>
                          <a:pt x="-71" y="269307"/>
                          <a:pt x="-24662" y="198968"/>
                          <a:pt x="35059" y="109287"/>
                        </a:cubicBezTo>
                        <a:lnTo>
                          <a:pt x="33302" y="109287"/>
                        </a:lnTo>
                        <a:close/>
                      </a:path>
                    </a:pathLst>
                  </a:custGeom>
                  <a:solidFill>
                    <a:srgbClr val="4D260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eform 44">
                    <a:extLst>
                      <a:ext uri="{FF2B5EF4-FFF2-40B4-BE49-F238E27FC236}">
                        <a16:creationId xmlns:a16="http://schemas.microsoft.com/office/drawing/2014/main" id="{B1F7E57D-74A7-92DA-C4C9-1ED4682052A5}"/>
                      </a:ext>
                    </a:extLst>
                  </p:cNvPr>
                  <p:cNvSpPr/>
                  <p:nvPr/>
                </p:nvSpPr>
                <p:spPr>
                  <a:xfrm>
                    <a:off x="-11589492" y="5467924"/>
                    <a:ext cx="418819" cy="329711"/>
                  </a:xfrm>
                  <a:custGeom>
                    <a:avLst/>
                    <a:gdLst>
                      <a:gd name="connsiteX0" fmla="*/ 32777 w 418819"/>
                      <a:gd name="connsiteY0" fmla="*/ 41324 h 329711"/>
                      <a:gd name="connsiteX1" fmla="*/ 6430 w 418819"/>
                      <a:gd name="connsiteY1" fmla="*/ 35169 h 329711"/>
                      <a:gd name="connsiteX2" fmla="*/ 14334 w 418819"/>
                      <a:gd name="connsiteY2" fmla="*/ 151228 h 329711"/>
                      <a:gd name="connsiteX3" fmla="*/ 282 w 418819"/>
                      <a:gd name="connsiteY3" fmla="*/ 277837 h 329711"/>
                      <a:gd name="connsiteX4" fmla="*/ 282 w 418819"/>
                      <a:gd name="connsiteY4" fmla="*/ 329712 h 329711"/>
                      <a:gd name="connsiteX5" fmla="*/ 129384 w 418819"/>
                      <a:gd name="connsiteY5" fmla="*/ 329712 h 329711"/>
                      <a:gd name="connsiteX6" fmla="*/ 138166 w 418819"/>
                      <a:gd name="connsiteY6" fmla="*/ 291025 h 329711"/>
                      <a:gd name="connsiteX7" fmla="*/ 209304 w 418819"/>
                      <a:gd name="connsiteY7" fmla="*/ 329712 h 329711"/>
                      <a:gd name="connsiteX8" fmla="*/ 413934 w 418819"/>
                      <a:gd name="connsiteY8" fmla="*/ 329712 h 329711"/>
                      <a:gd name="connsiteX9" fmla="*/ 418326 w 418819"/>
                      <a:gd name="connsiteY9" fmla="*/ 277837 h 329711"/>
                      <a:gd name="connsiteX10" fmla="*/ 378805 w 418819"/>
                      <a:gd name="connsiteY10" fmla="*/ 211895 h 329711"/>
                      <a:gd name="connsiteX11" fmla="*/ 204913 w 418819"/>
                      <a:gd name="connsiteY11" fmla="*/ 107266 h 329711"/>
                      <a:gd name="connsiteX12" fmla="*/ 179444 w 418819"/>
                      <a:gd name="connsiteY12" fmla="*/ 0 h 329711"/>
                      <a:gd name="connsiteX13" fmla="*/ 102158 w 418819"/>
                      <a:gd name="connsiteY13" fmla="*/ 21981 h 329711"/>
                      <a:gd name="connsiteX14" fmla="*/ 32777 w 418819"/>
                      <a:gd name="connsiteY14" fmla="*/ 41324 h 3297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18819" h="329711">
                        <a:moveTo>
                          <a:pt x="32777" y="41324"/>
                        </a:moveTo>
                        <a:cubicBezTo>
                          <a:pt x="32777" y="41324"/>
                          <a:pt x="-4987" y="10551"/>
                          <a:pt x="6430" y="35169"/>
                        </a:cubicBezTo>
                        <a:cubicBezTo>
                          <a:pt x="17847" y="59788"/>
                          <a:pt x="11699" y="137160"/>
                          <a:pt x="14334" y="151228"/>
                        </a:cubicBezTo>
                        <a:cubicBezTo>
                          <a:pt x="14334" y="151228"/>
                          <a:pt x="-2353" y="225962"/>
                          <a:pt x="282" y="277837"/>
                        </a:cubicBezTo>
                        <a:lnTo>
                          <a:pt x="282" y="329712"/>
                        </a:lnTo>
                        <a:lnTo>
                          <a:pt x="129384" y="329712"/>
                        </a:lnTo>
                        <a:lnTo>
                          <a:pt x="138166" y="291025"/>
                        </a:lnTo>
                        <a:cubicBezTo>
                          <a:pt x="138166" y="291025"/>
                          <a:pt x="179444" y="299818"/>
                          <a:pt x="209304" y="329712"/>
                        </a:cubicBezTo>
                        <a:lnTo>
                          <a:pt x="413934" y="329712"/>
                        </a:lnTo>
                        <a:lnTo>
                          <a:pt x="418326" y="277837"/>
                        </a:lnTo>
                        <a:cubicBezTo>
                          <a:pt x="418326" y="277837"/>
                          <a:pt x="426230" y="240030"/>
                          <a:pt x="378805" y="211895"/>
                        </a:cubicBezTo>
                        <a:cubicBezTo>
                          <a:pt x="356849" y="199585"/>
                          <a:pt x="261120" y="201344"/>
                          <a:pt x="204913" y="107266"/>
                        </a:cubicBezTo>
                        <a:cubicBezTo>
                          <a:pt x="166270" y="42203"/>
                          <a:pt x="179444" y="0"/>
                          <a:pt x="179444" y="0"/>
                        </a:cubicBezTo>
                        <a:cubicBezTo>
                          <a:pt x="179444" y="0"/>
                          <a:pt x="116210" y="0"/>
                          <a:pt x="102158" y="21981"/>
                        </a:cubicBezTo>
                        <a:cubicBezTo>
                          <a:pt x="88106" y="43962"/>
                          <a:pt x="32777" y="41324"/>
                          <a:pt x="32777" y="41324"/>
                        </a:cubicBez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eform 45">
                    <a:extLst>
                      <a:ext uri="{FF2B5EF4-FFF2-40B4-BE49-F238E27FC236}">
                        <a16:creationId xmlns:a16="http://schemas.microsoft.com/office/drawing/2014/main" id="{F1E2D671-21A6-8CA1-7314-B3C9BB4BFD46}"/>
                      </a:ext>
                    </a:extLst>
                  </p:cNvPr>
                  <p:cNvSpPr/>
                  <p:nvPr/>
                </p:nvSpPr>
                <p:spPr>
                  <a:xfrm>
                    <a:off x="-12205541" y="5475665"/>
                    <a:ext cx="265034" cy="329937"/>
                  </a:xfrm>
                  <a:custGeom>
                    <a:avLst/>
                    <a:gdLst>
                      <a:gd name="connsiteX0" fmla="*/ 108707 w 265034"/>
                      <a:gd name="connsiteY0" fmla="*/ 44133 h 329937"/>
                      <a:gd name="connsiteX1" fmla="*/ 55134 w 265034"/>
                      <a:gd name="connsiteY1" fmla="*/ 160192 h 329937"/>
                      <a:gd name="connsiteX2" fmla="*/ 1561 w 265034"/>
                      <a:gd name="connsiteY2" fmla="*/ 241081 h 329937"/>
                      <a:gd name="connsiteX3" fmla="*/ 1561 w 265034"/>
                      <a:gd name="connsiteY3" fmla="*/ 317574 h 329937"/>
                      <a:gd name="connsiteX4" fmla="*/ 245713 w 265034"/>
                      <a:gd name="connsiteY4" fmla="*/ 294714 h 329937"/>
                      <a:gd name="connsiteX5" fmla="*/ 263278 w 265034"/>
                      <a:gd name="connsiteY5" fmla="*/ 154037 h 329937"/>
                      <a:gd name="connsiteX6" fmla="*/ 265034 w 265034"/>
                      <a:gd name="connsiteY6" fmla="*/ 10723 h 329937"/>
                      <a:gd name="connsiteX7" fmla="*/ 125393 w 265034"/>
                      <a:gd name="connsiteY7" fmla="*/ 172 h 329937"/>
                      <a:gd name="connsiteX8" fmla="*/ 108707 w 265034"/>
                      <a:gd name="connsiteY8" fmla="*/ 44133 h 329937"/>
                      <a:gd name="connsiteX9" fmla="*/ 109585 w 265034"/>
                      <a:gd name="connsiteY9" fmla="*/ 44133 h 329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5034" h="329937">
                        <a:moveTo>
                          <a:pt x="108707" y="44133"/>
                        </a:moveTo>
                        <a:cubicBezTo>
                          <a:pt x="108707" y="44133"/>
                          <a:pt x="103437" y="117989"/>
                          <a:pt x="55134" y="160192"/>
                        </a:cubicBezTo>
                        <a:cubicBezTo>
                          <a:pt x="55134" y="160192"/>
                          <a:pt x="5074" y="192723"/>
                          <a:pt x="1561" y="241081"/>
                        </a:cubicBezTo>
                        <a:cubicBezTo>
                          <a:pt x="-1952" y="283284"/>
                          <a:pt x="1561" y="317574"/>
                          <a:pt x="1561" y="317574"/>
                        </a:cubicBezTo>
                        <a:cubicBezTo>
                          <a:pt x="1561" y="317574"/>
                          <a:pt x="200922" y="357140"/>
                          <a:pt x="245713" y="294714"/>
                        </a:cubicBezTo>
                        <a:cubicBezTo>
                          <a:pt x="245713" y="294714"/>
                          <a:pt x="268547" y="204154"/>
                          <a:pt x="263278" y="154037"/>
                        </a:cubicBezTo>
                        <a:cubicBezTo>
                          <a:pt x="258008" y="103921"/>
                          <a:pt x="265034" y="10723"/>
                          <a:pt x="265034" y="10723"/>
                        </a:cubicBezTo>
                        <a:cubicBezTo>
                          <a:pt x="265034" y="10723"/>
                          <a:pt x="133298" y="-1586"/>
                          <a:pt x="125393" y="172"/>
                        </a:cubicBezTo>
                        <a:cubicBezTo>
                          <a:pt x="118368" y="1930"/>
                          <a:pt x="108707" y="44133"/>
                          <a:pt x="108707" y="44133"/>
                        </a:cubicBezTo>
                        <a:lnTo>
                          <a:pt x="109585" y="44133"/>
                        </a:ln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eform 46">
                    <a:extLst>
                      <a:ext uri="{FF2B5EF4-FFF2-40B4-BE49-F238E27FC236}">
                        <a16:creationId xmlns:a16="http://schemas.microsoft.com/office/drawing/2014/main" id="{3B1AD537-B470-6695-F6B9-967349D10C25}"/>
                      </a:ext>
                    </a:extLst>
                  </p:cNvPr>
                  <p:cNvSpPr/>
                  <p:nvPr/>
                </p:nvSpPr>
                <p:spPr>
                  <a:xfrm>
                    <a:off x="-12144260" y="2715053"/>
                    <a:ext cx="329838" cy="862525"/>
                  </a:xfrm>
                  <a:custGeom>
                    <a:avLst/>
                    <a:gdLst>
                      <a:gd name="connsiteX0" fmla="*/ 103633 w 329838"/>
                      <a:gd name="connsiteY0" fmla="*/ 31652 h 862525"/>
                      <a:gd name="connsiteX1" fmla="*/ 189700 w 329838"/>
                      <a:gd name="connsiteY1" fmla="*/ 0 h 862525"/>
                      <a:gd name="connsiteX2" fmla="*/ 305628 w 329838"/>
                      <a:gd name="connsiteY2" fmla="*/ 504678 h 862525"/>
                      <a:gd name="connsiteX3" fmla="*/ 0 w 329838"/>
                      <a:gd name="connsiteY3" fmla="*/ 862525 h 862525"/>
                      <a:gd name="connsiteX4" fmla="*/ 103633 w 329838"/>
                      <a:gd name="connsiteY4" fmla="*/ 31652 h 862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9838" h="862525">
                        <a:moveTo>
                          <a:pt x="103633" y="31652"/>
                        </a:moveTo>
                        <a:lnTo>
                          <a:pt x="189700" y="0"/>
                        </a:lnTo>
                        <a:cubicBezTo>
                          <a:pt x="189700" y="0"/>
                          <a:pt x="399600" y="269924"/>
                          <a:pt x="305628" y="504678"/>
                        </a:cubicBezTo>
                        <a:cubicBezTo>
                          <a:pt x="211656" y="740312"/>
                          <a:pt x="0" y="862525"/>
                          <a:pt x="0" y="862525"/>
                        </a:cubicBezTo>
                        <a:cubicBezTo>
                          <a:pt x="0" y="862525"/>
                          <a:pt x="454051" y="622495"/>
                          <a:pt x="103633" y="3165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 47">
                    <a:extLst>
                      <a:ext uri="{FF2B5EF4-FFF2-40B4-BE49-F238E27FC236}">
                        <a16:creationId xmlns:a16="http://schemas.microsoft.com/office/drawing/2014/main" id="{C64B7A5E-A314-0262-DDDA-A0E3CFCF4C47}"/>
                      </a:ext>
                    </a:extLst>
                  </p:cNvPr>
                  <p:cNvSpPr/>
                  <p:nvPr/>
                </p:nvSpPr>
                <p:spPr>
                  <a:xfrm>
                    <a:off x="-12175876" y="2827120"/>
                    <a:ext cx="360797" cy="516625"/>
                  </a:xfrm>
                  <a:custGeom>
                    <a:avLst/>
                    <a:gdLst>
                      <a:gd name="connsiteX0" fmla="*/ 302994 w 360797"/>
                      <a:gd name="connsiteY0" fmla="*/ 35643 h 516625"/>
                      <a:gd name="connsiteX1" fmla="*/ 319680 w 360797"/>
                      <a:gd name="connsiteY1" fmla="*/ 8387 h 516625"/>
                      <a:gd name="connsiteX2" fmla="*/ 288942 w 360797"/>
                      <a:gd name="connsiteY2" fmla="*/ 3991 h 516625"/>
                      <a:gd name="connsiteX3" fmla="*/ 214291 w 360797"/>
                      <a:gd name="connsiteY3" fmla="*/ 47073 h 516625"/>
                      <a:gd name="connsiteX4" fmla="*/ 189700 w 360797"/>
                      <a:gd name="connsiteY4" fmla="*/ 149064 h 516625"/>
                      <a:gd name="connsiteX5" fmla="*/ 194970 w 360797"/>
                      <a:gd name="connsiteY5" fmla="*/ 210610 h 516625"/>
                      <a:gd name="connsiteX6" fmla="*/ 0 w 360797"/>
                      <a:gd name="connsiteY6" fmla="*/ 415471 h 516625"/>
                      <a:gd name="connsiteX7" fmla="*/ 132615 w 360797"/>
                      <a:gd name="connsiteY7" fmla="*/ 514824 h 516625"/>
                      <a:gd name="connsiteX8" fmla="*/ 262594 w 360797"/>
                      <a:gd name="connsiteY8" fmla="*/ 328427 h 516625"/>
                      <a:gd name="connsiteX9" fmla="*/ 286307 w 360797"/>
                      <a:gd name="connsiteY9" fmla="*/ 224678 h 516625"/>
                      <a:gd name="connsiteX10" fmla="*/ 309141 w 360797"/>
                      <a:gd name="connsiteY10" fmla="*/ 186871 h 516625"/>
                      <a:gd name="connsiteX11" fmla="*/ 355688 w 360797"/>
                      <a:gd name="connsiteY11" fmla="*/ 127083 h 516625"/>
                      <a:gd name="connsiteX12" fmla="*/ 339880 w 360797"/>
                      <a:gd name="connsiteY12" fmla="*/ 98069 h 516625"/>
                      <a:gd name="connsiteX13" fmla="*/ 279281 w 360797"/>
                      <a:gd name="connsiteY13" fmla="*/ 153460 h 516625"/>
                      <a:gd name="connsiteX14" fmla="*/ 346028 w 360797"/>
                      <a:gd name="connsiteY14" fmla="*/ 91914 h 516625"/>
                      <a:gd name="connsiteX15" fmla="*/ 335489 w 360797"/>
                      <a:gd name="connsiteY15" fmla="*/ 61141 h 516625"/>
                      <a:gd name="connsiteX16" fmla="*/ 262594 w 360797"/>
                      <a:gd name="connsiteY16" fmla="*/ 113016 h 516625"/>
                      <a:gd name="connsiteX17" fmla="*/ 329341 w 360797"/>
                      <a:gd name="connsiteY17" fmla="*/ 56745 h 516625"/>
                      <a:gd name="connsiteX18" fmla="*/ 302115 w 360797"/>
                      <a:gd name="connsiteY18" fmla="*/ 35643 h 516625"/>
                      <a:gd name="connsiteX19" fmla="*/ 247664 w 360797"/>
                      <a:gd name="connsiteY19" fmla="*/ 73450 h 516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60797" h="516625">
                        <a:moveTo>
                          <a:pt x="302994" y="35643"/>
                        </a:moveTo>
                        <a:cubicBezTo>
                          <a:pt x="302994" y="35643"/>
                          <a:pt x="328463" y="24213"/>
                          <a:pt x="319680" y="8387"/>
                        </a:cubicBezTo>
                        <a:cubicBezTo>
                          <a:pt x="311776" y="-7439"/>
                          <a:pt x="288942" y="3991"/>
                          <a:pt x="288942" y="3991"/>
                        </a:cubicBezTo>
                        <a:cubicBezTo>
                          <a:pt x="288942" y="3991"/>
                          <a:pt x="230978" y="35643"/>
                          <a:pt x="214291" y="47073"/>
                        </a:cubicBezTo>
                        <a:cubicBezTo>
                          <a:pt x="197605" y="58503"/>
                          <a:pt x="180918" y="84880"/>
                          <a:pt x="189700" y="149064"/>
                        </a:cubicBezTo>
                        <a:cubicBezTo>
                          <a:pt x="191457" y="180716"/>
                          <a:pt x="194970" y="210610"/>
                          <a:pt x="194970" y="210610"/>
                        </a:cubicBezTo>
                        <a:cubicBezTo>
                          <a:pt x="194970" y="232591"/>
                          <a:pt x="0" y="415471"/>
                          <a:pt x="0" y="415471"/>
                        </a:cubicBezTo>
                        <a:cubicBezTo>
                          <a:pt x="0" y="415471"/>
                          <a:pt x="26347" y="532409"/>
                          <a:pt x="132615" y="514824"/>
                        </a:cubicBezTo>
                        <a:lnTo>
                          <a:pt x="262594" y="328427"/>
                        </a:lnTo>
                        <a:cubicBezTo>
                          <a:pt x="283672" y="294137"/>
                          <a:pt x="285429" y="263364"/>
                          <a:pt x="286307" y="224678"/>
                        </a:cubicBezTo>
                        <a:cubicBezTo>
                          <a:pt x="290698" y="207973"/>
                          <a:pt x="304750" y="193026"/>
                          <a:pt x="309141" y="186871"/>
                        </a:cubicBezTo>
                        <a:cubicBezTo>
                          <a:pt x="309141" y="186871"/>
                          <a:pt x="344271" y="140272"/>
                          <a:pt x="355688" y="127083"/>
                        </a:cubicBezTo>
                        <a:cubicBezTo>
                          <a:pt x="367105" y="113895"/>
                          <a:pt x="358323" y="89276"/>
                          <a:pt x="339880" y="98069"/>
                        </a:cubicBezTo>
                        <a:cubicBezTo>
                          <a:pt x="329341" y="103344"/>
                          <a:pt x="279281" y="153460"/>
                          <a:pt x="279281" y="153460"/>
                        </a:cubicBezTo>
                        <a:lnTo>
                          <a:pt x="346028" y="91914"/>
                        </a:lnTo>
                        <a:cubicBezTo>
                          <a:pt x="353053" y="85759"/>
                          <a:pt x="352175" y="55866"/>
                          <a:pt x="335489" y="61141"/>
                        </a:cubicBezTo>
                        <a:cubicBezTo>
                          <a:pt x="324071" y="64658"/>
                          <a:pt x="262594" y="113016"/>
                          <a:pt x="262594" y="113016"/>
                        </a:cubicBezTo>
                        <a:lnTo>
                          <a:pt x="329341" y="56745"/>
                        </a:lnTo>
                        <a:cubicBezTo>
                          <a:pt x="339880" y="45315"/>
                          <a:pt x="329341" y="18059"/>
                          <a:pt x="302115" y="35643"/>
                        </a:cubicBezTo>
                        <a:cubicBezTo>
                          <a:pt x="274890" y="53228"/>
                          <a:pt x="272255" y="53228"/>
                          <a:pt x="247664" y="73450"/>
                        </a:cubicBezTo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 48">
                    <a:extLst>
                      <a:ext uri="{FF2B5EF4-FFF2-40B4-BE49-F238E27FC236}">
                        <a16:creationId xmlns:a16="http://schemas.microsoft.com/office/drawing/2014/main" id="{2D9F1366-CE26-20E6-DC4E-A0C271085FA9}"/>
                      </a:ext>
                    </a:extLst>
                  </p:cNvPr>
                  <p:cNvSpPr/>
                  <p:nvPr/>
                </p:nvSpPr>
                <p:spPr>
                  <a:xfrm>
                    <a:off x="-11478552" y="3895859"/>
                    <a:ext cx="167744" cy="84406"/>
                  </a:xfrm>
                  <a:custGeom>
                    <a:avLst/>
                    <a:gdLst>
                      <a:gd name="connsiteX0" fmla="*/ 123832 w 167744"/>
                      <a:gd name="connsiteY0" fmla="*/ 84406 h 84406"/>
                      <a:gd name="connsiteX1" fmla="*/ 167744 w 167744"/>
                      <a:gd name="connsiteY1" fmla="*/ 21981 h 84406"/>
                      <a:gd name="connsiteX2" fmla="*/ 62355 w 167744"/>
                      <a:gd name="connsiteY2" fmla="*/ 0 h 84406"/>
                      <a:gd name="connsiteX3" fmla="*/ 0 w 167744"/>
                      <a:gd name="connsiteY3" fmla="*/ 2638 h 84406"/>
                      <a:gd name="connsiteX4" fmla="*/ 123832 w 167744"/>
                      <a:gd name="connsiteY4" fmla="*/ 83527 h 84406"/>
                      <a:gd name="connsiteX5" fmla="*/ 123832 w 167744"/>
                      <a:gd name="connsiteY5" fmla="*/ 83527 h 84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7744" h="84406">
                        <a:moveTo>
                          <a:pt x="123832" y="84406"/>
                        </a:moveTo>
                        <a:lnTo>
                          <a:pt x="167744" y="21981"/>
                        </a:lnTo>
                        <a:lnTo>
                          <a:pt x="62355" y="0"/>
                        </a:lnTo>
                        <a:cubicBezTo>
                          <a:pt x="62355" y="0"/>
                          <a:pt x="26347" y="2638"/>
                          <a:pt x="0" y="2638"/>
                        </a:cubicBezTo>
                        <a:cubicBezTo>
                          <a:pt x="50938" y="60667"/>
                          <a:pt x="123832" y="83527"/>
                          <a:pt x="123832" y="83527"/>
                        </a:cubicBezTo>
                        <a:lnTo>
                          <a:pt x="123832" y="8352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F7E9CC43-AB89-BFD5-458C-49518D902D99}"/>
                    </a:ext>
                  </a:extLst>
                </p:cNvPr>
                <p:cNvSpPr/>
                <p:nvPr/>
              </p:nvSpPr>
              <p:spPr>
                <a:xfrm>
                  <a:off x="-11431157" y="3442176"/>
                  <a:ext cx="73802" cy="454562"/>
                </a:xfrm>
                <a:custGeom>
                  <a:avLst/>
                  <a:gdLst>
                    <a:gd name="connsiteX0" fmla="*/ 14960 w 73802"/>
                    <a:gd name="connsiteY0" fmla="*/ 454562 h 454562"/>
                    <a:gd name="connsiteX1" fmla="*/ 30 w 73802"/>
                    <a:gd name="connsiteY1" fmla="*/ 398291 h 454562"/>
                    <a:gd name="connsiteX2" fmla="*/ 73802 w 73802"/>
                    <a:gd name="connsiteY2" fmla="*/ 0 h 454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802" h="454562">
                      <a:moveTo>
                        <a:pt x="14960" y="454562"/>
                      </a:moveTo>
                      <a:cubicBezTo>
                        <a:pt x="30" y="437857"/>
                        <a:pt x="30" y="430823"/>
                        <a:pt x="30" y="398291"/>
                      </a:cubicBezTo>
                      <a:cubicBezTo>
                        <a:pt x="-1726" y="251460"/>
                        <a:pt x="73802" y="134522"/>
                        <a:pt x="73802" y="0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39D82144-8214-F6FA-AF90-E251BBC5A05F}"/>
                    </a:ext>
                  </a:extLst>
                </p:cNvPr>
                <p:cNvSpPr/>
                <p:nvPr/>
              </p:nvSpPr>
              <p:spPr>
                <a:xfrm>
                  <a:off x="-12279509" y="3211427"/>
                  <a:ext cx="132614" cy="54023"/>
                </a:xfrm>
                <a:custGeom>
                  <a:avLst/>
                  <a:gdLst>
                    <a:gd name="connsiteX0" fmla="*/ 132615 w 132614"/>
                    <a:gd name="connsiteY0" fmla="*/ 3908 h 54023"/>
                    <a:gd name="connsiteX1" fmla="*/ 92215 w 132614"/>
                    <a:gd name="connsiteY1" fmla="*/ 3908 h 54023"/>
                    <a:gd name="connsiteX2" fmla="*/ 0 w 132614"/>
                    <a:gd name="connsiteY2" fmla="*/ 54024 h 54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2614" h="54023">
                      <a:moveTo>
                        <a:pt x="132615" y="3908"/>
                      </a:moveTo>
                      <a:cubicBezTo>
                        <a:pt x="132615" y="3908"/>
                        <a:pt x="118563" y="-4885"/>
                        <a:pt x="92215" y="3908"/>
                      </a:cubicBezTo>
                      <a:cubicBezTo>
                        <a:pt x="74651" y="9183"/>
                        <a:pt x="0" y="54024"/>
                        <a:pt x="0" y="54024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B0C3588D-5561-822D-A6E3-62F4EE15BA6F}"/>
                    </a:ext>
                  </a:extLst>
                </p:cNvPr>
                <p:cNvSpPr/>
                <p:nvPr/>
              </p:nvSpPr>
              <p:spPr>
                <a:xfrm>
                  <a:off x="-12031845" y="3319084"/>
                  <a:ext cx="21923" cy="111662"/>
                </a:xfrm>
                <a:custGeom>
                  <a:avLst/>
                  <a:gdLst>
                    <a:gd name="connsiteX0" fmla="*/ 5270 w 21923"/>
                    <a:gd name="connsiteY0" fmla="*/ 0 h 111662"/>
                    <a:gd name="connsiteX1" fmla="*/ 21078 w 21923"/>
                    <a:gd name="connsiteY1" fmla="*/ 50116 h 111662"/>
                    <a:gd name="connsiteX2" fmla="*/ 0 w 21923"/>
                    <a:gd name="connsiteY2" fmla="*/ 111662 h 11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923" h="111662">
                      <a:moveTo>
                        <a:pt x="5270" y="0"/>
                      </a:moveTo>
                      <a:cubicBezTo>
                        <a:pt x="5270" y="0"/>
                        <a:pt x="26347" y="28135"/>
                        <a:pt x="21078" y="50116"/>
                      </a:cubicBezTo>
                      <a:cubicBezTo>
                        <a:pt x="15808" y="72976"/>
                        <a:pt x="0" y="111662"/>
                        <a:pt x="0" y="111662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" name="Graphic 6">
                <a:extLst>
                  <a:ext uri="{FF2B5EF4-FFF2-40B4-BE49-F238E27FC236}">
                    <a16:creationId xmlns:a16="http://schemas.microsoft.com/office/drawing/2014/main" id="{11D2ADC8-B80E-5CD9-DB64-44CB52CC69D7}"/>
                  </a:ext>
                </a:extLst>
              </p:cNvPr>
              <p:cNvGrpSpPr/>
              <p:nvPr/>
            </p:nvGrpSpPr>
            <p:grpSpPr>
              <a:xfrm>
                <a:off x="-10159651" y="3689492"/>
                <a:ext cx="1772053" cy="2111660"/>
                <a:chOff x="-10159651" y="3689492"/>
                <a:chExt cx="1772053" cy="2111660"/>
              </a:xfrm>
            </p:grpSpPr>
            <p:grpSp>
              <p:nvGrpSpPr>
                <p:cNvPr id="21" name="Graphic 6">
                  <a:extLst>
                    <a:ext uri="{FF2B5EF4-FFF2-40B4-BE49-F238E27FC236}">
                      <a16:creationId xmlns:a16="http://schemas.microsoft.com/office/drawing/2014/main" id="{53B3B48A-CE6A-6538-A37A-E7F360B2D84D}"/>
                    </a:ext>
                  </a:extLst>
                </p:cNvPr>
                <p:cNvGrpSpPr/>
                <p:nvPr/>
              </p:nvGrpSpPr>
              <p:grpSpPr>
                <a:xfrm>
                  <a:off x="-10145379" y="3689492"/>
                  <a:ext cx="1583761" cy="2111660"/>
                  <a:chOff x="-10145379" y="3689492"/>
                  <a:chExt cx="1583761" cy="2111660"/>
                </a:xfrm>
              </p:grpSpPr>
              <p:sp>
                <p:nvSpPr>
                  <p:cNvPr id="27" name="Freeform 26">
                    <a:extLst>
                      <a:ext uri="{FF2B5EF4-FFF2-40B4-BE49-F238E27FC236}">
                        <a16:creationId xmlns:a16="http://schemas.microsoft.com/office/drawing/2014/main" id="{215CB06D-B865-45BE-BB99-CA7A75311A02}"/>
                      </a:ext>
                    </a:extLst>
                  </p:cNvPr>
                  <p:cNvSpPr/>
                  <p:nvPr/>
                </p:nvSpPr>
                <p:spPr>
                  <a:xfrm>
                    <a:off x="-9701867" y="5162831"/>
                    <a:ext cx="224829" cy="623972"/>
                  </a:xfrm>
                  <a:custGeom>
                    <a:avLst/>
                    <a:gdLst>
                      <a:gd name="connsiteX0" fmla="*/ 103633 w 224829"/>
                      <a:gd name="connsiteY0" fmla="*/ 612824 h 623972"/>
                      <a:gd name="connsiteX1" fmla="*/ 90459 w 224829"/>
                      <a:gd name="connsiteY1" fmla="*/ 563587 h 623972"/>
                      <a:gd name="connsiteX2" fmla="*/ 96607 w 224829"/>
                      <a:gd name="connsiteY2" fmla="*/ 496765 h 623972"/>
                      <a:gd name="connsiteX3" fmla="*/ 28104 w 224829"/>
                      <a:gd name="connsiteY3" fmla="*/ 125730 h 623972"/>
                      <a:gd name="connsiteX4" fmla="*/ 0 w 224829"/>
                      <a:gd name="connsiteY4" fmla="*/ 4396 h 623972"/>
                      <a:gd name="connsiteX5" fmla="*/ 180040 w 224829"/>
                      <a:gd name="connsiteY5" fmla="*/ 0 h 623972"/>
                      <a:gd name="connsiteX6" fmla="*/ 185309 w 224829"/>
                      <a:gd name="connsiteY6" fmla="*/ 118696 h 623972"/>
                      <a:gd name="connsiteX7" fmla="*/ 194970 w 224829"/>
                      <a:gd name="connsiteY7" fmla="*/ 517867 h 623972"/>
                      <a:gd name="connsiteX8" fmla="*/ 224830 w 224829"/>
                      <a:gd name="connsiteY8" fmla="*/ 556553 h 623972"/>
                      <a:gd name="connsiteX9" fmla="*/ 103633 w 224829"/>
                      <a:gd name="connsiteY9" fmla="*/ 612824 h 623972"/>
                      <a:gd name="connsiteX10" fmla="*/ 103633 w 224829"/>
                      <a:gd name="connsiteY10" fmla="*/ 612824 h 623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24829" h="623972">
                        <a:moveTo>
                          <a:pt x="103633" y="612824"/>
                        </a:moveTo>
                        <a:cubicBezTo>
                          <a:pt x="103633" y="612824"/>
                          <a:pt x="83433" y="589964"/>
                          <a:pt x="90459" y="563587"/>
                        </a:cubicBezTo>
                        <a:cubicBezTo>
                          <a:pt x="97485" y="537210"/>
                          <a:pt x="108024" y="528418"/>
                          <a:pt x="96607" y="496765"/>
                        </a:cubicBezTo>
                        <a:cubicBezTo>
                          <a:pt x="96607" y="496765"/>
                          <a:pt x="10539" y="196069"/>
                          <a:pt x="28104" y="125730"/>
                        </a:cubicBezTo>
                        <a:cubicBezTo>
                          <a:pt x="18443" y="85285"/>
                          <a:pt x="0" y="4396"/>
                          <a:pt x="0" y="4396"/>
                        </a:cubicBezTo>
                        <a:lnTo>
                          <a:pt x="180040" y="0"/>
                        </a:lnTo>
                        <a:lnTo>
                          <a:pt x="185309" y="118696"/>
                        </a:lnTo>
                        <a:lnTo>
                          <a:pt x="194970" y="517867"/>
                        </a:lnTo>
                        <a:lnTo>
                          <a:pt x="224830" y="556553"/>
                        </a:lnTo>
                        <a:cubicBezTo>
                          <a:pt x="224830" y="556553"/>
                          <a:pt x="134371" y="656785"/>
                          <a:pt x="103633" y="612824"/>
                        </a:cubicBezTo>
                        <a:lnTo>
                          <a:pt x="103633" y="612824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eform 27">
                    <a:extLst>
                      <a:ext uri="{FF2B5EF4-FFF2-40B4-BE49-F238E27FC236}">
                        <a16:creationId xmlns:a16="http://schemas.microsoft.com/office/drawing/2014/main" id="{24327F31-FBDD-2E2F-8725-31F1109BB6F8}"/>
                      </a:ext>
                    </a:extLst>
                  </p:cNvPr>
                  <p:cNvSpPr/>
                  <p:nvPr/>
                </p:nvSpPr>
                <p:spPr>
                  <a:xfrm>
                    <a:off x="-9620519" y="5684214"/>
                    <a:ext cx="289335" cy="116937"/>
                  </a:xfrm>
                  <a:custGeom>
                    <a:avLst/>
                    <a:gdLst>
                      <a:gd name="connsiteX0" fmla="*/ 276096 w 289335"/>
                      <a:gd name="connsiteY0" fmla="*/ 61546 h 116937"/>
                      <a:gd name="connsiteX1" fmla="*/ 129430 w 289335"/>
                      <a:gd name="connsiteY1" fmla="*/ 0 h 116937"/>
                      <a:gd name="connsiteX2" fmla="*/ 99569 w 289335"/>
                      <a:gd name="connsiteY2" fmla="*/ 76493 h 116937"/>
                      <a:gd name="connsiteX3" fmla="*/ 328 w 289335"/>
                      <a:gd name="connsiteY3" fmla="*/ 76493 h 116937"/>
                      <a:gd name="connsiteX4" fmla="*/ 7354 w 289335"/>
                      <a:gd name="connsiteY4" fmla="*/ 114300 h 116937"/>
                      <a:gd name="connsiteX5" fmla="*/ 264679 w 289335"/>
                      <a:gd name="connsiteY5" fmla="*/ 116938 h 116937"/>
                      <a:gd name="connsiteX6" fmla="*/ 276096 w 289335"/>
                      <a:gd name="connsiteY6" fmla="*/ 60667 h 116937"/>
                      <a:gd name="connsiteX7" fmla="*/ 276096 w 289335"/>
                      <a:gd name="connsiteY7" fmla="*/ 60667 h 116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89335" h="116937">
                        <a:moveTo>
                          <a:pt x="276096" y="61546"/>
                        </a:moveTo>
                        <a:cubicBezTo>
                          <a:pt x="246236" y="36049"/>
                          <a:pt x="129430" y="0"/>
                          <a:pt x="129430" y="0"/>
                        </a:cubicBezTo>
                        <a:cubicBezTo>
                          <a:pt x="129430" y="0"/>
                          <a:pt x="125039" y="72097"/>
                          <a:pt x="99569" y="76493"/>
                        </a:cubicBezTo>
                        <a:cubicBezTo>
                          <a:pt x="74101" y="80889"/>
                          <a:pt x="328" y="76493"/>
                          <a:pt x="328" y="76493"/>
                        </a:cubicBezTo>
                        <a:cubicBezTo>
                          <a:pt x="328" y="76493"/>
                          <a:pt x="-2306" y="109904"/>
                          <a:pt x="7354" y="114300"/>
                        </a:cubicBezTo>
                        <a:cubicBezTo>
                          <a:pt x="14380" y="116938"/>
                          <a:pt x="249749" y="116938"/>
                          <a:pt x="264679" y="116938"/>
                        </a:cubicBezTo>
                        <a:cubicBezTo>
                          <a:pt x="279609" y="116938"/>
                          <a:pt x="305078" y="86164"/>
                          <a:pt x="276096" y="60667"/>
                        </a:cubicBezTo>
                        <a:lnTo>
                          <a:pt x="276096" y="60667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9" name="Graphic 6">
                    <a:extLst>
                      <a:ext uri="{FF2B5EF4-FFF2-40B4-BE49-F238E27FC236}">
                        <a16:creationId xmlns:a16="http://schemas.microsoft.com/office/drawing/2014/main" id="{72D6052B-7F44-A53C-7FEA-68868F6BD3A0}"/>
                      </a:ext>
                    </a:extLst>
                  </p:cNvPr>
                  <p:cNvGrpSpPr/>
                  <p:nvPr/>
                </p:nvGrpSpPr>
                <p:grpSpPr>
                  <a:xfrm>
                    <a:off x="-10000469" y="4565833"/>
                    <a:ext cx="972045" cy="1224518"/>
                    <a:chOff x="-10000469" y="4565833"/>
                    <a:chExt cx="972045" cy="1224518"/>
                  </a:xfrm>
                </p:grpSpPr>
                <p:sp>
                  <p:nvSpPr>
                    <p:cNvPr id="34" name="Freeform 33">
                      <a:extLst>
                        <a:ext uri="{FF2B5EF4-FFF2-40B4-BE49-F238E27FC236}">
                          <a16:creationId xmlns:a16="http://schemas.microsoft.com/office/drawing/2014/main" id="{47457D96-7C73-A710-8A43-A328156D61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967975" y="5144367"/>
                      <a:ext cx="182674" cy="645984"/>
                    </a:xfrm>
                    <a:custGeom>
                      <a:avLst/>
                      <a:gdLst>
                        <a:gd name="connsiteX0" fmla="*/ 113293 w 182674"/>
                        <a:gd name="connsiteY0" fmla="*/ 605790 h 645984"/>
                        <a:gd name="connsiteX1" fmla="*/ 106267 w 182674"/>
                        <a:gd name="connsiteY1" fmla="*/ 513471 h 645984"/>
                        <a:gd name="connsiteX2" fmla="*/ 182675 w 182674"/>
                        <a:gd name="connsiteY2" fmla="*/ 7034 h 645984"/>
                        <a:gd name="connsiteX3" fmla="*/ 0 w 182674"/>
                        <a:gd name="connsiteY3" fmla="*/ 0 h 645984"/>
                        <a:gd name="connsiteX4" fmla="*/ 20200 w 182674"/>
                        <a:gd name="connsiteY4" fmla="*/ 512591 h 645984"/>
                        <a:gd name="connsiteX5" fmla="*/ 2635 w 182674"/>
                        <a:gd name="connsiteY5" fmla="*/ 622495 h 645984"/>
                        <a:gd name="connsiteX6" fmla="*/ 113293 w 182674"/>
                        <a:gd name="connsiteY6" fmla="*/ 606669 h 645984"/>
                        <a:gd name="connsiteX7" fmla="*/ 113293 w 182674"/>
                        <a:gd name="connsiteY7" fmla="*/ 606669 h 6459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82674" h="645984">
                          <a:moveTo>
                            <a:pt x="113293" y="605790"/>
                          </a:moveTo>
                          <a:cubicBezTo>
                            <a:pt x="113293" y="605790"/>
                            <a:pt x="94850" y="545123"/>
                            <a:pt x="106267" y="513471"/>
                          </a:cubicBezTo>
                          <a:lnTo>
                            <a:pt x="182675" y="7034"/>
                          </a:lnTo>
                          <a:lnTo>
                            <a:pt x="0" y="0"/>
                          </a:lnTo>
                          <a:lnTo>
                            <a:pt x="20200" y="512591"/>
                          </a:lnTo>
                          <a:cubicBezTo>
                            <a:pt x="20200" y="512591"/>
                            <a:pt x="-6148" y="584688"/>
                            <a:pt x="2635" y="622495"/>
                          </a:cubicBezTo>
                          <a:cubicBezTo>
                            <a:pt x="10539" y="660302"/>
                            <a:pt x="83433" y="650631"/>
                            <a:pt x="113293" y="606669"/>
                          </a:cubicBezTo>
                          <a:lnTo>
                            <a:pt x="113293" y="606669"/>
                          </a:lnTo>
                          <a:close/>
                        </a:path>
                      </a:pathLst>
                    </a:custGeom>
                    <a:solidFill>
                      <a:srgbClr val="DE9C74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5" name="Freeform 34">
                      <a:extLst>
                        <a:ext uri="{FF2B5EF4-FFF2-40B4-BE49-F238E27FC236}">
                          <a16:creationId xmlns:a16="http://schemas.microsoft.com/office/drawing/2014/main" id="{1C558E9A-3546-C277-41A5-015CF2EE02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000469" y="4565833"/>
                      <a:ext cx="499719" cy="602272"/>
                    </a:xfrm>
                    <a:custGeom>
                      <a:avLst/>
                      <a:gdLst>
                        <a:gd name="connsiteX0" fmla="*/ 233612 w 499719"/>
                        <a:gd name="connsiteY0" fmla="*/ 601394 h 602272"/>
                        <a:gd name="connsiteX1" fmla="*/ 0 w 499719"/>
                        <a:gd name="connsiteY1" fmla="*/ 601394 h 602272"/>
                        <a:gd name="connsiteX2" fmla="*/ 20199 w 499719"/>
                        <a:gd name="connsiteY2" fmla="*/ 135401 h 602272"/>
                        <a:gd name="connsiteX3" fmla="*/ 44790 w 499719"/>
                        <a:gd name="connsiteY3" fmla="*/ 45720 h 602272"/>
                        <a:gd name="connsiteX4" fmla="*/ 388183 w 499719"/>
                        <a:gd name="connsiteY4" fmla="*/ 0 h 602272"/>
                        <a:gd name="connsiteX5" fmla="*/ 449660 w 499719"/>
                        <a:gd name="connsiteY5" fmla="*/ 124851 h 602272"/>
                        <a:gd name="connsiteX6" fmla="*/ 499720 w 499719"/>
                        <a:gd name="connsiteY6" fmla="*/ 596998 h 602272"/>
                        <a:gd name="connsiteX7" fmla="*/ 274890 w 499719"/>
                        <a:gd name="connsiteY7" fmla="*/ 602273 h 602272"/>
                        <a:gd name="connsiteX8" fmla="*/ 259960 w 499719"/>
                        <a:gd name="connsiteY8" fmla="*/ 366639 h 602272"/>
                        <a:gd name="connsiteX9" fmla="*/ 238882 w 499719"/>
                        <a:gd name="connsiteY9" fmla="*/ 371915 h 602272"/>
                        <a:gd name="connsiteX10" fmla="*/ 233612 w 499719"/>
                        <a:gd name="connsiteY10" fmla="*/ 602273 h 602272"/>
                        <a:gd name="connsiteX11" fmla="*/ 233612 w 499719"/>
                        <a:gd name="connsiteY11" fmla="*/ 602273 h 6022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499719" h="602272">
                          <a:moveTo>
                            <a:pt x="233612" y="601394"/>
                          </a:moveTo>
                          <a:lnTo>
                            <a:pt x="0" y="601394"/>
                          </a:lnTo>
                          <a:lnTo>
                            <a:pt x="20199" y="135401"/>
                          </a:lnTo>
                          <a:lnTo>
                            <a:pt x="44790" y="45720"/>
                          </a:lnTo>
                          <a:lnTo>
                            <a:pt x="388183" y="0"/>
                          </a:lnTo>
                          <a:lnTo>
                            <a:pt x="449660" y="124851"/>
                          </a:lnTo>
                          <a:cubicBezTo>
                            <a:pt x="462834" y="160020"/>
                            <a:pt x="499720" y="596998"/>
                            <a:pt x="499720" y="596998"/>
                          </a:cubicBezTo>
                          <a:lnTo>
                            <a:pt x="274890" y="602273"/>
                          </a:lnTo>
                          <a:lnTo>
                            <a:pt x="259960" y="366639"/>
                          </a:lnTo>
                          <a:lnTo>
                            <a:pt x="238882" y="371915"/>
                          </a:lnTo>
                          <a:lnTo>
                            <a:pt x="233612" y="602273"/>
                          </a:lnTo>
                          <a:lnTo>
                            <a:pt x="233612" y="602273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" name="Freeform 29">
                    <a:extLst>
                      <a:ext uri="{FF2B5EF4-FFF2-40B4-BE49-F238E27FC236}">
                        <a16:creationId xmlns:a16="http://schemas.microsoft.com/office/drawing/2014/main" id="{3FAA6EB5-56D0-7D18-DF60-66BAEDAC788F}"/>
                      </a:ext>
                    </a:extLst>
                  </p:cNvPr>
                  <p:cNvSpPr/>
                  <p:nvPr/>
                </p:nvSpPr>
                <p:spPr>
                  <a:xfrm>
                    <a:off x="-10145379" y="4042691"/>
                    <a:ext cx="736845" cy="653268"/>
                  </a:xfrm>
                  <a:custGeom>
                    <a:avLst/>
                    <a:gdLst>
                      <a:gd name="connsiteX0" fmla="*/ 95728 w 736845"/>
                      <a:gd name="connsiteY0" fmla="*/ 109025 h 653268"/>
                      <a:gd name="connsiteX1" fmla="*/ 230978 w 736845"/>
                      <a:gd name="connsiteY1" fmla="*/ 19343 h 653268"/>
                      <a:gd name="connsiteX2" fmla="*/ 413652 w 736845"/>
                      <a:gd name="connsiteY2" fmla="*/ 0 h 653268"/>
                      <a:gd name="connsiteX3" fmla="*/ 555049 w 736845"/>
                      <a:gd name="connsiteY3" fmla="*/ 23739 h 653268"/>
                      <a:gd name="connsiteX4" fmla="*/ 663951 w 736845"/>
                      <a:gd name="connsiteY4" fmla="*/ 91440 h 653268"/>
                      <a:gd name="connsiteX5" fmla="*/ 736845 w 736845"/>
                      <a:gd name="connsiteY5" fmla="*/ 383345 h 653268"/>
                      <a:gd name="connsiteX6" fmla="*/ 610379 w 736845"/>
                      <a:gd name="connsiteY6" fmla="*/ 413238 h 653268"/>
                      <a:gd name="connsiteX7" fmla="*/ 613892 w 736845"/>
                      <a:gd name="connsiteY7" fmla="*/ 302455 h 653268"/>
                      <a:gd name="connsiteX8" fmla="*/ 603352 w 736845"/>
                      <a:gd name="connsiteY8" fmla="*/ 648872 h 653268"/>
                      <a:gd name="connsiteX9" fmla="*/ 152814 w 736845"/>
                      <a:gd name="connsiteY9" fmla="*/ 653269 h 653268"/>
                      <a:gd name="connsiteX10" fmla="*/ 172135 w 736845"/>
                      <a:gd name="connsiteY10" fmla="*/ 314765 h 653268"/>
                      <a:gd name="connsiteX11" fmla="*/ 133493 w 736845"/>
                      <a:gd name="connsiteY11" fmla="*/ 414997 h 653268"/>
                      <a:gd name="connsiteX12" fmla="*/ 0 w 736845"/>
                      <a:gd name="connsiteY12" fmla="*/ 327074 h 653268"/>
                      <a:gd name="connsiteX13" fmla="*/ 96607 w 736845"/>
                      <a:gd name="connsiteY13" fmla="*/ 110783 h 653268"/>
                      <a:gd name="connsiteX14" fmla="*/ 96607 w 736845"/>
                      <a:gd name="connsiteY14" fmla="*/ 109025 h 6532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736845" h="653268">
                        <a:moveTo>
                          <a:pt x="95728" y="109025"/>
                        </a:moveTo>
                        <a:cubicBezTo>
                          <a:pt x="137006" y="36049"/>
                          <a:pt x="230978" y="19343"/>
                          <a:pt x="230978" y="19343"/>
                        </a:cubicBezTo>
                        <a:cubicBezTo>
                          <a:pt x="230978" y="19343"/>
                          <a:pt x="310898" y="2638"/>
                          <a:pt x="413652" y="0"/>
                        </a:cubicBezTo>
                        <a:cubicBezTo>
                          <a:pt x="518163" y="4396"/>
                          <a:pt x="555049" y="23739"/>
                          <a:pt x="555049" y="23739"/>
                        </a:cubicBezTo>
                        <a:cubicBezTo>
                          <a:pt x="598083" y="38686"/>
                          <a:pt x="645508" y="63305"/>
                          <a:pt x="663951" y="91440"/>
                        </a:cubicBezTo>
                        <a:cubicBezTo>
                          <a:pt x="685029" y="122213"/>
                          <a:pt x="716646" y="252339"/>
                          <a:pt x="736845" y="383345"/>
                        </a:cubicBezTo>
                        <a:lnTo>
                          <a:pt x="610379" y="413238"/>
                        </a:lnTo>
                        <a:lnTo>
                          <a:pt x="613892" y="302455"/>
                        </a:lnTo>
                        <a:lnTo>
                          <a:pt x="603352" y="648872"/>
                        </a:lnTo>
                        <a:lnTo>
                          <a:pt x="152814" y="653269"/>
                        </a:lnTo>
                        <a:cubicBezTo>
                          <a:pt x="152814" y="653269"/>
                          <a:pt x="170379" y="452804"/>
                          <a:pt x="172135" y="314765"/>
                        </a:cubicBezTo>
                        <a:lnTo>
                          <a:pt x="133493" y="414997"/>
                        </a:lnTo>
                        <a:cubicBezTo>
                          <a:pt x="133493" y="414997"/>
                          <a:pt x="36008" y="371915"/>
                          <a:pt x="0" y="327074"/>
                        </a:cubicBezTo>
                        <a:cubicBezTo>
                          <a:pt x="12295" y="284871"/>
                          <a:pt x="55329" y="182880"/>
                          <a:pt x="96607" y="110783"/>
                        </a:cubicBezTo>
                        <a:lnTo>
                          <a:pt x="96607" y="1090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eform 30">
                    <a:extLst>
                      <a:ext uri="{FF2B5EF4-FFF2-40B4-BE49-F238E27FC236}">
                        <a16:creationId xmlns:a16="http://schemas.microsoft.com/office/drawing/2014/main" id="{60350DBC-3891-D90E-D738-4F8E67B1ADB3}"/>
                      </a:ext>
                    </a:extLst>
                  </p:cNvPr>
                  <p:cNvSpPr/>
                  <p:nvPr/>
                </p:nvSpPr>
                <p:spPr>
                  <a:xfrm>
                    <a:off x="-9872246" y="3894980"/>
                    <a:ext cx="243273" cy="239150"/>
                  </a:xfrm>
                  <a:custGeom>
                    <a:avLst/>
                    <a:gdLst>
                      <a:gd name="connsiteX0" fmla="*/ 0 w 243273"/>
                      <a:gd name="connsiteY0" fmla="*/ 160899 h 239150"/>
                      <a:gd name="connsiteX1" fmla="*/ 58842 w 243273"/>
                      <a:gd name="connsiteY1" fmla="*/ 152107 h 239150"/>
                      <a:gd name="connsiteX2" fmla="*/ 65868 w 243273"/>
                      <a:gd name="connsiteY2" fmla="*/ 0 h 239150"/>
                      <a:gd name="connsiteX3" fmla="*/ 195848 w 243273"/>
                      <a:gd name="connsiteY3" fmla="*/ 43962 h 239150"/>
                      <a:gd name="connsiteX4" fmla="*/ 191457 w 243273"/>
                      <a:gd name="connsiteY4" fmla="*/ 150349 h 239150"/>
                      <a:gd name="connsiteX5" fmla="*/ 243273 w 243273"/>
                      <a:gd name="connsiteY5" fmla="*/ 159141 h 239150"/>
                      <a:gd name="connsiteX6" fmla="*/ 122076 w 243273"/>
                      <a:gd name="connsiteY6" fmla="*/ 239151 h 239150"/>
                      <a:gd name="connsiteX7" fmla="*/ 0 w 243273"/>
                      <a:gd name="connsiteY7" fmla="*/ 160899 h 239150"/>
                      <a:gd name="connsiteX8" fmla="*/ 0 w 243273"/>
                      <a:gd name="connsiteY8" fmla="*/ 160899 h 239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3273" h="239150">
                        <a:moveTo>
                          <a:pt x="0" y="160899"/>
                        </a:moveTo>
                        <a:lnTo>
                          <a:pt x="58842" y="152107"/>
                        </a:lnTo>
                        <a:lnTo>
                          <a:pt x="65868" y="0"/>
                        </a:lnTo>
                        <a:lnTo>
                          <a:pt x="195848" y="43962"/>
                        </a:lnTo>
                        <a:lnTo>
                          <a:pt x="191457" y="150349"/>
                        </a:lnTo>
                        <a:lnTo>
                          <a:pt x="243273" y="159141"/>
                        </a:lnTo>
                        <a:cubicBezTo>
                          <a:pt x="243273" y="159141"/>
                          <a:pt x="218683" y="239151"/>
                          <a:pt x="122076" y="239151"/>
                        </a:cubicBezTo>
                        <a:cubicBezTo>
                          <a:pt x="25469" y="239151"/>
                          <a:pt x="0" y="160899"/>
                          <a:pt x="0" y="160899"/>
                        </a:cubicBezTo>
                        <a:lnTo>
                          <a:pt x="0" y="160899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eform 31">
                    <a:extLst>
                      <a:ext uri="{FF2B5EF4-FFF2-40B4-BE49-F238E27FC236}">
                        <a16:creationId xmlns:a16="http://schemas.microsoft.com/office/drawing/2014/main" id="{175CEECE-86CF-0D5F-1CC4-DBE17644F9BA}"/>
                      </a:ext>
                    </a:extLst>
                  </p:cNvPr>
                  <p:cNvSpPr/>
                  <p:nvPr/>
                </p:nvSpPr>
                <p:spPr>
                  <a:xfrm>
                    <a:off x="-9812907" y="3743752"/>
                    <a:ext cx="230192" cy="262889"/>
                  </a:xfrm>
                  <a:custGeom>
                    <a:avLst/>
                    <a:gdLst>
                      <a:gd name="connsiteX0" fmla="*/ 23216 w 230192"/>
                      <a:gd name="connsiteY0" fmla="*/ 196068 h 262889"/>
                      <a:gd name="connsiteX1" fmla="*/ 10042 w 230192"/>
                      <a:gd name="connsiteY1" fmla="*/ 176725 h 262889"/>
                      <a:gd name="connsiteX2" fmla="*/ 8286 w 230192"/>
                      <a:gd name="connsiteY2" fmla="*/ 174088 h 262889"/>
                      <a:gd name="connsiteX3" fmla="*/ 48685 w 230192"/>
                      <a:gd name="connsiteY3" fmla="*/ 116059 h 262889"/>
                      <a:gd name="connsiteX4" fmla="*/ 53955 w 230192"/>
                      <a:gd name="connsiteY4" fmla="*/ 104629 h 262889"/>
                      <a:gd name="connsiteX5" fmla="*/ 73276 w 230192"/>
                      <a:gd name="connsiteY5" fmla="*/ 101991 h 262889"/>
                      <a:gd name="connsiteX6" fmla="*/ 68885 w 230192"/>
                      <a:gd name="connsiteY6" fmla="*/ 88802 h 262889"/>
                      <a:gd name="connsiteX7" fmla="*/ 107527 w 230192"/>
                      <a:gd name="connsiteY7" fmla="*/ 30773 h 262889"/>
                      <a:gd name="connsiteX8" fmla="*/ 159344 w 230192"/>
                      <a:gd name="connsiteY8" fmla="*/ 2638 h 262889"/>
                      <a:gd name="connsiteX9" fmla="*/ 167248 w 230192"/>
                      <a:gd name="connsiteY9" fmla="*/ 0 h 262889"/>
                      <a:gd name="connsiteX10" fmla="*/ 193595 w 230192"/>
                      <a:gd name="connsiteY10" fmla="*/ 74735 h 262889"/>
                      <a:gd name="connsiteX11" fmla="*/ 226090 w 230192"/>
                      <a:gd name="connsiteY11" fmla="*/ 116059 h 262889"/>
                      <a:gd name="connsiteX12" fmla="*/ 220821 w 230192"/>
                      <a:gd name="connsiteY12" fmla="*/ 141556 h 262889"/>
                      <a:gd name="connsiteX13" fmla="*/ 220821 w 230192"/>
                      <a:gd name="connsiteY13" fmla="*/ 171450 h 262889"/>
                      <a:gd name="connsiteX14" fmla="*/ 213795 w 230192"/>
                      <a:gd name="connsiteY14" fmla="*/ 186397 h 262889"/>
                      <a:gd name="connsiteX15" fmla="*/ 219064 w 230192"/>
                      <a:gd name="connsiteY15" fmla="*/ 203102 h 262889"/>
                      <a:gd name="connsiteX16" fmla="*/ 212916 w 230192"/>
                      <a:gd name="connsiteY16" fmla="*/ 245305 h 262889"/>
                      <a:gd name="connsiteX17" fmla="*/ 118945 w 230192"/>
                      <a:gd name="connsiteY17" fmla="*/ 262890 h 262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30192" h="262889">
                        <a:moveTo>
                          <a:pt x="23216" y="196068"/>
                        </a:moveTo>
                        <a:cubicBezTo>
                          <a:pt x="17947" y="190793"/>
                          <a:pt x="13555" y="183759"/>
                          <a:pt x="10042" y="176725"/>
                        </a:cubicBezTo>
                        <a:cubicBezTo>
                          <a:pt x="10042" y="175846"/>
                          <a:pt x="9164" y="174967"/>
                          <a:pt x="8286" y="174088"/>
                        </a:cubicBezTo>
                        <a:cubicBezTo>
                          <a:pt x="-16305" y="119575"/>
                          <a:pt x="18825" y="92319"/>
                          <a:pt x="48685" y="116059"/>
                        </a:cubicBezTo>
                        <a:cubicBezTo>
                          <a:pt x="55711" y="121334"/>
                          <a:pt x="48685" y="94078"/>
                          <a:pt x="53955" y="104629"/>
                        </a:cubicBezTo>
                        <a:cubicBezTo>
                          <a:pt x="62737" y="123972"/>
                          <a:pt x="81180" y="131005"/>
                          <a:pt x="73276" y="101991"/>
                        </a:cubicBezTo>
                        <a:cubicBezTo>
                          <a:pt x="73276" y="99353"/>
                          <a:pt x="71519" y="98474"/>
                          <a:pt x="68885" y="88802"/>
                        </a:cubicBezTo>
                        <a:cubicBezTo>
                          <a:pt x="60102" y="62425"/>
                          <a:pt x="85571" y="36928"/>
                          <a:pt x="107527" y="30773"/>
                        </a:cubicBezTo>
                        <a:cubicBezTo>
                          <a:pt x="138266" y="21981"/>
                          <a:pt x="159344" y="2638"/>
                          <a:pt x="159344" y="2638"/>
                        </a:cubicBezTo>
                        <a:cubicBezTo>
                          <a:pt x="159344" y="2638"/>
                          <a:pt x="166370" y="0"/>
                          <a:pt x="167248" y="0"/>
                        </a:cubicBezTo>
                        <a:cubicBezTo>
                          <a:pt x="172517" y="5275"/>
                          <a:pt x="195351" y="35169"/>
                          <a:pt x="193595" y="74735"/>
                        </a:cubicBezTo>
                        <a:cubicBezTo>
                          <a:pt x="193595" y="84406"/>
                          <a:pt x="219942" y="106387"/>
                          <a:pt x="226090" y="116059"/>
                        </a:cubicBezTo>
                        <a:cubicBezTo>
                          <a:pt x="232238" y="125730"/>
                          <a:pt x="232238" y="133643"/>
                          <a:pt x="220821" y="141556"/>
                        </a:cubicBezTo>
                        <a:cubicBezTo>
                          <a:pt x="206769" y="150349"/>
                          <a:pt x="216429" y="167054"/>
                          <a:pt x="220821" y="171450"/>
                        </a:cubicBezTo>
                        <a:cubicBezTo>
                          <a:pt x="225212" y="176725"/>
                          <a:pt x="209403" y="184638"/>
                          <a:pt x="213795" y="186397"/>
                        </a:cubicBezTo>
                        <a:cubicBezTo>
                          <a:pt x="213795" y="186397"/>
                          <a:pt x="224334" y="195189"/>
                          <a:pt x="219064" y="203102"/>
                        </a:cubicBezTo>
                        <a:cubicBezTo>
                          <a:pt x="213795" y="211015"/>
                          <a:pt x="216429" y="236513"/>
                          <a:pt x="212916" y="245305"/>
                        </a:cubicBezTo>
                        <a:cubicBezTo>
                          <a:pt x="206769" y="262011"/>
                          <a:pt x="142657" y="262011"/>
                          <a:pt x="118945" y="262890"/>
                        </a:cubicBezTo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eform 32">
                    <a:extLst>
                      <a:ext uri="{FF2B5EF4-FFF2-40B4-BE49-F238E27FC236}">
                        <a16:creationId xmlns:a16="http://schemas.microsoft.com/office/drawing/2014/main" id="{9D957394-0F42-73FD-EC36-F78647F19DBC}"/>
                      </a:ext>
                    </a:extLst>
                  </p:cNvPr>
                  <p:cNvSpPr/>
                  <p:nvPr/>
                </p:nvSpPr>
                <p:spPr>
                  <a:xfrm>
                    <a:off x="-9913093" y="3689492"/>
                    <a:ext cx="287769" cy="295389"/>
                  </a:xfrm>
                  <a:custGeom>
                    <a:avLst/>
                    <a:gdLst>
                      <a:gd name="connsiteX0" fmla="*/ 24160 w 287769"/>
                      <a:gd name="connsiteY0" fmla="*/ 76241 h 295389"/>
                      <a:gd name="connsiteX1" fmla="*/ 61047 w 287769"/>
                      <a:gd name="connsiteY1" fmla="*/ 23487 h 295389"/>
                      <a:gd name="connsiteX2" fmla="*/ 174340 w 287769"/>
                      <a:gd name="connsiteY2" fmla="*/ 627 h 295389"/>
                      <a:gd name="connsiteX3" fmla="*/ 271825 w 287769"/>
                      <a:gd name="connsiteY3" fmla="*/ 67449 h 295389"/>
                      <a:gd name="connsiteX4" fmla="*/ 198931 w 287769"/>
                      <a:gd name="connsiteY4" fmla="*/ 88550 h 295389"/>
                      <a:gd name="connsiteX5" fmla="*/ 175218 w 287769"/>
                      <a:gd name="connsiteY5" fmla="*/ 162406 h 295389"/>
                      <a:gd name="connsiteX6" fmla="*/ 157653 w 287769"/>
                      <a:gd name="connsiteY6" fmla="*/ 185266 h 295389"/>
                      <a:gd name="connsiteX7" fmla="*/ 141845 w 287769"/>
                      <a:gd name="connsiteY7" fmla="*/ 172077 h 295389"/>
                      <a:gd name="connsiteX8" fmla="*/ 108472 w 287769"/>
                      <a:gd name="connsiteY8" fmla="*/ 227469 h 295389"/>
                      <a:gd name="connsiteX9" fmla="*/ 130428 w 287769"/>
                      <a:gd name="connsiteY9" fmla="*/ 250329 h 295389"/>
                      <a:gd name="connsiteX10" fmla="*/ 104959 w 287769"/>
                      <a:gd name="connsiteY10" fmla="*/ 285498 h 295389"/>
                      <a:gd name="connsiteX11" fmla="*/ 83881 w 287769"/>
                      <a:gd name="connsiteY11" fmla="*/ 285498 h 295389"/>
                      <a:gd name="connsiteX12" fmla="*/ 34699 w 287769"/>
                      <a:gd name="connsiteY12" fmla="*/ 221314 h 295389"/>
                      <a:gd name="connsiteX13" fmla="*/ 24160 w 287769"/>
                      <a:gd name="connsiteY13" fmla="*/ 77120 h 295389"/>
                      <a:gd name="connsiteX14" fmla="*/ 24160 w 287769"/>
                      <a:gd name="connsiteY14" fmla="*/ 77120 h 2953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7769" h="295389">
                        <a:moveTo>
                          <a:pt x="24160" y="76241"/>
                        </a:moveTo>
                        <a:cubicBezTo>
                          <a:pt x="24160" y="76241"/>
                          <a:pt x="22404" y="46347"/>
                          <a:pt x="61047" y="23487"/>
                        </a:cubicBezTo>
                        <a:cubicBezTo>
                          <a:pt x="99689" y="-252"/>
                          <a:pt x="174340" y="627"/>
                          <a:pt x="174340" y="627"/>
                        </a:cubicBezTo>
                        <a:cubicBezTo>
                          <a:pt x="321006" y="-7286"/>
                          <a:pt x="290268" y="62174"/>
                          <a:pt x="271825" y="67449"/>
                        </a:cubicBezTo>
                        <a:cubicBezTo>
                          <a:pt x="253382" y="71845"/>
                          <a:pt x="229669" y="79758"/>
                          <a:pt x="198931" y="88550"/>
                        </a:cubicBezTo>
                        <a:cubicBezTo>
                          <a:pt x="176974" y="94705"/>
                          <a:pt x="146236" y="116686"/>
                          <a:pt x="175218" y="162406"/>
                        </a:cubicBezTo>
                        <a:cubicBezTo>
                          <a:pt x="204200" y="208126"/>
                          <a:pt x="157653" y="185266"/>
                          <a:pt x="157653" y="185266"/>
                        </a:cubicBezTo>
                        <a:cubicBezTo>
                          <a:pt x="157653" y="185266"/>
                          <a:pt x="146236" y="187024"/>
                          <a:pt x="141845" y="172077"/>
                        </a:cubicBezTo>
                        <a:cubicBezTo>
                          <a:pt x="137454" y="158010"/>
                          <a:pt x="83881" y="154493"/>
                          <a:pt x="108472" y="227469"/>
                        </a:cubicBezTo>
                        <a:cubicBezTo>
                          <a:pt x="115498" y="243295"/>
                          <a:pt x="128671" y="249450"/>
                          <a:pt x="130428" y="250329"/>
                        </a:cubicBezTo>
                        <a:cubicBezTo>
                          <a:pt x="138332" y="252087"/>
                          <a:pt x="108472" y="277585"/>
                          <a:pt x="104959" y="285498"/>
                        </a:cubicBezTo>
                        <a:cubicBezTo>
                          <a:pt x="98811" y="298687"/>
                          <a:pt x="90029" y="298687"/>
                          <a:pt x="83881" y="285498"/>
                        </a:cubicBezTo>
                        <a:cubicBezTo>
                          <a:pt x="78611" y="274068"/>
                          <a:pt x="61925" y="248570"/>
                          <a:pt x="34699" y="221314"/>
                        </a:cubicBezTo>
                        <a:cubicBezTo>
                          <a:pt x="-1309" y="185266"/>
                          <a:pt x="-16239" y="135150"/>
                          <a:pt x="24160" y="77120"/>
                        </a:cubicBezTo>
                        <a:lnTo>
                          <a:pt x="24160" y="77120"/>
                        </a:lnTo>
                        <a:close/>
                      </a:path>
                    </a:pathLst>
                  </a:custGeom>
                  <a:solidFill>
                    <a:srgbClr val="7A3E1A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B7486EAC-DEBA-513D-9D04-D414AA485DEF}"/>
                    </a:ext>
                  </a:extLst>
                </p:cNvPr>
                <p:cNvSpPr/>
                <p:nvPr/>
              </p:nvSpPr>
              <p:spPr>
                <a:xfrm>
                  <a:off x="-9624582" y="5681577"/>
                  <a:ext cx="160174" cy="74431"/>
                </a:xfrm>
                <a:custGeom>
                  <a:avLst/>
                  <a:gdLst>
                    <a:gd name="connsiteX0" fmla="*/ 10539 w 160174"/>
                    <a:gd name="connsiteY0" fmla="*/ 0 h 74431"/>
                    <a:gd name="connsiteX1" fmla="*/ 0 w 160174"/>
                    <a:gd name="connsiteY1" fmla="*/ 33411 h 74431"/>
                    <a:gd name="connsiteX2" fmla="*/ 137884 w 160174"/>
                    <a:gd name="connsiteY2" fmla="*/ 73856 h 74431"/>
                    <a:gd name="connsiteX3" fmla="*/ 146667 w 160174"/>
                    <a:gd name="connsiteY3" fmla="*/ 40445 h 74431"/>
                    <a:gd name="connsiteX4" fmla="*/ 10539 w 160174"/>
                    <a:gd name="connsiteY4" fmla="*/ 0 h 7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174" h="74431">
                      <a:moveTo>
                        <a:pt x="10539" y="0"/>
                      </a:moveTo>
                      <a:lnTo>
                        <a:pt x="0" y="33411"/>
                      </a:lnTo>
                      <a:cubicBezTo>
                        <a:pt x="0" y="33411"/>
                        <a:pt x="106267" y="67701"/>
                        <a:pt x="137884" y="73856"/>
                      </a:cubicBezTo>
                      <a:cubicBezTo>
                        <a:pt x="162475" y="79131"/>
                        <a:pt x="168623" y="46599"/>
                        <a:pt x="146667" y="40445"/>
                      </a:cubicBezTo>
                      <a:cubicBezTo>
                        <a:pt x="127345" y="35169"/>
                        <a:pt x="10539" y="0"/>
                        <a:pt x="10539" y="0"/>
                      </a:cubicBez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" name="Freeform 22">
                  <a:extLst>
                    <a:ext uri="{FF2B5EF4-FFF2-40B4-BE49-F238E27FC236}">
                      <a16:creationId xmlns:a16="http://schemas.microsoft.com/office/drawing/2014/main" id="{DCE372F2-9C53-7508-AB4C-DC49A1CFC66E}"/>
                    </a:ext>
                  </a:extLst>
                </p:cNvPr>
                <p:cNvSpPr/>
                <p:nvPr/>
              </p:nvSpPr>
              <p:spPr>
                <a:xfrm>
                  <a:off x="-9714724" y="4269532"/>
                  <a:ext cx="129662" cy="117936"/>
                </a:xfrm>
                <a:custGeom>
                  <a:avLst/>
                  <a:gdLst>
                    <a:gd name="connsiteX0" fmla="*/ 561 w 129662"/>
                    <a:gd name="connsiteY0" fmla="*/ 0 h 117936"/>
                    <a:gd name="connsiteX1" fmla="*/ 129663 w 129662"/>
                    <a:gd name="connsiteY1" fmla="*/ 4396 h 117936"/>
                    <a:gd name="connsiteX2" fmla="*/ 60282 w 129662"/>
                    <a:gd name="connsiteY2" fmla="*/ 117817 h 117936"/>
                    <a:gd name="connsiteX3" fmla="*/ 561 w 129662"/>
                    <a:gd name="connsiteY3" fmla="*/ 0 h 117936"/>
                    <a:gd name="connsiteX4" fmla="*/ 561 w 129662"/>
                    <a:gd name="connsiteY4" fmla="*/ 0 h 11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62" h="117936">
                      <a:moveTo>
                        <a:pt x="561" y="0"/>
                      </a:moveTo>
                      <a:lnTo>
                        <a:pt x="129663" y="4396"/>
                      </a:lnTo>
                      <a:cubicBezTo>
                        <a:pt x="129663" y="4396"/>
                        <a:pt x="129663" y="122213"/>
                        <a:pt x="60282" y="117817"/>
                      </a:cubicBezTo>
                      <a:cubicBezTo>
                        <a:pt x="-9978" y="113421"/>
                        <a:pt x="561" y="0"/>
                        <a:pt x="561" y="0"/>
                      </a:cubicBezTo>
                      <a:lnTo>
                        <a:pt x="561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" name="Freeform 23">
                  <a:extLst>
                    <a:ext uri="{FF2B5EF4-FFF2-40B4-BE49-F238E27FC236}">
                      <a16:creationId xmlns:a16="http://schemas.microsoft.com/office/drawing/2014/main" id="{148ABC81-AE0A-C25C-FD60-017CE77B1A2B}"/>
                    </a:ext>
                  </a:extLst>
                </p:cNvPr>
                <p:cNvSpPr/>
                <p:nvPr/>
              </p:nvSpPr>
              <p:spPr>
                <a:xfrm>
                  <a:off x="-10009689" y="5676985"/>
                  <a:ext cx="164667" cy="122799"/>
                </a:xfrm>
                <a:custGeom>
                  <a:avLst/>
                  <a:gdLst>
                    <a:gd name="connsiteX0" fmla="*/ 164668 w 164667"/>
                    <a:gd name="connsiteY0" fmla="*/ 103945 h 122799"/>
                    <a:gd name="connsiteX1" fmla="*/ 161155 w 164667"/>
                    <a:gd name="connsiteY1" fmla="*/ 52070 h 122799"/>
                    <a:gd name="connsiteX2" fmla="*/ 154129 w 164667"/>
                    <a:gd name="connsiteY2" fmla="*/ 28331 h 122799"/>
                    <a:gd name="connsiteX3" fmla="*/ 135686 w 164667"/>
                    <a:gd name="connsiteY3" fmla="*/ 12505 h 122799"/>
                    <a:gd name="connsiteX4" fmla="*/ 46983 w 164667"/>
                    <a:gd name="connsiteY4" fmla="*/ 12505 h 122799"/>
                    <a:gd name="connsiteX5" fmla="*/ 2193 w 164667"/>
                    <a:gd name="connsiteY5" fmla="*/ 81085 h 122799"/>
                    <a:gd name="connsiteX6" fmla="*/ 14488 w 164667"/>
                    <a:gd name="connsiteY6" fmla="*/ 122408 h 122799"/>
                    <a:gd name="connsiteX7" fmla="*/ 149738 w 164667"/>
                    <a:gd name="connsiteY7" fmla="*/ 122408 h 122799"/>
                    <a:gd name="connsiteX8" fmla="*/ 163790 w 164667"/>
                    <a:gd name="connsiteY8" fmla="*/ 103065 h 122799"/>
                    <a:gd name="connsiteX9" fmla="*/ 164668 w 164667"/>
                    <a:gd name="connsiteY9" fmla="*/ 103065 h 122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667" h="122799">
                      <a:moveTo>
                        <a:pt x="164668" y="103945"/>
                      </a:moveTo>
                      <a:lnTo>
                        <a:pt x="161155" y="52070"/>
                      </a:lnTo>
                      <a:lnTo>
                        <a:pt x="154129" y="28331"/>
                      </a:lnTo>
                      <a:cubicBezTo>
                        <a:pt x="151494" y="24814"/>
                        <a:pt x="140955" y="16901"/>
                        <a:pt x="135686" y="12505"/>
                      </a:cubicBezTo>
                      <a:cubicBezTo>
                        <a:pt x="100556" y="-15631"/>
                        <a:pt x="46983" y="12505"/>
                        <a:pt x="46983" y="12505"/>
                      </a:cubicBezTo>
                      <a:cubicBezTo>
                        <a:pt x="32931" y="37123"/>
                        <a:pt x="4828" y="73172"/>
                        <a:pt x="2193" y="81085"/>
                      </a:cubicBezTo>
                      <a:cubicBezTo>
                        <a:pt x="-4833" y="106582"/>
                        <a:pt x="6584" y="121529"/>
                        <a:pt x="14488" y="122408"/>
                      </a:cubicBezTo>
                      <a:cubicBezTo>
                        <a:pt x="22393" y="123288"/>
                        <a:pt x="142712" y="122408"/>
                        <a:pt x="149738" y="122408"/>
                      </a:cubicBezTo>
                      <a:cubicBezTo>
                        <a:pt x="156764" y="122408"/>
                        <a:pt x="164668" y="108341"/>
                        <a:pt x="163790" y="103065"/>
                      </a:cubicBezTo>
                      <a:lnTo>
                        <a:pt x="164668" y="103065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reeform 24">
                  <a:extLst>
                    <a:ext uri="{FF2B5EF4-FFF2-40B4-BE49-F238E27FC236}">
                      <a16:creationId xmlns:a16="http://schemas.microsoft.com/office/drawing/2014/main" id="{520B04B6-978B-F756-8594-4F29D99EE3C7}"/>
                    </a:ext>
                  </a:extLst>
                </p:cNvPr>
                <p:cNvSpPr/>
                <p:nvPr/>
              </p:nvSpPr>
              <p:spPr>
                <a:xfrm>
                  <a:off x="-10159651" y="4379436"/>
                  <a:ext cx="328603" cy="513470"/>
                </a:xfrm>
                <a:custGeom>
                  <a:avLst/>
                  <a:gdLst>
                    <a:gd name="connsiteX0" fmla="*/ 218902 w 328603"/>
                    <a:gd name="connsiteY0" fmla="*/ 334987 h 513470"/>
                    <a:gd name="connsiteX1" fmla="*/ 274231 w 328603"/>
                    <a:gd name="connsiteY1" fmla="*/ 357847 h 513470"/>
                    <a:gd name="connsiteX2" fmla="*/ 293552 w 328603"/>
                    <a:gd name="connsiteY2" fmla="*/ 376311 h 513470"/>
                    <a:gd name="connsiteX3" fmla="*/ 325169 w 328603"/>
                    <a:gd name="connsiteY3" fmla="*/ 414117 h 513470"/>
                    <a:gd name="connsiteX4" fmla="*/ 284770 w 328603"/>
                    <a:gd name="connsiteY4" fmla="*/ 412359 h 513470"/>
                    <a:gd name="connsiteX5" fmla="*/ 266327 w 328603"/>
                    <a:gd name="connsiteY5" fmla="*/ 396533 h 513470"/>
                    <a:gd name="connsiteX6" fmla="*/ 275109 w 328603"/>
                    <a:gd name="connsiteY6" fmla="*/ 410601 h 513470"/>
                    <a:gd name="connsiteX7" fmla="*/ 326047 w 328603"/>
                    <a:gd name="connsiteY7" fmla="*/ 461596 h 513470"/>
                    <a:gd name="connsiteX8" fmla="*/ 313752 w 328603"/>
                    <a:gd name="connsiteY8" fmla="*/ 477422 h 513470"/>
                    <a:gd name="connsiteX9" fmla="*/ 260179 w 328603"/>
                    <a:gd name="connsiteY9" fmla="*/ 433461 h 513470"/>
                    <a:gd name="connsiteX10" fmla="*/ 273353 w 328603"/>
                    <a:gd name="connsiteY10" fmla="*/ 448408 h 513470"/>
                    <a:gd name="connsiteX11" fmla="*/ 307604 w 328603"/>
                    <a:gd name="connsiteY11" fmla="*/ 477422 h 513470"/>
                    <a:gd name="connsiteX12" fmla="*/ 307604 w 328603"/>
                    <a:gd name="connsiteY12" fmla="*/ 503799 h 513470"/>
                    <a:gd name="connsiteX13" fmla="*/ 236466 w 328603"/>
                    <a:gd name="connsiteY13" fmla="*/ 442253 h 513470"/>
                    <a:gd name="connsiteX14" fmla="*/ 248762 w 328603"/>
                    <a:gd name="connsiteY14" fmla="*/ 456321 h 513470"/>
                    <a:gd name="connsiteX15" fmla="*/ 283891 w 328603"/>
                    <a:gd name="connsiteY15" fmla="*/ 494127 h 513470"/>
                    <a:gd name="connsiteX16" fmla="*/ 274231 w 328603"/>
                    <a:gd name="connsiteY16" fmla="*/ 513471 h 513470"/>
                    <a:gd name="connsiteX17" fmla="*/ 212754 w 328603"/>
                    <a:gd name="connsiteY17" fmla="*/ 446649 h 513470"/>
                    <a:gd name="connsiteX18" fmla="*/ 247883 w 328603"/>
                    <a:gd name="connsiteY18" fmla="*/ 497644 h 513470"/>
                    <a:gd name="connsiteX19" fmla="*/ 241736 w 328603"/>
                    <a:gd name="connsiteY19" fmla="*/ 511712 h 513470"/>
                    <a:gd name="connsiteX20" fmla="*/ 189041 w 328603"/>
                    <a:gd name="connsiteY20" fmla="*/ 458079 h 513470"/>
                    <a:gd name="connsiteX21" fmla="*/ 160937 w 328603"/>
                    <a:gd name="connsiteY21" fmla="*/ 392137 h 513470"/>
                    <a:gd name="connsiteX22" fmla="*/ 157425 w 328603"/>
                    <a:gd name="connsiteY22" fmla="*/ 370156 h 513470"/>
                    <a:gd name="connsiteX23" fmla="*/ 219 w 328603"/>
                    <a:gd name="connsiteY23" fmla="*/ 103749 h 513470"/>
                    <a:gd name="connsiteX24" fmla="*/ 26566 w 328603"/>
                    <a:gd name="connsiteY24" fmla="*/ 0 h 513470"/>
                    <a:gd name="connsiteX25" fmla="*/ 138103 w 328603"/>
                    <a:gd name="connsiteY25" fmla="*/ 73855 h 513470"/>
                    <a:gd name="connsiteX26" fmla="*/ 117904 w 328603"/>
                    <a:gd name="connsiteY26" fmla="*/ 124851 h 513470"/>
                    <a:gd name="connsiteX27" fmla="*/ 220658 w 328603"/>
                    <a:gd name="connsiteY27" fmla="*/ 334987 h 513470"/>
                    <a:gd name="connsiteX28" fmla="*/ 218902 w 328603"/>
                    <a:gd name="connsiteY28" fmla="*/ 334987 h 513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28603" h="513470">
                      <a:moveTo>
                        <a:pt x="218902" y="334987"/>
                      </a:moveTo>
                      <a:cubicBezTo>
                        <a:pt x="225049" y="343779"/>
                        <a:pt x="266327" y="352571"/>
                        <a:pt x="274231" y="357847"/>
                      </a:cubicBezTo>
                      <a:cubicBezTo>
                        <a:pt x="283891" y="364881"/>
                        <a:pt x="293552" y="376311"/>
                        <a:pt x="293552" y="376311"/>
                      </a:cubicBezTo>
                      <a:cubicBezTo>
                        <a:pt x="303213" y="392137"/>
                        <a:pt x="325169" y="409721"/>
                        <a:pt x="325169" y="414117"/>
                      </a:cubicBezTo>
                      <a:cubicBezTo>
                        <a:pt x="325169" y="418514"/>
                        <a:pt x="304091" y="433461"/>
                        <a:pt x="284770" y="412359"/>
                      </a:cubicBezTo>
                      <a:cubicBezTo>
                        <a:pt x="265448" y="391258"/>
                        <a:pt x="273353" y="399171"/>
                        <a:pt x="266327" y="396533"/>
                      </a:cubicBezTo>
                      <a:cubicBezTo>
                        <a:pt x="269839" y="406204"/>
                        <a:pt x="273353" y="407963"/>
                        <a:pt x="275109" y="410601"/>
                      </a:cubicBezTo>
                      <a:cubicBezTo>
                        <a:pt x="283891" y="422031"/>
                        <a:pt x="319899" y="456321"/>
                        <a:pt x="326047" y="461596"/>
                      </a:cubicBezTo>
                      <a:cubicBezTo>
                        <a:pt x="332195" y="466871"/>
                        <a:pt x="326925" y="479181"/>
                        <a:pt x="313752" y="477422"/>
                      </a:cubicBezTo>
                      <a:cubicBezTo>
                        <a:pt x="299700" y="475664"/>
                        <a:pt x="260179" y="433461"/>
                        <a:pt x="260179" y="433461"/>
                      </a:cubicBezTo>
                      <a:lnTo>
                        <a:pt x="273353" y="448408"/>
                      </a:lnTo>
                      <a:cubicBezTo>
                        <a:pt x="275109" y="451045"/>
                        <a:pt x="301456" y="473026"/>
                        <a:pt x="307604" y="477422"/>
                      </a:cubicBezTo>
                      <a:cubicBezTo>
                        <a:pt x="313752" y="481818"/>
                        <a:pt x="324291" y="500282"/>
                        <a:pt x="307604" y="503799"/>
                      </a:cubicBezTo>
                      <a:cubicBezTo>
                        <a:pt x="290918" y="506437"/>
                        <a:pt x="236466" y="442253"/>
                        <a:pt x="236466" y="442253"/>
                      </a:cubicBezTo>
                      <a:lnTo>
                        <a:pt x="248762" y="456321"/>
                      </a:lnTo>
                      <a:cubicBezTo>
                        <a:pt x="248762" y="456321"/>
                        <a:pt x="268083" y="479181"/>
                        <a:pt x="283891" y="494127"/>
                      </a:cubicBezTo>
                      <a:cubicBezTo>
                        <a:pt x="299700" y="509075"/>
                        <a:pt x="274231" y="513471"/>
                        <a:pt x="274231" y="513471"/>
                      </a:cubicBezTo>
                      <a:cubicBezTo>
                        <a:pt x="250518" y="508195"/>
                        <a:pt x="216267" y="450166"/>
                        <a:pt x="212754" y="446649"/>
                      </a:cubicBezTo>
                      <a:cubicBezTo>
                        <a:pt x="214510" y="456321"/>
                        <a:pt x="247883" y="497644"/>
                        <a:pt x="247883" y="497644"/>
                      </a:cubicBezTo>
                      <a:cubicBezTo>
                        <a:pt x="247883" y="497644"/>
                        <a:pt x="254031" y="509075"/>
                        <a:pt x="241736" y="511712"/>
                      </a:cubicBezTo>
                      <a:cubicBezTo>
                        <a:pt x="229441" y="514350"/>
                        <a:pt x="197824" y="480939"/>
                        <a:pt x="189041" y="458079"/>
                      </a:cubicBezTo>
                      <a:cubicBezTo>
                        <a:pt x="180259" y="435219"/>
                        <a:pt x="174111" y="426427"/>
                        <a:pt x="160937" y="392137"/>
                      </a:cubicBezTo>
                      <a:cubicBezTo>
                        <a:pt x="158303" y="384224"/>
                        <a:pt x="157425" y="378948"/>
                        <a:pt x="157425" y="370156"/>
                      </a:cubicBezTo>
                      <a:cubicBezTo>
                        <a:pt x="157425" y="370156"/>
                        <a:pt x="-6807" y="146831"/>
                        <a:pt x="219" y="103749"/>
                      </a:cubicBezTo>
                      <a:cubicBezTo>
                        <a:pt x="7245" y="60667"/>
                        <a:pt x="18662" y="18464"/>
                        <a:pt x="26566" y="0"/>
                      </a:cubicBezTo>
                      <a:cubicBezTo>
                        <a:pt x="79261" y="44841"/>
                        <a:pt x="138103" y="73855"/>
                        <a:pt x="138103" y="73855"/>
                      </a:cubicBezTo>
                      <a:lnTo>
                        <a:pt x="117904" y="124851"/>
                      </a:lnTo>
                      <a:lnTo>
                        <a:pt x="220658" y="334987"/>
                      </a:lnTo>
                      <a:lnTo>
                        <a:pt x="218902" y="33498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5A33FE83-7776-2F7C-4996-A996745F69F5}"/>
                    </a:ext>
                  </a:extLst>
                </p:cNvPr>
                <p:cNvSpPr/>
                <p:nvPr/>
              </p:nvSpPr>
              <p:spPr>
                <a:xfrm>
                  <a:off x="-9537636" y="4429552"/>
                  <a:ext cx="288981" cy="457248"/>
                </a:xfrm>
                <a:custGeom>
                  <a:avLst/>
                  <a:gdLst>
                    <a:gd name="connsiteX0" fmla="*/ 202874 w 288981"/>
                    <a:gd name="connsiteY0" fmla="*/ 274320 h 457248"/>
                    <a:gd name="connsiteX1" fmla="*/ 252056 w 288981"/>
                    <a:gd name="connsiteY1" fmla="*/ 307731 h 457248"/>
                    <a:gd name="connsiteX2" fmla="*/ 269621 w 288981"/>
                    <a:gd name="connsiteY2" fmla="*/ 329712 h 457248"/>
                    <a:gd name="connsiteX3" fmla="*/ 288942 w 288981"/>
                    <a:gd name="connsiteY3" fmla="*/ 370156 h 457248"/>
                    <a:gd name="connsiteX4" fmla="*/ 254690 w 288981"/>
                    <a:gd name="connsiteY4" fmla="*/ 360485 h 457248"/>
                    <a:gd name="connsiteX5" fmla="*/ 236247 w 288981"/>
                    <a:gd name="connsiteY5" fmla="*/ 339383 h 457248"/>
                    <a:gd name="connsiteX6" fmla="*/ 242395 w 288981"/>
                    <a:gd name="connsiteY6" fmla="*/ 358726 h 457248"/>
                    <a:gd name="connsiteX7" fmla="*/ 281038 w 288981"/>
                    <a:gd name="connsiteY7" fmla="*/ 417635 h 457248"/>
                    <a:gd name="connsiteX8" fmla="*/ 266108 w 288981"/>
                    <a:gd name="connsiteY8" fmla="*/ 431702 h 457248"/>
                    <a:gd name="connsiteX9" fmla="*/ 223074 w 288981"/>
                    <a:gd name="connsiteY9" fmla="*/ 377190 h 457248"/>
                    <a:gd name="connsiteX10" fmla="*/ 232734 w 288981"/>
                    <a:gd name="connsiteY10" fmla="*/ 393896 h 457248"/>
                    <a:gd name="connsiteX11" fmla="*/ 257325 w 288981"/>
                    <a:gd name="connsiteY11" fmla="*/ 429065 h 457248"/>
                    <a:gd name="connsiteX12" fmla="*/ 253812 w 288981"/>
                    <a:gd name="connsiteY12" fmla="*/ 453683 h 457248"/>
                    <a:gd name="connsiteX13" fmla="*/ 198483 w 288981"/>
                    <a:gd name="connsiteY13" fmla="*/ 380707 h 457248"/>
                    <a:gd name="connsiteX14" fmla="*/ 203752 w 288981"/>
                    <a:gd name="connsiteY14" fmla="*/ 394775 h 457248"/>
                    <a:gd name="connsiteX15" fmla="*/ 233613 w 288981"/>
                    <a:gd name="connsiteY15" fmla="*/ 441374 h 457248"/>
                    <a:gd name="connsiteX16" fmla="*/ 219561 w 288981"/>
                    <a:gd name="connsiteY16" fmla="*/ 457200 h 457248"/>
                    <a:gd name="connsiteX17" fmla="*/ 174770 w 288981"/>
                    <a:gd name="connsiteY17" fmla="*/ 380707 h 457248"/>
                    <a:gd name="connsiteX18" fmla="*/ 197605 w 288981"/>
                    <a:gd name="connsiteY18" fmla="*/ 437857 h 457248"/>
                    <a:gd name="connsiteX19" fmla="*/ 190579 w 288981"/>
                    <a:gd name="connsiteY19" fmla="*/ 449287 h 457248"/>
                    <a:gd name="connsiteX20" fmla="*/ 149301 w 288981"/>
                    <a:gd name="connsiteY20" fmla="*/ 386861 h 457248"/>
                    <a:gd name="connsiteX21" fmla="*/ 135249 w 288981"/>
                    <a:gd name="connsiteY21" fmla="*/ 317402 h 457248"/>
                    <a:gd name="connsiteX22" fmla="*/ 135249 w 288981"/>
                    <a:gd name="connsiteY22" fmla="*/ 295422 h 457248"/>
                    <a:gd name="connsiteX23" fmla="*/ 0 w 288981"/>
                    <a:gd name="connsiteY23" fmla="*/ 87044 h 457248"/>
                    <a:gd name="connsiteX24" fmla="*/ 1757 w 288981"/>
                    <a:gd name="connsiteY24" fmla="*/ 24619 h 457248"/>
                    <a:gd name="connsiteX25" fmla="*/ 108024 w 288981"/>
                    <a:gd name="connsiteY25" fmla="*/ 0 h 457248"/>
                    <a:gd name="connsiteX26" fmla="*/ 115928 w 288981"/>
                    <a:gd name="connsiteY26" fmla="*/ 57150 h 457248"/>
                    <a:gd name="connsiteX27" fmla="*/ 201996 w 288981"/>
                    <a:gd name="connsiteY27" fmla="*/ 273441 h 457248"/>
                    <a:gd name="connsiteX28" fmla="*/ 201996 w 288981"/>
                    <a:gd name="connsiteY28" fmla="*/ 273441 h 457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8981" h="457248">
                      <a:moveTo>
                        <a:pt x="202874" y="274320"/>
                      </a:moveTo>
                      <a:cubicBezTo>
                        <a:pt x="207265" y="283992"/>
                        <a:pt x="245908" y="300697"/>
                        <a:pt x="252056" y="307731"/>
                      </a:cubicBezTo>
                      <a:cubicBezTo>
                        <a:pt x="259960" y="316523"/>
                        <a:pt x="269621" y="329712"/>
                        <a:pt x="269621" y="329712"/>
                      </a:cubicBezTo>
                      <a:cubicBezTo>
                        <a:pt x="275768" y="347296"/>
                        <a:pt x="289820" y="365760"/>
                        <a:pt x="288942" y="370156"/>
                      </a:cubicBezTo>
                      <a:cubicBezTo>
                        <a:pt x="288064" y="374552"/>
                        <a:pt x="266108" y="386861"/>
                        <a:pt x="254690" y="360485"/>
                      </a:cubicBezTo>
                      <a:cubicBezTo>
                        <a:pt x="249421" y="349055"/>
                        <a:pt x="243273" y="343779"/>
                        <a:pt x="236247" y="339383"/>
                      </a:cubicBezTo>
                      <a:cubicBezTo>
                        <a:pt x="238004" y="349055"/>
                        <a:pt x="241517" y="355209"/>
                        <a:pt x="242395" y="358726"/>
                      </a:cubicBezTo>
                      <a:cubicBezTo>
                        <a:pt x="244152" y="369277"/>
                        <a:pt x="276646" y="411480"/>
                        <a:pt x="281038" y="417635"/>
                      </a:cubicBezTo>
                      <a:cubicBezTo>
                        <a:pt x="285429" y="424669"/>
                        <a:pt x="279281" y="436098"/>
                        <a:pt x="266108" y="431702"/>
                      </a:cubicBezTo>
                      <a:cubicBezTo>
                        <a:pt x="252934" y="427306"/>
                        <a:pt x="223074" y="377190"/>
                        <a:pt x="223074" y="377190"/>
                      </a:cubicBezTo>
                      <a:lnTo>
                        <a:pt x="232734" y="393896"/>
                      </a:lnTo>
                      <a:cubicBezTo>
                        <a:pt x="233613" y="397412"/>
                        <a:pt x="256447" y="424669"/>
                        <a:pt x="257325" y="429065"/>
                      </a:cubicBezTo>
                      <a:cubicBezTo>
                        <a:pt x="262594" y="436098"/>
                        <a:pt x="269621" y="453683"/>
                        <a:pt x="253812" y="453683"/>
                      </a:cubicBezTo>
                      <a:cubicBezTo>
                        <a:pt x="238004" y="453683"/>
                        <a:pt x="198483" y="380707"/>
                        <a:pt x="198483" y="380707"/>
                      </a:cubicBezTo>
                      <a:lnTo>
                        <a:pt x="203752" y="394775"/>
                      </a:lnTo>
                      <a:cubicBezTo>
                        <a:pt x="203752" y="394775"/>
                        <a:pt x="221317" y="423789"/>
                        <a:pt x="233613" y="441374"/>
                      </a:cubicBezTo>
                      <a:cubicBezTo>
                        <a:pt x="246786" y="458959"/>
                        <a:pt x="219561" y="457200"/>
                        <a:pt x="219561" y="457200"/>
                      </a:cubicBezTo>
                      <a:cubicBezTo>
                        <a:pt x="197605" y="446649"/>
                        <a:pt x="176527" y="384224"/>
                        <a:pt x="174770" y="380707"/>
                      </a:cubicBezTo>
                      <a:cubicBezTo>
                        <a:pt x="174770" y="390378"/>
                        <a:pt x="197605" y="437857"/>
                        <a:pt x="197605" y="437857"/>
                      </a:cubicBezTo>
                      <a:cubicBezTo>
                        <a:pt x="197605" y="437857"/>
                        <a:pt x="202874" y="450166"/>
                        <a:pt x="190579" y="449287"/>
                      </a:cubicBezTo>
                      <a:cubicBezTo>
                        <a:pt x="174770" y="449287"/>
                        <a:pt x="153692" y="410601"/>
                        <a:pt x="149301" y="386861"/>
                      </a:cubicBezTo>
                      <a:cubicBezTo>
                        <a:pt x="144910" y="363122"/>
                        <a:pt x="141397" y="353451"/>
                        <a:pt x="135249" y="317402"/>
                      </a:cubicBezTo>
                      <a:cubicBezTo>
                        <a:pt x="133493" y="309489"/>
                        <a:pt x="134371" y="304214"/>
                        <a:pt x="135249" y="295422"/>
                      </a:cubicBezTo>
                      <a:lnTo>
                        <a:pt x="0" y="87044"/>
                      </a:lnTo>
                      <a:lnTo>
                        <a:pt x="1757" y="24619"/>
                      </a:lnTo>
                      <a:lnTo>
                        <a:pt x="108024" y="0"/>
                      </a:lnTo>
                      <a:lnTo>
                        <a:pt x="115928" y="57150"/>
                      </a:lnTo>
                      <a:lnTo>
                        <a:pt x="201996" y="273441"/>
                      </a:lnTo>
                      <a:lnTo>
                        <a:pt x="201996" y="273441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" name="Subtitle 2">
            <a:extLst>
              <a:ext uri="{FF2B5EF4-FFF2-40B4-BE49-F238E27FC236}">
                <a16:creationId xmlns:a16="http://schemas.microsoft.com/office/drawing/2014/main" id="{631B3F4D-4C9A-2DC8-3938-FB857DF958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F9573AC-F553-93C7-B8EF-A148F6A69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2010218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raphic 88">
            <a:extLst>
              <a:ext uri="{FF2B5EF4-FFF2-40B4-BE49-F238E27FC236}">
                <a16:creationId xmlns:a16="http://schemas.microsoft.com/office/drawing/2014/main" id="{DA2F40D0-02B6-9EC0-6CC8-E4A2AD3444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512762" y="3872354"/>
            <a:ext cx="4306274" cy="1855319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7777" y="6102000"/>
            <a:ext cx="642299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E58DCB8-B688-4BDD-5C36-F36FE37B0532}"/>
              </a:ext>
            </a:extLst>
          </p:cNvPr>
          <p:cNvGrpSpPr/>
          <p:nvPr userDrawn="1"/>
        </p:nvGrpSpPr>
        <p:grpSpPr>
          <a:xfrm flipH="1">
            <a:off x="7205338" y="1355490"/>
            <a:ext cx="5258366" cy="4234376"/>
            <a:chOff x="-13480067" y="1704817"/>
            <a:chExt cx="5092469" cy="4100785"/>
          </a:xfrm>
        </p:grpSpPr>
        <p:grpSp>
          <p:nvGrpSpPr>
            <p:cNvPr id="7" name="Graphic 6">
              <a:extLst>
                <a:ext uri="{FF2B5EF4-FFF2-40B4-BE49-F238E27FC236}">
                  <a16:creationId xmlns:a16="http://schemas.microsoft.com/office/drawing/2014/main" id="{3A1AF0BB-B6E3-54E8-283F-FEB5C2004152}"/>
                </a:ext>
              </a:extLst>
            </p:cNvPr>
            <p:cNvGrpSpPr/>
            <p:nvPr userDrawn="1"/>
          </p:nvGrpSpPr>
          <p:grpSpPr>
            <a:xfrm>
              <a:off x="-13480067" y="1704817"/>
              <a:ext cx="6848491" cy="4096335"/>
              <a:chOff x="-13480067" y="1704817"/>
              <a:chExt cx="6848491" cy="4096335"/>
            </a:xfrm>
          </p:grpSpPr>
          <p:grpSp>
            <p:nvGrpSpPr>
              <p:cNvPr id="50" name="Graphic 6">
                <a:extLst>
                  <a:ext uri="{FF2B5EF4-FFF2-40B4-BE49-F238E27FC236}">
                    <a16:creationId xmlns:a16="http://schemas.microsoft.com/office/drawing/2014/main" id="{9C38174E-621F-4BED-9695-2021B901D3C0}"/>
                  </a:ext>
                </a:extLst>
              </p:cNvPr>
              <p:cNvGrpSpPr/>
              <p:nvPr/>
            </p:nvGrpSpPr>
            <p:grpSpPr>
              <a:xfrm>
                <a:off x="-11320983" y="2416072"/>
                <a:ext cx="2648676" cy="3385079"/>
                <a:chOff x="-11320983" y="2416072"/>
                <a:chExt cx="2648676" cy="3385079"/>
              </a:xfrm>
            </p:grpSpPr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335E34F8-CBB5-E677-CF27-34287DFCB728}"/>
                    </a:ext>
                  </a:extLst>
                </p:cNvPr>
                <p:cNvSpPr/>
                <p:nvPr/>
              </p:nvSpPr>
              <p:spPr>
                <a:xfrm>
                  <a:off x="-11054367" y="2416072"/>
                  <a:ext cx="548029" cy="562749"/>
                </a:xfrm>
                <a:custGeom>
                  <a:avLst/>
                  <a:gdLst>
                    <a:gd name="connsiteX0" fmla="*/ 498848 w 548029"/>
                    <a:gd name="connsiteY0" fmla="*/ 203144 h 562749"/>
                    <a:gd name="connsiteX1" fmla="*/ 468109 w 548029"/>
                    <a:gd name="connsiteY1" fmla="*/ 58950 h 562749"/>
                    <a:gd name="connsiteX2" fmla="*/ 364477 w 548029"/>
                    <a:gd name="connsiteY2" fmla="*/ 7075 h 562749"/>
                    <a:gd name="connsiteX3" fmla="*/ 335495 w 548029"/>
                    <a:gd name="connsiteY3" fmla="*/ 1800 h 562749"/>
                    <a:gd name="connsiteX4" fmla="*/ 277531 w 548029"/>
                    <a:gd name="connsiteY4" fmla="*/ 3559 h 562749"/>
                    <a:gd name="connsiteX5" fmla="*/ 164237 w 548029"/>
                    <a:gd name="connsiteY5" fmla="*/ 77414 h 562749"/>
                    <a:gd name="connsiteX6" fmla="*/ 6 w 548029"/>
                    <a:gd name="connsiteY6" fmla="*/ 562749 h 562749"/>
                    <a:gd name="connsiteX7" fmla="*/ 289826 w 548029"/>
                    <a:gd name="connsiteY7" fmla="*/ 562749 h 562749"/>
                    <a:gd name="connsiteX8" fmla="*/ 272261 w 548029"/>
                    <a:gd name="connsiteY8" fmla="*/ 490652 h 562749"/>
                    <a:gd name="connsiteX9" fmla="*/ 403120 w 548029"/>
                    <a:gd name="connsiteY9" fmla="*/ 492411 h 562749"/>
                    <a:gd name="connsiteX10" fmla="*/ 548030 w 548029"/>
                    <a:gd name="connsiteY10" fmla="*/ 524063 h 562749"/>
                    <a:gd name="connsiteX11" fmla="*/ 498848 w 548029"/>
                    <a:gd name="connsiteY11" fmla="*/ 203144 h 562749"/>
                    <a:gd name="connsiteX12" fmla="*/ 498848 w 548029"/>
                    <a:gd name="connsiteY12" fmla="*/ 203144 h 562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48029" h="562749">
                      <a:moveTo>
                        <a:pt x="498848" y="203144"/>
                      </a:moveTo>
                      <a:cubicBezTo>
                        <a:pt x="504996" y="163579"/>
                        <a:pt x="507630" y="93240"/>
                        <a:pt x="468109" y="58950"/>
                      </a:cubicBezTo>
                      <a:cubicBezTo>
                        <a:pt x="426832" y="22902"/>
                        <a:pt x="384676" y="10592"/>
                        <a:pt x="364477" y="7075"/>
                      </a:cubicBezTo>
                      <a:cubicBezTo>
                        <a:pt x="354816" y="4438"/>
                        <a:pt x="345155" y="2679"/>
                        <a:pt x="335495" y="1800"/>
                      </a:cubicBezTo>
                      <a:cubicBezTo>
                        <a:pt x="317052" y="-838"/>
                        <a:pt x="296852" y="-838"/>
                        <a:pt x="277531" y="3559"/>
                      </a:cubicBezTo>
                      <a:cubicBezTo>
                        <a:pt x="231862" y="11472"/>
                        <a:pt x="190585" y="36090"/>
                        <a:pt x="164237" y="77414"/>
                      </a:cubicBezTo>
                      <a:cubicBezTo>
                        <a:pt x="91343" y="189955"/>
                        <a:pt x="-872" y="451087"/>
                        <a:pt x="6" y="562749"/>
                      </a:cubicBezTo>
                      <a:lnTo>
                        <a:pt x="289826" y="562749"/>
                      </a:lnTo>
                      <a:cubicBezTo>
                        <a:pt x="278409" y="546923"/>
                        <a:pt x="274018" y="521425"/>
                        <a:pt x="272261" y="490652"/>
                      </a:cubicBezTo>
                      <a:cubicBezTo>
                        <a:pt x="337251" y="494169"/>
                        <a:pt x="397850" y="490652"/>
                        <a:pt x="403120" y="492411"/>
                      </a:cubicBezTo>
                      <a:cubicBezTo>
                        <a:pt x="456692" y="501203"/>
                        <a:pt x="544517" y="537252"/>
                        <a:pt x="548030" y="524063"/>
                      </a:cubicBezTo>
                      <a:cubicBezTo>
                        <a:pt x="505874" y="412401"/>
                        <a:pt x="512900" y="300739"/>
                        <a:pt x="498848" y="203144"/>
                      </a:cubicBezTo>
                      <a:lnTo>
                        <a:pt x="498848" y="203144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73BA80AB-134E-E53C-0FFE-9541FFB6EC7D}"/>
                    </a:ext>
                  </a:extLst>
                </p:cNvPr>
                <p:cNvSpPr/>
                <p:nvPr/>
              </p:nvSpPr>
              <p:spPr>
                <a:xfrm>
                  <a:off x="-10853243" y="2453042"/>
                  <a:ext cx="330414" cy="535451"/>
                </a:xfrm>
                <a:custGeom>
                  <a:avLst/>
                  <a:gdLst>
                    <a:gd name="connsiteX0" fmla="*/ 328463 w 330414"/>
                    <a:gd name="connsiteY0" fmla="*/ 203982 h 535451"/>
                    <a:gd name="connsiteX1" fmla="*/ 328463 w 330414"/>
                    <a:gd name="connsiteY1" fmla="*/ 189035 h 535451"/>
                    <a:gd name="connsiteX2" fmla="*/ 288942 w 330414"/>
                    <a:gd name="connsiteY2" fmla="*/ 144194 h 535451"/>
                    <a:gd name="connsiteX3" fmla="*/ 287185 w 330414"/>
                    <a:gd name="connsiteY3" fmla="*/ 138918 h 535451"/>
                    <a:gd name="connsiteX4" fmla="*/ 229221 w 330414"/>
                    <a:gd name="connsiteY4" fmla="*/ 22860 h 535451"/>
                    <a:gd name="connsiteX5" fmla="*/ 193213 w 330414"/>
                    <a:gd name="connsiteY5" fmla="*/ 0 h 535451"/>
                    <a:gd name="connsiteX6" fmla="*/ 188822 w 330414"/>
                    <a:gd name="connsiteY6" fmla="*/ 1759 h 535451"/>
                    <a:gd name="connsiteX7" fmla="*/ 143153 w 330414"/>
                    <a:gd name="connsiteY7" fmla="*/ 187276 h 535451"/>
                    <a:gd name="connsiteX8" fmla="*/ 90459 w 330414"/>
                    <a:gd name="connsiteY8" fmla="*/ 154745 h 535451"/>
                    <a:gd name="connsiteX9" fmla="*/ 87824 w 330414"/>
                    <a:gd name="connsiteY9" fmla="*/ 243547 h 535451"/>
                    <a:gd name="connsiteX10" fmla="*/ 92215 w 330414"/>
                    <a:gd name="connsiteY10" fmla="*/ 248822 h 535451"/>
                    <a:gd name="connsiteX11" fmla="*/ 0 w 330414"/>
                    <a:gd name="connsiteY11" fmla="*/ 451925 h 535451"/>
                    <a:gd name="connsiteX12" fmla="*/ 191457 w 330414"/>
                    <a:gd name="connsiteY12" fmla="*/ 535452 h 535451"/>
                    <a:gd name="connsiteX13" fmla="*/ 223074 w 330414"/>
                    <a:gd name="connsiteY13" fmla="*/ 326195 h 535451"/>
                    <a:gd name="connsiteX14" fmla="*/ 234491 w 330414"/>
                    <a:gd name="connsiteY14" fmla="*/ 327074 h 535451"/>
                    <a:gd name="connsiteX15" fmla="*/ 295090 w 330414"/>
                    <a:gd name="connsiteY15" fmla="*/ 330591 h 535451"/>
                    <a:gd name="connsiteX16" fmla="*/ 316167 w 330414"/>
                    <a:gd name="connsiteY16" fmla="*/ 283112 h 535451"/>
                    <a:gd name="connsiteX17" fmla="*/ 327584 w 330414"/>
                    <a:gd name="connsiteY17" fmla="*/ 272562 h 535451"/>
                    <a:gd name="connsiteX18" fmla="*/ 307385 w 330414"/>
                    <a:gd name="connsiteY18" fmla="*/ 255856 h 535451"/>
                    <a:gd name="connsiteX19" fmla="*/ 326706 w 330414"/>
                    <a:gd name="connsiteY19" fmla="*/ 233875 h 535451"/>
                    <a:gd name="connsiteX20" fmla="*/ 317046 w 330414"/>
                    <a:gd name="connsiteY20" fmla="*/ 220687 h 535451"/>
                    <a:gd name="connsiteX21" fmla="*/ 317924 w 330414"/>
                    <a:gd name="connsiteY21" fmla="*/ 211015 h 535451"/>
                    <a:gd name="connsiteX22" fmla="*/ 328463 w 330414"/>
                    <a:gd name="connsiteY22" fmla="*/ 202223 h 535451"/>
                    <a:gd name="connsiteX23" fmla="*/ 328463 w 330414"/>
                    <a:gd name="connsiteY23" fmla="*/ 202223 h 535451"/>
                    <a:gd name="connsiteX24" fmla="*/ 328463 w 330414"/>
                    <a:gd name="connsiteY24" fmla="*/ 203982 h 535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0414" h="535451">
                      <a:moveTo>
                        <a:pt x="328463" y="203982"/>
                      </a:moveTo>
                      <a:cubicBezTo>
                        <a:pt x="328463" y="203982"/>
                        <a:pt x="332854" y="196068"/>
                        <a:pt x="328463" y="189035"/>
                      </a:cubicBezTo>
                      <a:lnTo>
                        <a:pt x="288942" y="144194"/>
                      </a:lnTo>
                      <a:cubicBezTo>
                        <a:pt x="288063" y="142435"/>
                        <a:pt x="287185" y="140677"/>
                        <a:pt x="287185" y="138918"/>
                      </a:cubicBezTo>
                      <a:cubicBezTo>
                        <a:pt x="281916" y="63305"/>
                        <a:pt x="229221" y="22860"/>
                        <a:pt x="229221" y="22860"/>
                      </a:cubicBezTo>
                      <a:cubicBezTo>
                        <a:pt x="214291" y="11430"/>
                        <a:pt x="200239" y="3517"/>
                        <a:pt x="193213" y="0"/>
                      </a:cubicBezTo>
                      <a:cubicBezTo>
                        <a:pt x="191457" y="0"/>
                        <a:pt x="190578" y="0"/>
                        <a:pt x="188822" y="1759"/>
                      </a:cubicBezTo>
                      <a:cubicBezTo>
                        <a:pt x="156327" y="80889"/>
                        <a:pt x="143153" y="187276"/>
                        <a:pt x="143153" y="187276"/>
                      </a:cubicBezTo>
                      <a:cubicBezTo>
                        <a:pt x="143153" y="187276"/>
                        <a:pt x="123832" y="136281"/>
                        <a:pt x="90459" y="154745"/>
                      </a:cubicBezTo>
                      <a:cubicBezTo>
                        <a:pt x="65868" y="167933"/>
                        <a:pt x="62355" y="210136"/>
                        <a:pt x="87824" y="243547"/>
                      </a:cubicBezTo>
                      <a:cubicBezTo>
                        <a:pt x="89581" y="245305"/>
                        <a:pt x="91337" y="247064"/>
                        <a:pt x="92215" y="248822"/>
                      </a:cubicBezTo>
                      <a:cubicBezTo>
                        <a:pt x="86068" y="286629"/>
                        <a:pt x="64112" y="383345"/>
                        <a:pt x="0" y="451925"/>
                      </a:cubicBezTo>
                      <a:cubicBezTo>
                        <a:pt x="23712" y="506437"/>
                        <a:pt x="104511" y="523142"/>
                        <a:pt x="191457" y="535452"/>
                      </a:cubicBezTo>
                      <a:cubicBezTo>
                        <a:pt x="191457" y="535452"/>
                        <a:pt x="214291" y="389499"/>
                        <a:pt x="223074" y="326195"/>
                      </a:cubicBezTo>
                      <a:cubicBezTo>
                        <a:pt x="230099" y="326195"/>
                        <a:pt x="234491" y="327074"/>
                        <a:pt x="234491" y="327074"/>
                      </a:cubicBezTo>
                      <a:cubicBezTo>
                        <a:pt x="254690" y="329712"/>
                        <a:pt x="275768" y="331470"/>
                        <a:pt x="295090" y="330591"/>
                      </a:cubicBezTo>
                      <a:cubicBezTo>
                        <a:pt x="295090" y="330591"/>
                        <a:pt x="338123" y="328832"/>
                        <a:pt x="316167" y="283112"/>
                      </a:cubicBezTo>
                      <a:lnTo>
                        <a:pt x="327584" y="272562"/>
                      </a:lnTo>
                      <a:cubicBezTo>
                        <a:pt x="327584" y="272562"/>
                        <a:pt x="331097" y="262011"/>
                        <a:pt x="307385" y="255856"/>
                      </a:cubicBezTo>
                      <a:cubicBezTo>
                        <a:pt x="307385" y="255856"/>
                        <a:pt x="332854" y="246185"/>
                        <a:pt x="326706" y="233875"/>
                      </a:cubicBezTo>
                      <a:lnTo>
                        <a:pt x="317046" y="220687"/>
                      </a:lnTo>
                      <a:cubicBezTo>
                        <a:pt x="315289" y="218049"/>
                        <a:pt x="315289" y="213653"/>
                        <a:pt x="317924" y="211015"/>
                      </a:cubicBezTo>
                      <a:lnTo>
                        <a:pt x="328463" y="202223"/>
                      </a:lnTo>
                      <a:lnTo>
                        <a:pt x="328463" y="202223"/>
                      </a:lnTo>
                      <a:lnTo>
                        <a:pt x="328463" y="203982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7443C785-7BDA-F950-1012-07668480D3C6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77F0ADE5-5B91-DD64-6DD4-40D6A78C4077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736447C8-5D9B-9EAF-64FF-AC5AD3432668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311B382C-BE6D-2B68-3C4B-21A1094E913B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82D153F7-5F55-69BE-30C0-442C386E83F8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B94DF912-32DE-A60C-E12D-0480ECFC1381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7D89D581-E36A-0C5F-3989-70CA31A14AD8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4E5DD3CB-1121-0168-9A37-FDF28551499D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1DEA8991-987D-9489-AE51-9CE22ACCBBA9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22137266-236D-E82A-1969-93A9A897D9B3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C2D5D3E6-B1AD-8216-CB1E-43E5329D0F9A}"/>
                    </a:ext>
                  </a:extLst>
                </p:cNvPr>
                <p:cNvSpPr/>
                <p:nvPr/>
              </p:nvSpPr>
              <p:spPr>
                <a:xfrm>
                  <a:off x="-10164051" y="2785601"/>
                  <a:ext cx="173697" cy="310719"/>
                </a:xfrm>
                <a:custGeom>
                  <a:avLst/>
                  <a:gdLst>
                    <a:gd name="connsiteX0" fmla="*/ 170607 w 173697"/>
                    <a:gd name="connsiteY0" fmla="*/ 68370 h 310719"/>
                    <a:gd name="connsiteX1" fmla="*/ 155677 w 173697"/>
                    <a:gd name="connsiteY1" fmla="*/ 77162 h 310719"/>
                    <a:gd name="connsiteX2" fmla="*/ 137234 w 173697"/>
                    <a:gd name="connsiteY2" fmla="*/ 135192 h 310719"/>
                    <a:gd name="connsiteX3" fmla="*/ 139869 w 173697"/>
                    <a:gd name="connsiteY3" fmla="*/ 28805 h 310719"/>
                    <a:gd name="connsiteX4" fmla="*/ 124061 w 173697"/>
                    <a:gd name="connsiteY4" fmla="*/ 42873 h 310719"/>
                    <a:gd name="connsiteX5" fmla="*/ 115278 w 173697"/>
                    <a:gd name="connsiteY5" fmla="*/ 100902 h 310719"/>
                    <a:gd name="connsiteX6" fmla="*/ 110887 w 173697"/>
                    <a:gd name="connsiteY6" fmla="*/ 119366 h 310719"/>
                    <a:gd name="connsiteX7" fmla="*/ 101226 w 173697"/>
                    <a:gd name="connsiteY7" fmla="*/ 2428 h 310719"/>
                    <a:gd name="connsiteX8" fmla="*/ 84540 w 173697"/>
                    <a:gd name="connsiteY8" fmla="*/ 34080 h 310719"/>
                    <a:gd name="connsiteX9" fmla="*/ 84540 w 173697"/>
                    <a:gd name="connsiteY9" fmla="*/ 100902 h 310719"/>
                    <a:gd name="connsiteX10" fmla="*/ 81905 w 173697"/>
                    <a:gd name="connsiteY10" fmla="*/ 105298 h 310719"/>
                    <a:gd name="connsiteX11" fmla="*/ 65218 w 173697"/>
                    <a:gd name="connsiteY11" fmla="*/ 25288 h 310719"/>
                    <a:gd name="connsiteX12" fmla="*/ 49410 w 173697"/>
                    <a:gd name="connsiteY12" fmla="*/ 25288 h 310719"/>
                    <a:gd name="connsiteX13" fmla="*/ 47654 w 173697"/>
                    <a:gd name="connsiteY13" fmla="*/ 133433 h 310719"/>
                    <a:gd name="connsiteX14" fmla="*/ 37993 w 173697"/>
                    <a:gd name="connsiteY14" fmla="*/ 156293 h 310719"/>
                    <a:gd name="connsiteX15" fmla="*/ 29210 w 173697"/>
                    <a:gd name="connsiteY15" fmla="*/ 119366 h 310719"/>
                    <a:gd name="connsiteX16" fmla="*/ 3741 w 173697"/>
                    <a:gd name="connsiteY16" fmla="*/ 84196 h 310719"/>
                    <a:gd name="connsiteX17" fmla="*/ 228 w 173697"/>
                    <a:gd name="connsiteY17" fmla="*/ 88592 h 310719"/>
                    <a:gd name="connsiteX18" fmla="*/ 1985 w 173697"/>
                    <a:gd name="connsiteY18" fmla="*/ 151897 h 310719"/>
                    <a:gd name="connsiteX19" fmla="*/ 1985 w 173697"/>
                    <a:gd name="connsiteY19" fmla="*/ 151897 h 310719"/>
                    <a:gd name="connsiteX20" fmla="*/ 7254 w 173697"/>
                    <a:gd name="connsiteY20" fmla="*/ 185308 h 310719"/>
                    <a:gd name="connsiteX21" fmla="*/ 35358 w 173697"/>
                    <a:gd name="connsiteY21" fmla="*/ 294332 h 310719"/>
                    <a:gd name="connsiteX22" fmla="*/ 37993 w 173697"/>
                    <a:gd name="connsiteY22" fmla="*/ 296970 h 310719"/>
                    <a:gd name="connsiteX23" fmla="*/ 108252 w 173697"/>
                    <a:gd name="connsiteY23" fmla="*/ 310159 h 310719"/>
                    <a:gd name="connsiteX24" fmla="*/ 132843 w 173697"/>
                    <a:gd name="connsiteY24" fmla="*/ 251250 h 310719"/>
                    <a:gd name="connsiteX25" fmla="*/ 155677 w 173697"/>
                    <a:gd name="connsiteY25" fmla="*/ 182670 h 310719"/>
                    <a:gd name="connsiteX26" fmla="*/ 161825 w 173697"/>
                    <a:gd name="connsiteY26" fmla="*/ 159810 h 310719"/>
                    <a:gd name="connsiteX27" fmla="*/ 169729 w 173697"/>
                    <a:gd name="connsiteY27" fmla="*/ 70129 h 310719"/>
                    <a:gd name="connsiteX28" fmla="*/ 169729 w 173697"/>
                    <a:gd name="connsiteY28" fmla="*/ 70129 h 310719"/>
                    <a:gd name="connsiteX29" fmla="*/ 169729 w 173697"/>
                    <a:gd name="connsiteY29" fmla="*/ 68370 h 310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3697" h="310719">
                      <a:moveTo>
                        <a:pt x="170607" y="68370"/>
                      </a:moveTo>
                      <a:cubicBezTo>
                        <a:pt x="158312" y="56940"/>
                        <a:pt x="155677" y="77162"/>
                        <a:pt x="155677" y="77162"/>
                      </a:cubicBezTo>
                      <a:cubicBezTo>
                        <a:pt x="155677" y="77162"/>
                        <a:pt x="145138" y="125520"/>
                        <a:pt x="137234" y="135192"/>
                      </a:cubicBezTo>
                      <a:cubicBezTo>
                        <a:pt x="138112" y="129037"/>
                        <a:pt x="155677" y="56061"/>
                        <a:pt x="139869" y="28805"/>
                      </a:cubicBezTo>
                      <a:cubicBezTo>
                        <a:pt x="139869" y="28805"/>
                        <a:pt x="124061" y="13858"/>
                        <a:pt x="124061" y="42873"/>
                      </a:cubicBezTo>
                      <a:cubicBezTo>
                        <a:pt x="124061" y="71887"/>
                        <a:pt x="115278" y="100902"/>
                        <a:pt x="115278" y="100902"/>
                      </a:cubicBezTo>
                      <a:lnTo>
                        <a:pt x="110887" y="119366"/>
                      </a:lnTo>
                      <a:cubicBezTo>
                        <a:pt x="110887" y="119366"/>
                        <a:pt x="118791" y="15616"/>
                        <a:pt x="101226" y="2428"/>
                      </a:cubicBezTo>
                      <a:cubicBezTo>
                        <a:pt x="83662" y="-10761"/>
                        <a:pt x="84540" y="34080"/>
                        <a:pt x="84540" y="34080"/>
                      </a:cubicBezTo>
                      <a:cubicBezTo>
                        <a:pt x="84540" y="34080"/>
                        <a:pt x="87174" y="86834"/>
                        <a:pt x="84540" y="100902"/>
                      </a:cubicBezTo>
                      <a:lnTo>
                        <a:pt x="81905" y="105298"/>
                      </a:lnTo>
                      <a:cubicBezTo>
                        <a:pt x="81905" y="105298"/>
                        <a:pt x="76635" y="40235"/>
                        <a:pt x="65218" y="25288"/>
                      </a:cubicBezTo>
                      <a:cubicBezTo>
                        <a:pt x="54679" y="10341"/>
                        <a:pt x="49410" y="13858"/>
                        <a:pt x="49410" y="25288"/>
                      </a:cubicBezTo>
                      <a:cubicBezTo>
                        <a:pt x="49410" y="36718"/>
                        <a:pt x="52923" y="120245"/>
                        <a:pt x="47654" y="133433"/>
                      </a:cubicBezTo>
                      <a:cubicBezTo>
                        <a:pt x="46775" y="136071"/>
                        <a:pt x="42384" y="148380"/>
                        <a:pt x="37993" y="156293"/>
                      </a:cubicBezTo>
                      <a:cubicBezTo>
                        <a:pt x="33602" y="144863"/>
                        <a:pt x="30089" y="128158"/>
                        <a:pt x="29210" y="119366"/>
                      </a:cubicBezTo>
                      <a:cubicBezTo>
                        <a:pt x="29210" y="92109"/>
                        <a:pt x="12524" y="85955"/>
                        <a:pt x="3741" y="84196"/>
                      </a:cubicBezTo>
                      <a:cubicBezTo>
                        <a:pt x="1107" y="84196"/>
                        <a:pt x="-650" y="85955"/>
                        <a:pt x="228" y="88592"/>
                      </a:cubicBezTo>
                      <a:cubicBezTo>
                        <a:pt x="6376" y="107056"/>
                        <a:pt x="3741" y="129916"/>
                        <a:pt x="1985" y="151897"/>
                      </a:cubicBezTo>
                      <a:lnTo>
                        <a:pt x="1985" y="151897"/>
                      </a:lnTo>
                      <a:cubicBezTo>
                        <a:pt x="1985" y="153656"/>
                        <a:pt x="1985" y="171240"/>
                        <a:pt x="7254" y="185308"/>
                      </a:cubicBezTo>
                      <a:cubicBezTo>
                        <a:pt x="11646" y="198496"/>
                        <a:pt x="32723" y="281144"/>
                        <a:pt x="35358" y="294332"/>
                      </a:cubicBezTo>
                      <a:cubicBezTo>
                        <a:pt x="35358" y="295212"/>
                        <a:pt x="36236" y="296091"/>
                        <a:pt x="37993" y="296970"/>
                      </a:cubicBezTo>
                      <a:cubicBezTo>
                        <a:pt x="48532" y="299608"/>
                        <a:pt x="102983" y="313676"/>
                        <a:pt x="108252" y="310159"/>
                      </a:cubicBezTo>
                      <a:cubicBezTo>
                        <a:pt x="117913" y="304004"/>
                        <a:pt x="122304" y="275869"/>
                        <a:pt x="132843" y="251250"/>
                      </a:cubicBezTo>
                      <a:cubicBezTo>
                        <a:pt x="150408" y="205530"/>
                        <a:pt x="154799" y="183549"/>
                        <a:pt x="155677" y="182670"/>
                      </a:cubicBezTo>
                      <a:lnTo>
                        <a:pt x="161825" y="159810"/>
                      </a:lnTo>
                      <a:cubicBezTo>
                        <a:pt x="161825" y="157173"/>
                        <a:pt x="182025" y="81559"/>
                        <a:pt x="169729" y="70129"/>
                      </a:cubicBezTo>
                      <a:lnTo>
                        <a:pt x="169729" y="70129"/>
                      </a:lnTo>
                      <a:lnTo>
                        <a:pt x="169729" y="68370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A62BADC6-8C41-ADB2-BB3B-1ACBFCAB9253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DD56409E-3291-F9B7-1F47-10A57517FF4E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00B90E16-26E6-B511-E158-11AD805B1B93}"/>
                    </a:ext>
                  </a:extLst>
                </p:cNvPr>
                <p:cNvSpPr/>
                <p:nvPr/>
              </p:nvSpPr>
              <p:spPr>
                <a:xfrm>
                  <a:off x="-11320983" y="2913759"/>
                  <a:ext cx="1280114" cy="783067"/>
                </a:xfrm>
                <a:custGeom>
                  <a:avLst/>
                  <a:gdLst>
                    <a:gd name="connsiteX0" fmla="*/ 376403 w 1280114"/>
                    <a:gd name="connsiteY0" fmla="*/ 725365 h 783067"/>
                    <a:gd name="connsiteX1" fmla="*/ 861193 w 1280114"/>
                    <a:gd name="connsiteY1" fmla="*/ 701626 h 783067"/>
                    <a:gd name="connsiteX2" fmla="*/ 848897 w 1280114"/>
                    <a:gd name="connsiteY2" fmla="*/ 524022 h 783067"/>
                    <a:gd name="connsiteX3" fmla="*/ 956921 w 1280114"/>
                    <a:gd name="connsiteY3" fmla="*/ 707781 h 783067"/>
                    <a:gd name="connsiteX4" fmla="*/ 1126422 w 1280114"/>
                    <a:gd name="connsiteY4" fmla="*/ 610186 h 783067"/>
                    <a:gd name="connsiteX5" fmla="*/ 1280115 w 1280114"/>
                    <a:gd name="connsiteY5" fmla="*/ 168812 h 783067"/>
                    <a:gd name="connsiteX6" fmla="*/ 1184386 w 1280114"/>
                    <a:gd name="connsiteY6" fmla="*/ 145952 h 783067"/>
                    <a:gd name="connsiteX7" fmla="*/ 1184386 w 1280114"/>
                    <a:gd name="connsiteY7" fmla="*/ 145952 h 783067"/>
                    <a:gd name="connsiteX8" fmla="*/ 1021033 w 1280114"/>
                    <a:gd name="connsiteY8" fmla="*/ 406205 h 783067"/>
                    <a:gd name="connsiteX9" fmla="*/ 989416 w 1280114"/>
                    <a:gd name="connsiteY9" fmla="*/ 291905 h 783067"/>
                    <a:gd name="connsiteX10" fmla="*/ 933209 w 1280114"/>
                    <a:gd name="connsiteY10" fmla="*/ 124851 h 783067"/>
                    <a:gd name="connsiteX11" fmla="*/ 858558 w 1280114"/>
                    <a:gd name="connsiteY11" fmla="*/ 50995 h 783067"/>
                    <a:gd name="connsiteX12" fmla="*/ 807620 w 1280114"/>
                    <a:gd name="connsiteY12" fmla="*/ 30773 h 783067"/>
                    <a:gd name="connsiteX13" fmla="*/ 670614 w 1280114"/>
                    <a:gd name="connsiteY13" fmla="*/ 0 h 783067"/>
                    <a:gd name="connsiteX14" fmla="*/ 457201 w 1280114"/>
                    <a:gd name="connsiteY14" fmla="*/ 0 h 783067"/>
                    <a:gd name="connsiteX15" fmla="*/ 307900 w 1280114"/>
                    <a:gd name="connsiteY15" fmla="*/ 54512 h 783067"/>
                    <a:gd name="connsiteX16" fmla="*/ 204267 w 1280114"/>
                    <a:gd name="connsiteY16" fmla="*/ 139798 h 783067"/>
                    <a:gd name="connsiteX17" fmla="*/ 1393 w 1280114"/>
                    <a:gd name="connsiteY17" fmla="*/ 654148 h 783067"/>
                    <a:gd name="connsiteX18" fmla="*/ 572251 w 1280114"/>
                    <a:gd name="connsiteY18" fmla="*/ 640080 h 783067"/>
                    <a:gd name="connsiteX19" fmla="*/ 536243 w 1280114"/>
                    <a:gd name="connsiteY19" fmla="*/ 545123 h 783067"/>
                    <a:gd name="connsiteX20" fmla="*/ 244667 w 1280114"/>
                    <a:gd name="connsiteY20" fmla="*/ 589964 h 783067"/>
                    <a:gd name="connsiteX21" fmla="*/ 328978 w 1280114"/>
                    <a:gd name="connsiteY21" fmla="*/ 436098 h 783067"/>
                    <a:gd name="connsiteX22" fmla="*/ 339517 w 1280114"/>
                    <a:gd name="connsiteY22" fmla="*/ 552157 h 783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80114" h="783067">
                      <a:moveTo>
                        <a:pt x="376403" y="725365"/>
                      </a:moveTo>
                      <a:lnTo>
                        <a:pt x="861193" y="701626"/>
                      </a:lnTo>
                      <a:lnTo>
                        <a:pt x="848897" y="524022"/>
                      </a:lnTo>
                      <a:cubicBezTo>
                        <a:pt x="867341" y="559191"/>
                        <a:pt x="905105" y="648872"/>
                        <a:pt x="956921" y="707781"/>
                      </a:cubicBezTo>
                      <a:cubicBezTo>
                        <a:pt x="1024546" y="785153"/>
                        <a:pt x="1107101" y="643597"/>
                        <a:pt x="1126422" y="610186"/>
                      </a:cubicBezTo>
                      <a:cubicBezTo>
                        <a:pt x="1209855" y="465113"/>
                        <a:pt x="1280115" y="168812"/>
                        <a:pt x="1280115" y="168812"/>
                      </a:cubicBezTo>
                      <a:lnTo>
                        <a:pt x="1184386" y="145952"/>
                      </a:lnTo>
                      <a:lnTo>
                        <a:pt x="1184386" y="145952"/>
                      </a:lnTo>
                      <a:lnTo>
                        <a:pt x="1021033" y="406205"/>
                      </a:lnTo>
                      <a:cubicBezTo>
                        <a:pt x="1011372" y="368398"/>
                        <a:pt x="1000833" y="329712"/>
                        <a:pt x="989416" y="291905"/>
                      </a:cubicBezTo>
                      <a:cubicBezTo>
                        <a:pt x="972730" y="226842"/>
                        <a:pt x="953408" y="166175"/>
                        <a:pt x="933209" y="124851"/>
                      </a:cubicBezTo>
                      <a:cubicBezTo>
                        <a:pt x="913887" y="85285"/>
                        <a:pt x="885784" y="65063"/>
                        <a:pt x="858558" y="50995"/>
                      </a:cubicBezTo>
                      <a:cubicBezTo>
                        <a:pt x="831333" y="36928"/>
                        <a:pt x="824307" y="35169"/>
                        <a:pt x="807620" y="30773"/>
                      </a:cubicBezTo>
                      <a:lnTo>
                        <a:pt x="670614" y="0"/>
                      </a:lnTo>
                      <a:cubicBezTo>
                        <a:pt x="657441" y="70338"/>
                        <a:pt x="516922" y="53633"/>
                        <a:pt x="457201" y="0"/>
                      </a:cubicBezTo>
                      <a:lnTo>
                        <a:pt x="307900" y="54512"/>
                      </a:lnTo>
                      <a:cubicBezTo>
                        <a:pt x="275405" y="58908"/>
                        <a:pt x="237641" y="79131"/>
                        <a:pt x="204267" y="139798"/>
                      </a:cubicBezTo>
                      <a:cubicBezTo>
                        <a:pt x="47940" y="427306"/>
                        <a:pt x="-10024" y="596118"/>
                        <a:pt x="1393" y="654148"/>
                      </a:cubicBezTo>
                      <a:cubicBezTo>
                        <a:pt x="57601" y="952207"/>
                        <a:pt x="572251" y="640080"/>
                        <a:pt x="572251" y="640080"/>
                      </a:cubicBezTo>
                      <a:lnTo>
                        <a:pt x="536243" y="545123"/>
                      </a:lnTo>
                      <a:cubicBezTo>
                        <a:pt x="536243" y="545123"/>
                        <a:pt x="250814" y="601394"/>
                        <a:pt x="244667" y="589964"/>
                      </a:cubicBezTo>
                      <a:lnTo>
                        <a:pt x="328978" y="436098"/>
                      </a:lnTo>
                      <a:cubicBezTo>
                        <a:pt x="328978" y="441374"/>
                        <a:pt x="333369" y="493248"/>
                        <a:pt x="339517" y="552157"/>
                      </a:cubicBezTo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770AB1CA-0E16-19FC-5390-152B13ADEA85}"/>
                    </a:ext>
                  </a:extLst>
                </p:cNvPr>
                <p:cNvSpPr/>
                <p:nvPr/>
              </p:nvSpPr>
              <p:spPr>
                <a:xfrm>
                  <a:off x="-10720884" y="2450565"/>
                  <a:ext cx="89252" cy="179202"/>
                </a:xfrm>
                <a:custGeom>
                  <a:avLst/>
                  <a:gdLst>
                    <a:gd name="connsiteX0" fmla="*/ 18698 w 89252"/>
                    <a:gd name="connsiteY0" fmla="*/ 178323 h 179202"/>
                    <a:gd name="connsiteX1" fmla="*/ 88080 w 89252"/>
                    <a:gd name="connsiteY1" fmla="*/ 20941 h 179202"/>
                    <a:gd name="connsiteX2" fmla="*/ 27481 w 89252"/>
                    <a:gd name="connsiteY2" fmla="*/ 719 h 179202"/>
                    <a:gd name="connsiteX3" fmla="*/ 18698 w 89252"/>
                    <a:gd name="connsiteY3" fmla="*/ 179202 h 179202"/>
                    <a:gd name="connsiteX4" fmla="*/ 18698 w 89252"/>
                    <a:gd name="connsiteY4" fmla="*/ 179202 h 17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252" h="179202">
                      <a:moveTo>
                        <a:pt x="18698" y="178323"/>
                      </a:moveTo>
                      <a:cubicBezTo>
                        <a:pt x="23968" y="120294"/>
                        <a:pt x="99497" y="83366"/>
                        <a:pt x="88080" y="20941"/>
                      </a:cubicBezTo>
                      <a:cubicBezTo>
                        <a:pt x="88080" y="20941"/>
                        <a:pt x="83688" y="-4557"/>
                        <a:pt x="27481" y="719"/>
                      </a:cubicBezTo>
                      <a:cubicBezTo>
                        <a:pt x="-28727" y="5994"/>
                        <a:pt x="18698" y="179202"/>
                        <a:pt x="18698" y="179202"/>
                      </a:cubicBezTo>
                      <a:lnTo>
                        <a:pt x="18698" y="179202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16FF1B71-56F3-775B-EF08-B644C1C7C482}"/>
                    </a:ext>
                  </a:extLst>
                </p:cNvPr>
                <p:cNvSpPr/>
                <p:nvPr/>
              </p:nvSpPr>
              <p:spPr>
                <a:xfrm>
                  <a:off x="-11045578" y="2762531"/>
                  <a:ext cx="272255" cy="216290"/>
                </a:xfrm>
                <a:custGeom>
                  <a:avLst/>
                  <a:gdLst>
                    <a:gd name="connsiteX0" fmla="*/ 272255 w 272255"/>
                    <a:gd name="connsiteY0" fmla="*/ 879 h 216290"/>
                    <a:gd name="connsiteX1" fmla="*/ 259960 w 272255"/>
                    <a:gd name="connsiteY1" fmla="*/ 216291 h 216290"/>
                    <a:gd name="connsiteX2" fmla="*/ 0 w 272255"/>
                    <a:gd name="connsiteY2" fmla="*/ 216291 h 216290"/>
                    <a:gd name="connsiteX3" fmla="*/ 62355 w 272255"/>
                    <a:gd name="connsiteY3" fmla="*/ 0 h 216290"/>
                    <a:gd name="connsiteX4" fmla="*/ 272255 w 272255"/>
                    <a:gd name="connsiteY4" fmla="*/ 0 h 216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2255" h="216290">
                      <a:moveTo>
                        <a:pt x="272255" y="879"/>
                      </a:moveTo>
                      <a:cubicBezTo>
                        <a:pt x="272255" y="879"/>
                        <a:pt x="221317" y="162658"/>
                        <a:pt x="259960" y="216291"/>
                      </a:cubicBezTo>
                      <a:lnTo>
                        <a:pt x="0" y="216291"/>
                      </a:lnTo>
                      <a:lnTo>
                        <a:pt x="62355" y="0"/>
                      </a:lnTo>
                      <a:lnTo>
                        <a:pt x="272255" y="0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3C825090-6A1C-9378-EDC1-1F9FB518C703}"/>
                  </a:ext>
                </a:extLst>
              </p:cNvPr>
              <p:cNvSpPr/>
              <p:nvPr/>
            </p:nvSpPr>
            <p:spPr>
              <a:xfrm>
                <a:off x="-10873775" y="3549442"/>
                <a:ext cx="180674" cy="261131"/>
              </a:xfrm>
              <a:custGeom>
                <a:avLst/>
                <a:gdLst>
                  <a:gd name="connsiteX0" fmla="*/ 180372 w 180674"/>
                  <a:gd name="connsiteY0" fmla="*/ 220687 h 261131"/>
                  <a:gd name="connsiteX1" fmla="*/ 149633 w 180674"/>
                  <a:gd name="connsiteY1" fmla="*/ 182001 h 261131"/>
                  <a:gd name="connsiteX2" fmla="*/ 93426 w 180674"/>
                  <a:gd name="connsiteY2" fmla="*/ 149469 h 261131"/>
                  <a:gd name="connsiteX3" fmla="*/ 122408 w 180674"/>
                  <a:gd name="connsiteY3" fmla="*/ 0 h 261131"/>
                  <a:gd name="connsiteX4" fmla="*/ 37218 w 180674"/>
                  <a:gd name="connsiteY4" fmla="*/ 0 h 261131"/>
                  <a:gd name="connsiteX5" fmla="*/ 18775 w 180674"/>
                  <a:gd name="connsiteY5" fmla="*/ 135401 h 261131"/>
                  <a:gd name="connsiteX6" fmla="*/ 3845 w 180674"/>
                  <a:gd name="connsiteY6" fmla="*/ 186397 h 261131"/>
                  <a:gd name="connsiteX7" fmla="*/ 86400 w 180674"/>
                  <a:gd name="connsiteY7" fmla="*/ 232117 h 261131"/>
                  <a:gd name="connsiteX8" fmla="*/ 136460 w 180674"/>
                  <a:gd name="connsiteY8" fmla="*/ 249701 h 261131"/>
                  <a:gd name="connsiteX9" fmla="*/ 166320 w 180674"/>
                  <a:gd name="connsiteY9" fmla="*/ 261131 h 261131"/>
                  <a:gd name="connsiteX10" fmla="*/ 179494 w 180674"/>
                  <a:gd name="connsiteY10" fmla="*/ 220687 h 261131"/>
                  <a:gd name="connsiteX11" fmla="*/ 180372 w 180674"/>
                  <a:gd name="connsiteY11" fmla="*/ 220687 h 26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0674" h="261131">
                    <a:moveTo>
                      <a:pt x="180372" y="220687"/>
                    </a:moveTo>
                    <a:cubicBezTo>
                      <a:pt x="183007" y="188155"/>
                      <a:pt x="168076" y="188155"/>
                      <a:pt x="149633" y="182001"/>
                    </a:cubicBezTo>
                    <a:cubicBezTo>
                      <a:pt x="123286" y="172329"/>
                      <a:pt x="93426" y="149469"/>
                      <a:pt x="93426" y="149469"/>
                    </a:cubicBezTo>
                    <a:lnTo>
                      <a:pt x="122408" y="0"/>
                    </a:lnTo>
                    <a:lnTo>
                      <a:pt x="37218" y="0"/>
                    </a:lnTo>
                    <a:lnTo>
                      <a:pt x="18775" y="135401"/>
                    </a:lnTo>
                    <a:cubicBezTo>
                      <a:pt x="18775" y="135401"/>
                      <a:pt x="-10207" y="163537"/>
                      <a:pt x="3845" y="186397"/>
                    </a:cubicBezTo>
                    <a:cubicBezTo>
                      <a:pt x="17019" y="209257"/>
                      <a:pt x="53905" y="201344"/>
                      <a:pt x="86400" y="232117"/>
                    </a:cubicBezTo>
                    <a:cubicBezTo>
                      <a:pt x="103087" y="247943"/>
                      <a:pt x="112747" y="246185"/>
                      <a:pt x="136460" y="249701"/>
                    </a:cubicBezTo>
                    <a:cubicBezTo>
                      <a:pt x="143486" y="250581"/>
                      <a:pt x="146999" y="261131"/>
                      <a:pt x="166320" y="261131"/>
                    </a:cubicBezTo>
                    <a:cubicBezTo>
                      <a:pt x="185641" y="261131"/>
                      <a:pt x="178616" y="235634"/>
                      <a:pt x="179494" y="220687"/>
                    </a:cubicBezTo>
                    <a:lnTo>
                      <a:pt x="180372" y="220687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519930F5-274C-60A9-1CB0-1C576481371F}"/>
                  </a:ext>
                </a:extLst>
              </p:cNvPr>
              <p:cNvSpPr/>
              <p:nvPr/>
            </p:nvSpPr>
            <p:spPr>
              <a:xfrm>
                <a:off x="-11018818" y="3375937"/>
                <a:ext cx="366021" cy="167529"/>
              </a:xfrm>
              <a:custGeom>
                <a:avLst/>
                <a:gdLst>
                  <a:gd name="connsiteX0" fmla="*/ 3979 w 366021"/>
                  <a:gd name="connsiteY0" fmla="*/ 97012 h 167529"/>
                  <a:gd name="connsiteX1" fmla="*/ 206853 w 366021"/>
                  <a:gd name="connsiteY1" fmla="*/ 125148 h 167529"/>
                  <a:gd name="connsiteX2" fmla="*/ 364058 w 366021"/>
                  <a:gd name="connsiteY2" fmla="*/ 154162 h 167529"/>
                  <a:gd name="connsiteX3" fmla="*/ 311364 w 366021"/>
                  <a:gd name="connsiteY3" fmla="*/ 52171 h 167529"/>
                  <a:gd name="connsiteX4" fmla="*/ 154158 w 366021"/>
                  <a:gd name="connsiteY4" fmla="*/ 297 h 167529"/>
                  <a:gd name="connsiteX5" fmla="*/ 3101 w 366021"/>
                  <a:gd name="connsiteY5" fmla="*/ 96133 h 167529"/>
                  <a:gd name="connsiteX6" fmla="*/ 3101 w 366021"/>
                  <a:gd name="connsiteY6" fmla="*/ 96133 h 16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021" h="167529">
                    <a:moveTo>
                      <a:pt x="3979" y="97012"/>
                    </a:moveTo>
                    <a:cubicBezTo>
                      <a:pt x="21544" y="145370"/>
                      <a:pt x="206853" y="125148"/>
                      <a:pt x="206853" y="125148"/>
                    </a:cubicBezTo>
                    <a:cubicBezTo>
                      <a:pt x="206853" y="125148"/>
                      <a:pt x="357910" y="196365"/>
                      <a:pt x="364058" y="154162"/>
                    </a:cubicBezTo>
                    <a:cubicBezTo>
                      <a:pt x="371084" y="111959"/>
                      <a:pt x="360545" y="62722"/>
                      <a:pt x="311364" y="52171"/>
                    </a:cubicBezTo>
                    <a:cubicBezTo>
                      <a:pt x="262182" y="41621"/>
                      <a:pt x="211244" y="-4099"/>
                      <a:pt x="154158" y="297"/>
                    </a:cubicBezTo>
                    <a:cubicBezTo>
                      <a:pt x="43500" y="11727"/>
                      <a:pt x="-14464" y="47775"/>
                      <a:pt x="3101" y="96133"/>
                    </a:cubicBezTo>
                    <a:lnTo>
                      <a:pt x="3101" y="9613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2EE8900E-CA8A-3872-9F65-43DDF02DA90F}"/>
                  </a:ext>
                </a:extLst>
              </p:cNvPr>
              <p:cNvSpPr/>
              <p:nvPr/>
            </p:nvSpPr>
            <p:spPr>
              <a:xfrm>
                <a:off x="-11008880" y="3582853"/>
                <a:ext cx="212722" cy="304647"/>
              </a:xfrm>
              <a:custGeom>
                <a:avLst/>
                <a:gdLst>
                  <a:gd name="connsiteX0" fmla="*/ 147733 w 212722"/>
                  <a:gd name="connsiteY0" fmla="*/ 229479 h 304647"/>
                  <a:gd name="connsiteX1" fmla="*/ 105577 w 212722"/>
                  <a:gd name="connsiteY1" fmla="*/ 181121 h 304647"/>
                  <a:gd name="connsiteX2" fmla="*/ 212723 w 212722"/>
                  <a:gd name="connsiteY2" fmla="*/ 0 h 304647"/>
                  <a:gd name="connsiteX3" fmla="*/ 89769 w 212722"/>
                  <a:gd name="connsiteY3" fmla="*/ 3517 h 304647"/>
                  <a:gd name="connsiteX4" fmla="*/ 31805 w 212722"/>
                  <a:gd name="connsiteY4" fmla="*/ 146831 h 304647"/>
                  <a:gd name="connsiteX5" fmla="*/ 1066 w 212722"/>
                  <a:gd name="connsiteY5" fmla="*/ 197827 h 304647"/>
                  <a:gd name="connsiteX6" fmla="*/ 48491 w 212722"/>
                  <a:gd name="connsiteY6" fmla="*/ 252339 h 304647"/>
                  <a:gd name="connsiteX7" fmla="*/ 90647 w 212722"/>
                  <a:gd name="connsiteY7" fmla="*/ 293663 h 304647"/>
                  <a:gd name="connsiteX8" fmla="*/ 113481 w 212722"/>
                  <a:gd name="connsiteY8" fmla="*/ 290146 h 304647"/>
                  <a:gd name="connsiteX9" fmla="*/ 134559 w 212722"/>
                  <a:gd name="connsiteY9" fmla="*/ 290146 h 304647"/>
                  <a:gd name="connsiteX10" fmla="*/ 156515 w 212722"/>
                  <a:gd name="connsiteY10" fmla="*/ 286629 h 304647"/>
                  <a:gd name="connsiteX11" fmla="*/ 169689 w 212722"/>
                  <a:gd name="connsiteY11" fmla="*/ 275199 h 304647"/>
                  <a:gd name="connsiteX12" fmla="*/ 146854 w 212722"/>
                  <a:gd name="connsiteY12" fmla="*/ 227721 h 304647"/>
                  <a:gd name="connsiteX13" fmla="*/ 146854 w 212722"/>
                  <a:gd name="connsiteY13" fmla="*/ 229479 h 30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2722" h="304647">
                    <a:moveTo>
                      <a:pt x="147733" y="229479"/>
                    </a:moveTo>
                    <a:cubicBezTo>
                      <a:pt x="124898" y="213653"/>
                      <a:pt x="105577" y="181121"/>
                      <a:pt x="105577" y="181121"/>
                    </a:cubicBezTo>
                    <a:cubicBezTo>
                      <a:pt x="120507" y="123971"/>
                      <a:pt x="212723" y="0"/>
                      <a:pt x="212723" y="0"/>
                    </a:cubicBezTo>
                    <a:lnTo>
                      <a:pt x="89769" y="3517"/>
                    </a:lnTo>
                    <a:lnTo>
                      <a:pt x="31805" y="146831"/>
                    </a:lnTo>
                    <a:cubicBezTo>
                      <a:pt x="31805" y="146831"/>
                      <a:pt x="-6838" y="172329"/>
                      <a:pt x="1066" y="197827"/>
                    </a:cubicBezTo>
                    <a:cubicBezTo>
                      <a:pt x="8970" y="223325"/>
                      <a:pt x="22144" y="215412"/>
                      <a:pt x="48491" y="252339"/>
                    </a:cubicBezTo>
                    <a:cubicBezTo>
                      <a:pt x="62543" y="273441"/>
                      <a:pt x="67813" y="288388"/>
                      <a:pt x="90647" y="293663"/>
                    </a:cubicBezTo>
                    <a:cubicBezTo>
                      <a:pt x="100307" y="311248"/>
                      <a:pt x="117872" y="305972"/>
                      <a:pt x="113481" y="290146"/>
                    </a:cubicBezTo>
                    <a:cubicBezTo>
                      <a:pt x="116994" y="303335"/>
                      <a:pt x="139828" y="305972"/>
                      <a:pt x="134559" y="290146"/>
                    </a:cubicBezTo>
                    <a:cubicBezTo>
                      <a:pt x="138072" y="302455"/>
                      <a:pt x="158271" y="294542"/>
                      <a:pt x="156515" y="286629"/>
                    </a:cubicBezTo>
                    <a:cubicBezTo>
                      <a:pt x="161784" y="294542"/>
                      <a:pt x="181106" y="286629"/>
                      <a:pt x="169689" y="275199"/>
                    </a:cubicBezTo>
                    <a:cubicBezTo>
                      <a:pt x="197792" y="262011"/>
                      <a:pt x="179349" y="248822"/>
                      <a:pt x="146854" y="227721"/>
                    </a:cubicBezTo>
                    <a:lnTo>
                      <a:pt x="146854" y="22947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187C5C15-EC15-B73A-2318-16E3C3A2E9CC}"/>
                  </a:ext>
                </a:extLst>
              </p:cNvPr>
              <p:cNvSpPr/>
              <p:nvPr/>
            </p:nvSpPr>
            <p:spPr>
              <a:xfrm>
                <a:off x="-10950752" y="2820159"/>
                <a:ext cx="273395" cy="309206"/>
              </a:xfrm>
              <a:custGeom>
                <a:avLst/>
                <a:gdLst>
                  <a:gd name="connsiteX0" fmla="*/ 158986 w 273395"/>
                  <a:gd name="connsiteY0" fmla="*/ 250103 h 309206"/>
                  <a:gd name="connsiteX1" fmla="*/ 218707 w 273395"/>
                  <a:gd name="connsiteY1" fmla="*/ 260653 h 309206"/>
                  <a:gd name="connsiteX2" fmla="*/ 241541 w 273395"/>
                  <a:gd name="connsiteY2" fmla="*/ 232518 h 309206"/>
                  <a:gd name="connsiteX3" fmla="*/ 249445 w 273395"/>
                  <a:gd name="connsiteY3" fmla="*/ 211417 h 309206"/>
                  <a:gd name="connsiteX4" fmla="*/ 239784 w 273395"/>
                  <a:gd name="connsiteY4" fmla="*/ 207900 h 309206"/>
                  <a:gd name="connsiteX5" fmla="*/ 258228 w 273395"/>
                  <a:gd name="connsiteY5" fmla="*/ 211417 h 309206"/>
                  <a:gd name="connsiteX6" fmla="*/ 256471 w 273395"/>
                  <a:gd name="connsiteY6" fmla="*/ 185919 h 309206"/>
                  <a:gd name="connsiteX7" fmla="*/ 267888 w 273395"/>
                  <a:gd name="connsiteY7" fmla="*/ 181523 h 309206"/>
                  <a:gd name="connsiteX8" fmla="*/ 270523 w 273395"/>
                  <a:gd name="connsiteY8" fmla="*/ 162180 h 309206"/>
                  <a:gd name="connsiteX9" fmla="*/ 255593 w 273395"/>
                  <a:gd name="connsiteY9" fmla="*/ 135803 h 309206"/>
                  <a:gd name="connsiteX10" fmla="*/ 263497 w 273395"/>
                  <a:gd name="connsiteY10" fmla="*/ 112064 h 309206"/>
                  <a:gd name="connsiteX11" fmla="*/ 91361 w 273395"/>
                  <a:gd name="connsiteY11" fmla="*/ 401 h 309206"/>
                  <a:gd name="connsiteX12" fmla="*/ 24 w 273395"/>
                  <a:gd name="connsiteY12" fmla="*/ 131407 h 309206"/>
                  <a:gd name="connsiteX13" fmla="*/ 38667 w 273395"/>
                  <a:gd name="connsiteY13" fmla="*/ 233397 h 309206"/>
                  <a:gd name="connsiteX14" fmla="*/ 7928 w 273395"/>
                  <a:gd name="connsiteY14" fmla="*/ 300219 h 309206"/>
                  <a:gd name="connsiteX15" fmla="*/ 154595 w 273395"/>
                  <a:gd name="connsiteY15" fmla="*/ 300219 h 309206"/>
                  <a:gd name="connsiteX16" fmla="*/ 158108 w 273395"/>
                  <a:gd name="connsiteY16" fmla="*/ 250982 h 30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3395" h="309206">
                    <a:moveTo>
                      <a:pt x="158986" y="250103"/>
                    </a:moveTo>
                    <a:cubicBezTo>
                      <a:pt x="195872" y="258895"/>
                      <a:pt x="205533" y="260653"/>
                      <a:pt x="218707" y="260653"/>
                    </a:cubicBezTo>
                    <a:cubicBezTo>
                      <a:pt x="231880" y="260653"/>
                      <a:pt x="236271" y="243948"/>
                      <a:pt x="241541" y="232518"/>
                    </a:cubicBezTo>
                    <a:cubicBezTo>
                      <a:pt x="254715" y="231639"/>
                      <a:pt x="258228" y="214934"/>
                      <a:pt x="249445" y="211417"/>
                    </a:cubicBezTo>
                    <a:cubicBezTo>
                      <a:pt x="240663" y="207900"/>
                      <a:pt x="244176" y="210537"/>
                      <a:pt x="239784" y="207900"/>
                    </a:cubicBezTo>
                    <a:cubicBezTo>
                      <a:pt x="248567" y="211417"/>
                      <a:pt x="252958" y="214054"/>
                      <a:pt x="258228" y="211417"/>
                    </a:cubicBezTo>
                    <a:cubicBezTo>
                      <a:pt x="263497" y="202624"/>
                      <a:pt x="256471" y="191194"/>
                      <a:pt x="256471" y="185919"/>
                    </a:cubicBezTo>
                    <a:cubicBezTo>
                      <a:pt x="256471" y="185919"/>
                      <a:pt x="260862" y="184160"/>
                      <a:pt x="267888" y="181523"/>
                    </a:cubicBezTo>
                    <a:cubicBezTo>
                      <a:pt x="273158" y="178885"/>
                      <a:pt x="275792" y="170093"/>
                      <a:pt x="270523" y="162180"/>
                    </a:cubicBezTo>
                    <a:cubicBezTo>
                      <a:pt x="265254" y="154267"/>
                      <a:pt x="258228" y="147233"/>
                      <a:pt x="255593" y="135803"/>
                    </a:cubicBezTo>
                    <a:cubicBezTo>
                      <a:pt x="259984" y="126131"/>
                      <a:pt x="263497" y="112064"/>
                      <a:pt x="263497" y="112064"/>
                    </a:cubicBezTo>
                    <a:cubicBezTo>
                      <a:pt x="292479" y="-12787"/>
                      <a:pt x="91361" y="401"/>
                      <a:pt x="91361" y="401"/>
                    </a:cubicBezTo>
                    <a:cubicBezTo>
                      <a:pt x="21980" y="10952"/>
                      <a:pt x="-854" y="80411"/>
                      <a:pt x="24" y="131407"/>
                    </a:cubicBezTo>
                    <a:cubicBezTo>
                      <a:pt x="903" y="182402"/>
                      <a:pt x="38667" y="233397"/>
                      <a:pt x="38667" y="233397"/>
                    </a:cubicBezTo>
                    <a:cubicBezTo>
                      <a:pt x="38667" y="233397"/>
                      <a:pt x="14954" y="279997"/>
                      <a:pt x="7928" y="300219"/>
                    </a:cubicBezTo>
                    <a:cubicBezTo>
                      <a:pt x="903" y="320441"/>
                      <a:pt x="154595" y="300219"/>
                      <a:pt x="154595" y="300219"/>
                    </a:cubicBezTo>
                    <a:lnTo>
                      <a:pt x="158108" y="250982"/>
                    </a:lnTo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E697AF1C-DBD2-E86B-4FD2-993A1C9F5EDD}"/>
                  </a:ext>
                </a:extLst>
              </p:cNvPr>
              <p:cNvSpPr/>
              <p:nvPr/>
            </p:nvSpPr>
            <p:spPr>
              <a:xfrm>
                <a:off x="-10796157" y="3405134"/>
                <a:ext cx="209436" cy="177361"/>
              </a:xfrm>
              <a:custGeom>
                <a:avLst/>
                <a:gdLst>
                  <a:gd name="connsiteX0" fmla="*/ 75529 w 209436"/>
                  <a:gd name="connsiteY0" fmla="*/ 33525 h 177361"/>
                  <a:gd name="connsiteX1" fmla="*/ 0 w 209436"/>
                  <a:gd name="connsiteY1" fmla="*/ 107380 h 177361"/>
                  <a:gd name="connsiteX2" fmla="*/ 11417 w 209436"/>
                  <a:gd name="connsiteY2" fmla="*/ 168047 h 177361"/>
                  <a:gd name="connsiteX3" fmla="*/ 155449 w 209436"/>
                  <a:gd name="connsiteY3" fmla="*/ 172444 h 177361"/>
                  <a:gd name="connsiteX4" fmla="*/ 196726 w 209436"/>
                  <a:gd name="connsiteY4" fmla="*/ 152221 h 177361"/>
                  <a:gd name="connsiteX5" fmla="*/ 196726 w 209436"/>
                  <a:gd name="connsiteY5" fmla="*/ 124965 h 177361"/>
                  <a:gd name="connsiteX6" fmla="*/ 167744 w 209436"/>
                  <a:gd name="connsiteY6" fmla="*/ 138154 h 177361"/>
                  <a:gd name="connsiteX7" fmla="*/ 196726 w 209436"/>
                  <a:gd name="connsiteY7" fmla="*/ 124965 h 177361"/>
                  <a:gd name="connsiteX8" fmla="*/ 202874 w 209436"/>
                  <a:gd name="connsiteY8" fmla="*/ 91554 h 177361"/>
                  <a:gd name="connsiteX9" fmla="*/ 165109 w 209436"/>
                  <a:gd name="connsiteY9" fmla="*/ 110018 h 177361"/>
                  <a:gd name="connsiteX10" fmla="*/ 202874 w 209436"/>
                  <a:gd name="connsiteY10" fmla="*/ 90675 h 177361"/>
                  <a:gd name="connsiteX11" fmla="*/ 194970 w 209436"/>
                  <a:gd name="connsiteY11" fmla="*/ 51110 h 177361"/>
                  <a:gd name="connsiteX12" fmla="*/ 160718 w 209436"/>
                  <a:gd name="connsiteY12" fmla="*/ 81883 h 177361"/>
                  <a:gd name="connsiteX13" fmla="*/ 187944 w 209436"/>
                  <a:gd name="connsiteY13" fmla="*/ 68694 h 177361"/>
                  <a:gd name="connsiteX14" fmla="*/ 185309 w 209436"/>
                  <a:gd name="connsiteY14" fmla="*/ 30887 h 177361"/>
                  <a:gd name="connsiteX15" fmla="*/ 136128 w 209436"/>
                  <a:gd name="connsiteY15" fmla="*/ 30008 h 177361"/>
                  <a:gd name="connsiteX16" fmla="*/ 159840 w 209436"/>
                  <a:gd name="connsiteY16" fmla="*/ 48472 h 177361"/>
                  <a:gd name="connsiteX17" fmla="*/ 140519 w 209436"/>
                  <a:gd name="connsiteY17" fmla="*/ 55506 h 177361"/>
                  <a:gd name="connsiteX18" fmla="*/ 108024 w 209436"/>
                  <a:gd name="connsiteY18" fmla="*/ 56385 h 177361"/>
                  <a:gd name="connsiteX19" fmla="*/ 144032 w 209436"/>
                  <a:gd name="connsiteY19" fmla="*/ 4510 h 177361"/>
                  <a:gd name="connsiteX20" fmla="*/ 75529 w 209436"/>
                  <a:gd name="connsiteY20" fmla="*/ 33525 h 17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09436" h="177361">
                    <a:moveTo>
                      <a:pt x="75529" y="33525"/>
                    </a:moveTo>
                    <a:cubicBezTo>
                      <a:pt x="64112" y="43197"/>
                      <a:pt x="0" y="107380"/>
                      <a:pt x="0" y="107380"/>
                    </a:cubicBezTo>
                    <a:cubicBezTo>
                      <a:pt x="0" y="107380"/>
                      <a:pt x="7904" y="151342"/>
                      <a:pt x="11417" y="168047"/>
                    </a:cubicBezTo>
                    <a:cubicBezTo>
                      <a:pt x="20199" y="174202"/>
                      <a:pt x="120319" y="182994"/>
                      <a:pt x="155449" y="172444"/>
                    </a:cubicBezTo>
                    <a:cubicBezTo>
                      <a:pt x="187066" y="162772"/>
                      <a:pt x="190578" y="159255"/>
                      <a:pt x="196726" y="152221"/>
                    </a:cubicBezTo>
                    <a:cubicBezTo>
                      <a:pt x="202874" y="145187"/>
                      <a:pt x="206387" y="118810"/>
                      <a:pt x="196726" y="124965"/>
                    </a:cubicBezTo>
                    <a:cubicBezTo>
                      <a:pt x="186187" y="136395"/>
                      <a:pt x="167744" y="138154"/>
                      <a:pt x="167744" y="138154"/>
                    </a:cubicBezTo>
                    <a:cubicBezTo>
                      <a:pt x="167744" y="138154"/>
                      <a:pt x="178283" y="138154"/>
                      <a:pt x="196726" y="124965"/>
                    </a:cubicBezTo>
                    <a:cubicBezTo>
                      <a:pt x="209900" y="114414"/>
                      <a:pt x="214291" y="98588"/>
                      <a:pt x="202874" y="91554"/>
                    </a:cubicBezTo>
                    <a:cubicBezTo>
                      <a:pt x="183553" y="110897"/>
                      <a:pt x="165109" y="110018"/>
                      <a:pt x="165109" y="110018"/>
                    </a:cubicBezTo>
                    <a:cubicBezTo>
                      <a:pt x="165109" y="110018"/>
                      <a:pt x="193213" y="104743"/>
                      <a:pt x="202874" y="90675"/>
                    </a:cubicBezTo>
                    <a:cubicBezTo>
                      <a:pt x="215169" y="73090"/>
                      <a:pt x="194970" y="44955"/>
                      <a:pt x="194970" y="51110"/>
                    </a:cubicBezTo>
                    <a:cubicBezTo>
                      <a:pt x="194970" y="65177"/>
                      <a:pt x="187066" y="72211"/>
                      <a:pt x="160718" y="81883"/>
                    </a:cubicBezTo>
                    <a:cubicBezTo>
                      <a:pt x="160718" y="81883"/>
                      <a:pt x="176527" y="81883"/>
                      <a:pt x="187944" y="68694"/>
                    </a:cubicBezTo>
                    <a:cubicBezTo>
                      <a:pt x="199361" y="55506"/>
                      <a:pt x="196726" y="40559"/>
                      <a:pt x="185309" y="30887"/>
                    </a:cubicBezTo>
                    <a:cubicBezTo>
                      <a:pt x="174770" y="21216"/>
                      <a:pt x="137884" y="23854"/>
                      <a:pt x="136128" y="30008"/>
                    </a:cubicBezTo>
                    <a:cubicBezTo>
                      <a:pt x="122076" y="69574"/>
                      <a:pt x="163353" y="45834"/>
                      <a:pt x="159840" y="48472"/>
                    </a:cubicBezTo>
                    <a:cubicBezTo>
                      <a:pt x="149301" y="54627"/>
                      <a:pt x="147545" y="53747"/>
                      <a:pt x="140519" y="55506"/>
                    </a:cubicBezTo>
                    <a:cubicBezTo>
                      <a:pt x="133493" y="57264"/>
                      <a:pt x="117684" y="57264"/>
                      <a:pt x="108024" y="56385"/>
                    </a:cubicBezTo>
                    <a:cubicBezTo>
                      <a:pt x="105389" y="53747"/>
                      <a:pt x="156327" y="22974"/>
                      <a:pt x="144032" y="4510"/>
                    </a:cubicBezTo>
                    <a:cubicBezTo>
                      <a:pt x="131736" y="-13953"/>
                      <a:pt x="79920" y="30008"/>
                      <a:pt x="75529" y="33525"/>
                    </a:cubicBez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60CB4E27-0D96-B831-7373-5D6F5BB57FBA}"/>
                  </a:ext>
                </a:extLst>
              </p:cNvPr>
              <p:cNvSpPr/>
              <p:nvPr/>
            </p:nvSpPr>
            <p:spPr>
              <a:xfrm>
                <a:off x="-10852365" y="3844864"/>
                <a:ext cx="13173" cy="14947"/>
              </a:xfrm>
              <a:custGeom>
                <a:avLst/>
                <a:gdLst>
                  <a:gd name="connsiteX0" fmla="*/ 0 w 13173"/>
                  <a:gd name="connsiteY0" fmla="*/ 0 h 14947"/>
                  <a:gd name="connsiteX1" fmla="*/ 13174 w 13173"/>
                  <a:gd name="connsiteY1" fmla="*/ 14947 h 14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73" h="14947">
                    <a:moveTo>
                      <a:pt x="0" y="0"/>
                    </a:moveTo>
                    <a:cubicBezTo>
                      <a:pt x="0" y="0"/>
                      <a:pt x="9660" y="7034"/>
                      <a:pt x="13174" y="14947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8AD474A2-C68B-80FB-9BFD-B51D1F503BB0}"/>
                  </a:ext>
                </a:extLst>
              </p:cNvPr>
              <p:cNvSpPr/>
              <p:nvPr/>
            </p:nvSpPr>
            <p:spPr>
              <a:xfrm>
                <a:off x="-10864660" y="3857173"/>
                <a:ext cx="12295" cy="13188"/>
              </a:xfrm>
              <a:custGeom>
                <a:avLst/>
                <a:gdLst>
                  <a:gd name="connsiteX0" fmla="*/ 0 w 12295"/>
                  <a:gd name="connsiteY0" fmla="*/ 0 h 13188"/>
                  <a:gd name="connsiteX1" fmla="*/ 12296 w 12295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5" h="13188">
                    <a:moveTo>
                      <a:pt x="0" y="0"/>
                    </a:moveTo>
                    <a:cubicBezTo>
                      <a:pt x="0" y="0"/>
                      <a:pt x="7904" y="5275"/>
                      <a:pt x="12296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3E68533B-DD3B-8007-4BFF-3B5001F43F32}"/>
                  </a:ext>
                </a:extLst>
              </p:cNvPr>
              <p:cNvSpPr/>
              <p:nvPr/>
            </p:nvSpPr>
            <p:spPr>
              <a:xfrm>
                <a:off x="-10881347" y="3861569"/>
                <a:ext cx="7904" cy="13188"/>
              </a:xfrm>
              <a:custGeom>
                <a:avLst/>
                <a:gdLst>
                  <a:gd name="connsiteX0" fmla="*/ 0 w 7904"/>
                  <a:gd name="connsiteY0" fmla="*/ 0 h 13188"/>
                  <a:gd name="connsiteX1" fmla="*/ 7904 w 7904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4" h="13188">
                    <a:moveTo>
                      <a:pt x="0" y="0"/>
                    </a:moveTo>
                    <a:cubicBezTo>
                      <a:pt x="0" y="0"/>
                      <a:pt x="4391" y="3517"/>
                      <a:pt x="7904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1076C015-C795-6FFF-2699-CE6C8DD920B1}"/>
                  </a:ext>
                </a:extLst>
              </p:cNvPr>
              <p:cNvSpPr/>
              <p:nvPr/>
            </p:nvSpPr>
            <p:spPr>
              <a:xfrm>
                <a:off x="-10903303" y="3862448"/>
                <a:ext cx="8782" cy="12309"/>
              </a:xfrm>
              <a:custGeom>
                <a:avLst/>
                <a:gdLst>
                  <a:gd name="connsiteX0" fmla="*/ 0 w 8782"/>
                  <a:gd name="connsiteY0" fmla="*/ 0 h 12309"/>
                  <a:gd name="connsiteX1" fmla="*/ 8782 w 8782"/>
                  <a:gd name="connsiteY1" fmla="*/ 12309 h 1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2" h="12309">
                    <a:moveTo>
                      <a:pt x="0" y="0"/>
                    </a:moveTo>
                    <a:cubicBezTo>
                      <a:pt x="0" y="0"/>
                      <a:pt x="5270" y="2638"/>
                      <a:pt x="8782" y="12309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C0D49CF7-1E6D-4B7D-11E8-472FC02E60F7}"/>
                  </a:ext>
                </a:extLst>
              </p:cNvPr>
              <p:cNvSpPr/>
              <p:nvPr/>
            </p:nvSpPr>
            <p:spPr>
              <a:xfrm>
                <a:off x="-10717115" y="3779801"/>
                <a:ext cx="25468" cy="20222"/>
              </a:xfrm>
              <a:custGeom>
                <a:avLst/>
                <a:gdLst>
                  <a:gd name="connsiteX0" fmla="*/ 0 w 25468"/>
                  <a:gd name="connsiteY0" fmla="*/ 0 h 20222"/>
                  <a:gd name="connsiteX1" fmla="*/ 25469 w 25468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68" h="20222">
                    <a:moveTo>
                      <a:pt x="0" y="0"/>
                    </a:moveTo>
                    <a:cubicBezTo>
                      <a:pt x="0" y="0"/>
                      <a:pt x="25469" y="4396"/>
                      <a:pt x="25469" y="20222"/>
                    </a:cubicBezTo>
                  </a:path>
                </a:pathLst>
              </a:custGeom>
              <a:solidFill>
                <a:srgbClr val="FA69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F27F05B9-885A-5710-C8DD-5BDCDE052932}"/>
                  </a:ext>
                </a:extLst>
              </p:cNvPr>
              <p:cNvSpPr/>
              <p:nvPr/>
            </p:nvSpPr>
            <p:spPr>
              <a:xfrm>
                <a:off x="-10712724" y="3765733"/>
                <a:ext cx="20199" cy="17584"/>
              </a:xfrm>
              <a:custGeom>
                <a:avLst/>
                <a:gdLst>
                  <a:gd name="connsiteX0" fmla="*/ 0 w 20199"/>
                  <a:gd name="connsiteY0" fmla="*/ 0 h 17584"/>
                  <a:gd name="connsiteX1" fmla="*/ 20199 w 20199"/>
                  <a:gd name="connsiteY1" fmla="*/ 17585 h 17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99" h="17584">
                    <a:moveTo>
                      <a:pt x="0" y="0"/>
                    </a:moveTo>
                    <a:cubicBezTo>
                      <a:pt x="0" y="0"/>
                      <a:pt x="19321" y="0"/>
                      <a:pt x="20199" y="17585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7BB1371-AF59-CE54-0C17-CC6255E4823F}"/>
                  </a:ext>
                </a:extLst>
              </p:cNvPr>
              <p:cNvSpPr/>
              <p:nvPr/>
            </p:nvSpPr>
            <p:spPr>
              <a:xfrm>
                <a:off x="-10709211" y="3752545"/>
                <a:ext cx="18815" cy="20222"/>
              </a:xfrm>
              <a:custGeom>
                <a:avLst/>
                <a:gdLst>
                  <a:gd name="connsiteX0" fmla="*/ 0 w 18815"/>
                  <a:gd name="connsiteY0" fmla="*/ 0 h 20222"/>
                  <a:gd name="connsiteX1" fmla="*/ 16687 w 18815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15" h="20222">
                    <a:moveTo>
                      <a:pt x="0" y="0"/>
                    </a:moveTo>
                    <a:cubicBezTo>
                      <a:pt x="0" y="0"/>
                      <a:pt x="26347" y="2638"/>
                      <a:pt x="16687" y="20222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036FEBAA-9BE8-0DFF-1308-CED64FA4A4A2}"/>
                  </a:ext>
                </a:extLst>
              </p:cNvPr>
              <p:cNvSpPr/>
              <p:nvPr/>
            </p:nvSpPr>
            <p:spPr>
              <a:xfrm>
                <a:off x="-10873076" y="3190858"/>
                <a:ext cx="325400" cy="137155"/>
              </a:xfrm>
              <a:custGeom>
                <a:avLst/>
                <a:gdLst>
                  <a:gd name="connsiteX0" fmla="*/ 23346 w 325400"/>
                  <a:gd name="connsiteY0" fmla="*/ 55249 h 137155"/>
                  <a:gd name="connsiteX1" fmla="*/ 10173 w 325400"/>
                  <a:gd name="connsiteY1" fmla="*/ 137018 h 137155"/>
                  <a:gd name="connsiteX2" fmla="*/ 184065 w 325400"/>
                  <a:gd name="connsiteY2" fmla="*/ 103607 h 137155"/>
                  <a:gd name="connsiteX3" fmla="*/ 262228 w 325400"/>
                  <a:gd name="connsiteY3" fmla="*/ 107124 h 137155"/>
                  <a:gd name="connsiteX4" fmla="*/ 306141 w 325400"/>
                  <a:gd name="connsiteY4" fmla="*/ 90419 h 137155"/>
                  <a:gd name="connsiteX5" fmla="*/ 306141 w 325400"/>
                  <a:gd name="connsiteY5" fmla="*/ 70196 h 137155"/>
                  <a:gd name="connsiteX6" fmla="*/ 275402 w 325400"/>
                  <a:gd name="connsiteY6" fmla="*/ 85143 h 137155"/>
                  <a:gd name="connsiteX7" fmla="*/ 312288 w 325400"/>
                  <a:gd name="connsiteY7" fmla="*/ 65800 h 137155"/>
                  <a:gd name="connsiteX8" fmla="*/ 306141 w 325400"/>
                  <a:gd name="connsiteY8" fmla="*/ 47336 h 137155"/>
                  <a:gd name="connsiteX9" fmla="*/ 271011 w 325400"/>
                  <a:gd name="connsiteY9" fmla="*/ 64921 h 137155"/>
                  <a:gd name="connsiteX10" fmla="*/ 313166 w 325400"/>
                  <a:gd name="connsiteY10" fmla="*/ 41182 h 137155"/>
                  <a:gd name="connsiteX11" fmla="*/ 306141 w 325400"/>
                  <a:gd name="connsiteY11" fmla="*/ 23597 h 137155"/>
                  <a:gd name="connsiteX12" fmla="*/ 269254 w 325400"/>
                  <a:gd name="connsiteY12" fmla="*/ 46457 h 137155"/>
                  <a:gd name="connsiteX13" fmla="*/ 295601 w 325400"/>
                  <a:gd name="connsiteY13" fmla="*/ 31510 h 137155"/>
                  <a:gd name="connsiteX14" fmla="*/ 293845 w 325400"/>
                  <a:gd name="connsiteY14" fmla="*/ 10409 h 137155"/>
                  <a:gd name="connsiteX15" fmla="*/ 265741 w 325400"/>
                  <a:gd name="connsiteY15" fmla="*/ 29752 h 137155"/>
                  <a:gd name="connsiteX16" fmla="*/ 243785 w 325400"/>
                  <a:gd name="connsiteY16" fmla="*/ 35027 h 137155"/>
                  <a:gd name="connsiteX17" fmla="*/ 260472 w 325400"/>
                  <a:gd name="connsiteY17" fmla="*/ 2496 h 137155"/>
                  <a:gd name="connsiteX18" fmla="*/ 219194 w 325400"/>
                  <a:gd name="connsiteY18" fmla="*/ 30631 h 137155"/>
                  <a:gd name="connsiteX19" fmla="*/ 180552 w 325400"/>
                  <a:gd name="connsiteY19" fmla="*/ 60525 h 137155"/>
                  <a:gd name="connsiteX20" fmla="*/ 22468 w 325400"/>
                  <a:gd name="connsiteY20" fmla="*/ 57008 h 137155"/>
                  <a:gd name="connsiteX21" fmla="*/ 22468 w 325400"/>
                  <a:gd name="connsiteY21" fmla="*/ 55249 h 13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5400" h="137155">
                    <a:moveTo>
                      <a:pt x="23346" y="55249"/>
                    </a:moveTo>
                    <a:cubicBezTo>
                      <a:pt x="23346" y="59646"/>
                      <a:pt x="-18809" y="134380"/>
                      <a:pt x="10173" y="137018"/>
                    </a:cubicBezTo>
                    <a:cubicBezTo>
                      <a:pt x="39155" y="139656"/>
                      <a:pt x="184065" y="103607"/>
                      <a:pt x="184065" y="103607"/>
                    </a:cubicBezTo>
                    <a:cubicBezTo>
                      <a:pt x="188456" y="108003"/>
                      <a:pt x="235881" y="111520"/>
                      <a:pt x="262228" y="107124"/>
                    </a:cubicBezTo>
                    <a:cubicBezTo>
                      <a:pt x="288576" y="102728"/>
                      <a:pt x="294723" y="95694"/>
                      <a:pt x="306141" y="90419"/>
                    </a:cubicBezTo>
                    <a:cubicBezTo>
                      <a:pt x="323705" y="81626"/>
                      <a:pt x="317558" y="63162"/>
                      <a:pt x="306141" y="70196"/>
                    </a:cubicBezTo>
                    <a:cubicBezTo>
                      <a:pt x="294723" y="77230"/>
                      <a:pt x="275402" y="85143"/>
                      <a:pt x="275402" y="85143"/>
                    </a:cubicBezTo>
                    <a:cubicBezTo>
                      <a:pt x="275402" y="85143"/>
                      <a:pt x="302627" y="75472"/>
                      <a:pt x="312288" y="65800"/>
                    </a:cubicBezTo>
                    <a:cubicBezTo>
                      <a:pt x="326340" y="53491"/>
                      <a:pt x="324583" y="33269"/>
                      <a:pt x="306141" y="47336"/>
                    </a:cubicBezTo>
                    <a:cubicBezTo>
                      <a:pt x="289454" y="57887"/>
                      <a:pt x="271011" y="64921"/>
                      <a:pt x="271011" y="64921"/>
                    </a:cubicBezTo>
                    <a:cubicBezTo>
                      <a:pt x="271011" y="64921"/>
                      <a:pt x="299114" y="53491"/>
                      <a:pt x="313166" y="41182"/>
                    </a:cubicBezTo>
                    <a:cubicBezTo>
                      <a:pt x="339514" y="18322"/>
                      <a:pt x="316679" y="13046"/>
                      <a:pt x="306141" y="23597"/>
                    </a:cubicBezTo>
                    <a:cubicBezTo>
                      <a:pt x="295601" y="34148"/>
                      <a:pt x="283306" y="40303"/>
                      <a:pt x="269254" y="46457"/>
                    </a:cubicBezTo>
                    <a:cubicBezTo>
                      <a:pt x="269254" y="46457"/>
                      <a:pt x="282428" y="41182"/>
                      <a:pt x="295601" y="31510"/>
                    </a:cubicBezTo>
                    <a:cubicBezTo>
                      <a:pt x="308775" y="21839"/>
                      <a:pt x="303506" y="3375"/>
                      <a:pt x="293845" y="10409"/>
                    </a:cubicBezTo>
                    <a:cubicBezTo>
                      <a:pt x="284184" y="17443"/>
                      <a:pt x="273645" y="27114"/>
                      <a:pt x="265741" y="29752"/>
                    </a:cubicBezTo>
                    <a:cubicBezTo>
                      <a:pt x="257837" y="32389"/>
                      <a:pt x="249055" y="35906"/>
                      <a:pt x="243785" y="35027"/>
                    </a:cubicBezTo>
                    <a:cubicBezTo>
                      <a:pt x="242029" y="33269"/>
                      <a:pt x="268376" y="13046"/>
                      <a:pt x="260472" y="2496"/>
                    </a:cubicBezTo>
                    <a:cubicBezTo>
                      <a:pt x="252568" y="-8055"/>
                      <a:pt x="228855" y="17443"/>
                      <a:pt x="219194" y="30631"/>
                    </a:cubicBezTo>
                    <a:cubicBezTo>
                      <a:pt x="209534" y="43819"/>
                      <a:pt x="180552" y="60525"/>
                      <a:pt x="180552" y="60525"/>
                    </a:cubicBezTo>
                    <a:cubicBezTo>
                      <a:pt x="180552" y="60525"/>
                      <a:pt x="21590" y="53491"/>
                      <a:pt x="22468" y="57008"/>
                    </a:cubicBezTo>
                    <a:lnTo>
                      <a:pt x="22468" y="5524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EE84DAEA-DD1F-1B3A-004C-A825B4A5B5C8}"/>
                  </a:ext>
                </a:extLst>
              </p:cNvPr>
              <p:cNvSpPr/>
              <p:nvPr/>
            </p:nvSpPr>
            <p:spPr>
              <a:xfrm>
                <a:off x="-11123877" y="3076153"/>
                <a:ext cx="353347" cy="527140"/>
              </a:xfrm>
              <a:custGeom>
                <a:avLst/>
                <a:gdLst>
                  <a:gd name="connsiteX0" fmla="*/ 347041 w 353347"/>
                  <a:gd name="connsiteY0" fmla="*/ 59171 h 527140"/>
                  <a:gd name="connsiteX1" fmla="*/ 124846 w 353347"/>
                  <a:gd name="connsiteY1" fmla="*/ 41587 h 527140"/>
                  <a:gd name="connsiteX2" fmla="*/ 1013 w 353347"/>
                  <a:gd name="connsiteY2" fmla="*/ 360748 h 527140"/>
                  <a:gd name="connsiteX3" fmla="*/ 195983 w 353347"/>
                  <a:gd name="connsiteY3" fmla="*/ 474168 h 527140"/>
                  <a:gd name="connsiteX4" fmla="*/ 318937 w 353347"/>
                  <a:gd name="connsiteY4" fmla="*/ 518130 h 527140"/>
                  <a:gd name="connsiteX5" fmla="*/ 306642 w 353347"/>
                  <a:gd name="connsiteY5" fmla="*/ 409985 h 527140"/>
                  <a:gd name="connsiteX6" fmla="*/ 243408 w 353347"/>
                  <a:gd name="connsiteY6" fmla="*/ 346680 h 527140"/>
                  <a:gd name="connsiteX7" fmla="*/ 346163 w 353347"/>
                  <a:gd name="connsiteY7" fmla="*/ 59171 h 527140"/>
                  <a:gd name="connsiteX8" fmla="*/ 347041 w 353347"/>
                  <a:gd name="connsiteY8" fmla="*/ 59171 h 527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347" h="527140">
                    <a:moveTo>
                      <a:pt x="347041" y="59171"/>
                    </a:moveTo>
                    <a:cubicBezTo>
                      <a:pt x="306642" y="-15563"/>
                      <a:pt x="172271" y="-17322"/>
                      <a:pt x="124846" y="41587"/>
                    </a:cubicBezTo>
                    <a:cubicBezTo>
                      <a:pt x="77421" y="100495"/>
                      <a:pt x="-10404" y="242052"/>
                      <a:pt x="1013" y="360748"/>
                    </a:cubicBezTo>
                    <a:cubicBezTo>
                      <a:pt x="12431" y="479444"/>
                      <a:pt x="195983" y="474168"/>
                      <a:pt x="195983" y="474168"/>
                    </a:cubicBezTo>
                    <a:cubicBezTo>
                      <a:pt x="195983" y="474168"/>
                      <a:pt x="294346" y="553299"/>
                      <a:pt x="318937" y="518130"/>
                    </a:cubicBezTo>
                    <a:cubicBezTo>
                      <a:pt x="341772" y="486478"/>
                      <a:pt x="336502" y="450429"/>
                      <a:pt x="306642" y="409985"/>
                    </a:cubicBezTo>
                    <a:cubicBezTo>
                      <a:pt x="282929" y="377453"/>
                      <a:pt x="243408" y="346680"/>
                      <a:pt x="243408" y="346680"/>
                    </a:cubicBezTo>
                    <a:cubicBezTo>
                      <a:pt x="243408" y="346680"/>
                      <a:pt x="386562" y="133906"/>
                      <a:pt x="346163" y="59171"/>
                    </a:cubicBezTo>
                    <a:lnTo>
                      <a:pt x="347041" y="59171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22F4A8E3-A0E1-FB47-6851-008F8339F410}"/>
                  </a:ext>
                </a:extLst>
              </p:cNvPr>
              <p:cNvSpPr/>
              <p:nvPr/>
            </p:nvSpPr>
            <p:spPr>
              <a:xfrm>
                <a:off x="-11149211" y="3460640"/>
                <a:ext cx="378522" cy="220686"/>
              </a:xfrm>
              <a:custGeom>
                <a:avLst/>
                <a:gdLst>
                  <a:gd name="connsiteX0" fmla="*/ 0 w 378522"/>
                  <a:gd name="connsiteY0" fmla="*/ 0 h 220686"/>
                  <a:gd name="connsiteX1" fmla="*/ 361836 w 378522"/>
                  <a:gd name="connsiteY1" fmla="*/ 34290 h 220686"/>
                  <a:gd name="connsiteX2" fmla="*/ 378523 w 378522"/>
                  <a:gd name="connsiteY2" fmla="*/ 119575 h 220686"/>
                  <a:gd name="connsiteX3" fmla="*/ 82555 w 378522"/>
                  <a:gd name="connsiteY3" fmla="*/ 220687 h 220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22" h="220686">
                    <a:moveTo>
                      <a:pt x="0" y="0"/>
                    </a:moveTo>
                    <a:lnTo>
                      <a:pt x="361836" y="34290"/>
                    </a:lnTo>
                    <a:lnTo>
                      <a:pt x="378523" y="119575"/>
                    </a:lnTo>
                    <a:cubicBezTo>
                      <a:pt x="378523" y="119575"/>
                      <a:pt x="201996" y="198706"/>
                      <a:pt x="82555" y="22068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C3AD53ED-CB25-EF31-5D50-D4FA51C26707}"/>
                  </a:ext>
                </a:extLst>
              </p:cNvPr>
              <p:cNvSpPr/>
              <p:nvPr/>
            </p:nvSpPr>
            <p:spPr>
              <a:xfrm>
                <a:off x="-13480067" y="1704817"/>
                <a:ext cx="8782" cy="8792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8792"/>
                </a:pathLst>
              </a:custGeom>
              <a:solidFill>
                <a:srgbClr val="DD9C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EBF6A7CB-FFAA-959D-8B53-B994682B5095}"/>
                  </a:ext>
                </a:extLst>
              </p:cNvPr>
              <p:cNvSpPr/>
              <p:nvPr/>
            </p:nvSpPr>
            <p:spPr>
              <a:xfrm>
                <a:off x="-10950752" y="2817590"/>
                <a:ext cx="263053" cy="235087"/>
              </a:xfrm>
              <a:custGeom>
                <a:avLst/>
                <a:gdLst>
                  <a:gd name="connsiteX0" fmla="*/ 39545 w 263053"/>
                  <a:gd name="connsiteY0" fmla="*/ 235087 h 235087"/>
                  <a:gd name="connsiteX1" fmla="*/ 24 w 263053"/>
                  <a:gd name="connsiteY1" fmla="*/ 133096 h 235087"/>
                  <a:gd name="connsiteX2" fmla="*/ 91361 w 263053"/>
                  <a:gd name="connsiteY2" fmla="*/ 2091 h 235087"/>
                  <a:gd name="connsiteX3" fmla="*/ 259984 w 263053"/>
                  <a:gd name="connsiteY3" fmla="*/ 51328 h 235087"/>
                  <a:gd name="connsiteX4" fmla="*/ 189725 w 263053"/>
                  <a:gd name="connsiteY4" fmla="*/ 82980 h 235087"/>
                  <a:gd name="connsiteX5" fmla="*/ 173916 w 263053"/>
                  <a:gd name="connsiteY5" fmla="*/ 125183 h 235087"/>
                  <a:gd name="connsiteX6" fmla="*/ 144056 w 263053"/>
                  <a:gd name="connsiteY6" fmla="*/ 148043 h 235087"/>
                  <a:gd name="connsiteX7" fmla="*/ 122978 w 263053"/>
                  <a:gd name="connsiteY7" fmla="*/ 107599 h 235087"/>
                  <a:gd name="connsiteX8" fmla="*/ 124735 w 263053"/>
                  <a:gd name="connsiteY8" fmla="*/ 172662 h 235087"/>
                  <a:gd name="connsiteX9" fmla="*/ 82579 w 263053"/>
                  <a:gd name="connsiteY9" fmla="*/ 228053 h 235087"/>
                  <a:gd name="connsiteX10" fmla="*/ 37789 w 263053"/>
                  <a:gd name="connsiteY10" fmla="*/ 232449 h 235087"/>
                  <a:gd name="connsiteX11" fmla="*/ 39545 w 263053"/>
                  <a:gd name="connsiteY11" fmla="*/ 235087 h 23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3053" h="235087">
                    <a:moveTo>
                      <a:pt x="39545" y="235087"/>
                    </a:moveTo>
                    <a:cubicBezTo>
                      <a:pt x="39545" y="235087"/>
                      <a:pt x="1781" y="184092"/>
                      <a:pt x="24" y="133096"/>
                    </a:cubicBezTo>
                    <a:cubicBezTo>
                      <a:pt x="-854" y="82101"/>
                      <a:pt x="21980" y="13521"/>
                      <a:pt x="91361" y="2091"/>
                    </a:cubicBezTo>
                    <a:cubicBezTo>
                      <a:pt x="91361" y="2091"/>
                      <a:pt x="226611" y="-15494"/>
                      <a:pt x="259984" y="51328"/>
                    </a:cubicBezTo>
                    <a:cubicBezTo>
                      <a:pt x="276671" y="86497"/>
                      <a:pt x="221341" y="61879"/>
                      <a:pt x="189725" y="82980"/>
                    </a:cubicBezTo>
                    <a:cubicBezTo>
                      <a:pt x="172160" y="95289"/>
                      <a:pt x="173916" y="117270"/>
                      <a:pt x="173916" y="125183"/>
                    </a:cubicBezTo>
                    <a:cubicBezTo>
                      <a:pt x="173916" y="146285"/>
                      <a:pt x="158108" y="159473"/>
                      <a:pt x="144056" y="148043"/>
                    </a:cubicBezTo>
                    <a:cubicBezTo>
                      <a:pt x="137030" y="141889"/>
                      <a:pt x="155473" y="119908"/>
                      <a:pt x="122978" y="107599"/>
                    </a:cubicBezTo>
                    <a:cubicBezTo>
                      <a:pt x="81701" y="100565"/>
                      <a:pt x="90483" y="162990"/>
                      <a:pt x="124735" y="172662"/>
                    </a:cubicBezTo>
                    <a:cubicBezTo>
                      <a:pt x="104535" y="183212"/>
                      <a:pt x="105413" y="227174"/>
                      <a:pt x="82579" y="228053"/>
                    </a:cubicBezTo>
                    <a:lnTo>
                      <a:pt x="37789" y="232449"/>
                    </a:lnTo>
                    <a:lnTo>
                      <a:pt x="39545" y="235087"/>
                    </a:lnTo>
                    <a:close/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6137C620-3E58-3D09-C757-7FA10B7A1FDA}"/>
                  </a:ext>
                </a:extLst>
              </p:cNvPr>
              <p:cNvSpPr/>
              <p:nvPr/>
            </p:nvSpPr>
            <p:spPr>
              <a:xfrm>
                <a:off x="-11051904" y="2954985"/>
                <a:ext cx="132793" cy="93781"/>
              </a:xfrm>
              <a:custGeom>
                <a:avLst/>
                <a:gdLst>
                  <a:gd name="connsiteX0" fmla="*/ 122254 w 132793"/>
                  <a:gd name="connsiteY0" fmla="*/ 10648 h 93781"/>
                  <a:gd name="connsiteX1" fmla="*/ 39699 w 132793"/>
                  <a:gd name="connsiteY1" fmla="*/ 22957 h 93781"/>
                  <a:gd name="connsiteX2" fmla="*/ 13352 w 132793"/>
                  <a:gd name="connsiteY2" fmla="*/ 73074 h 93781"/>
                  <a:gd name="connsiteX3" fmla="*/ 44091 w 132793"/>
                  <a:gd name="connsiteY3" fmla="*/ 91537 h 93781"/>
                  <a:gd name="connsiteX4" fmla="*/ 132793 w 132793"/>
                  <a:gd name="connsiteY4" fmla="*/ 37904 h 9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793" h="93781">
                    <a:moveTo>
                      <a:pt x="122254" y="10648"/>
                    </a:moveTo>
                    <a:cubicBezTo>
                      <a:pt x="122254" y="10648"/>
                      <a:pt x="49360" y="-20125"/>
                      <a:pt x="39699" y="22957"/>
                    </a:cubicBezTo>
                    <a:cubicBezTo>
                      <a:pt x="30039" y="66040"/>
                      <a:pt x="29160" y="65161"/>
                      <a:pt x="13352" y="73074"/>
                    </a:cubicBezTo>
                    <a:cubicBezTo>
                      <a:pt x="-2456" y="80987"/>
                      <a:pt x="-15630" y="100330"/>
                      <a:pt x="44091" y="91537"/>
                    </a:cubicBezTo>
                    <a:cubicBezTo>
                      <a:pt x="103811" y="82745"/>
                      <a:pt x="132793" y="37904"/>
                      <a:pt x="132793" y="37904"/>
                    </a:cubicBezTo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D554ED38-1F12-E7E3-8974-957B7E737A14}"/>
                  </a:ext>
                </a:extLst>
              </p:cNvPr>
              <p:cNvSpPr/>
              <p:nvPr/>
            </p:nvSpPr>
            <p:spPr>
              <a:xfrm>
                <a:off x="-11003024" y="3268022"/>
                <a:ext cx="361090" cy="247097"/>
              </a:xfrm>
              <a:custGeom>
                <a:avLst/>
                <a:gdLst>
                  <a:gd name="connsiteX0" fmla="*/ 256048 w 361090"/>
                  <a:gd name="connsiteY0" fmla="*/ 231304 h 247097"/>
                  <a:gd name="connsiteX1" fmla="*/ 296447 w 361090"/>
                  <a:gd name="connsiteY1" fmla="*/ 246251 h 247097"/>
                  <a:gd name="connsiteX2" fmla="*/ 321916 w 361090"/>
                  <a:gd name="connsiteY2" fmla="*/ 230425 h 247097"/>
                  <a:gd name="connsiteX3" fmla="*/ 287665 w 361090"/>
                  <a:gd name="connsiteY3" fmla="*/ 224270 h 247097"/>
                  <a:gd name="connsiteX4" fmla="*/ 312256 w 361090"/>
                  <a:gd name="connsiteY4" fmla="*/ 231304 h 247097"/>
                  <a:gd name="connsiteX5" fmla="*/ 335090 w 361090"/>
                  <a:gd name="connsiteY5" fmla="*/ 208444 h 247097"/>
                  <a:gd name="connsiteX6" fmla="*/ 295569 w 361090"/>
                  <a:gd name="connsiteY6" fmla="*/ 205807 h 247097"/>
                  <a:gd name="connsiteX7" fmla="*/ 343873 w 361090"/>
                  <a:gd name="connsiteY7" fmla="*/ 205807 h 247097"/>
                  <a:gd name="connsiteX8" fmla="*/ 346507 w 361090"/>
                  <a:gd name="connsiteY8" fmla="*/ 188222 h 247097"/>
                  <a:gd name="connsiteX9" fmla="*/ 309621 w 361090"/>
                  <a:gd name="connsiteY9" fmla="*/ 188222 h 247097"/>
                  <a:gd name="connsiteX10" fmla="*/ 337725 w 361090"/>
                  <a:gd name="connsiteY10" fmla="*/ 190860 h 247097"/>
                  <a:gd name="connsiteX11" fmla="*/ 357046 w 361090"/>
                  <a:gd name="connsiteY11" fmla="*/ 169758 h 247097"/>
                  <a:gd name="connsiteX12" fmla="*/ 314890 w 361090"/>
                  <a:gd name="connsiteY12" fmla="*/ 166241 h 247097"/>
                  <a:gd name="connsiteX13" fmla="*/ 298204 w 361090"/>
                  <a:gd name="connsiteY13" fmla="*/ 154811 h 247097"/>
                  <a:gd name="connsiteX14" fmla="*/ 335968 w 361090"/>
                  <a:gd name="connsiteY14" fmla="*/ 130193 h 247097"/>
                  <a:gd name="connsiteX15" fmla="*/ 290300 w 361090"/>
                  <a:gd name="connsiteY15" fmla="*/ 132830 h 247097"/>
                  <a:gd name="connsiteX16" fmla="*/ 221797 w 361090"/>
                  <a:gd name="connsiteY16" fmla="*/ 143381 h 247097"/>
                  <a:gd name="connsiteX17" fmla="*/ 117286 w 361090"/>
                  <a:gd name="connsiteY17" fmla="*/ 52821 h 247097"/>
                  <a:gd name="connsiteX18" fmla="*/ 1358 w 361090"/>
                  <a:gd name="connsiteY18" fmla="*/ 1825 h 247097"/>
                  <a:gd name="connsiteX19" fmla="*/ 31218 w 361090"/>
                  <a:gd name="connsiteY19" fmla="*/ 117004 h 247097"/>
                  <a:gd name="connsiteX20" fmla="*/ 205110 w 361090"/>
                  <a:gd name="connsiteY20" fmla="*/ 197894 h 247097"/>
                  <a:gd name="connsiteX21" fmla="*/ 257805 w 361090"/>
                  <a:gd name="connsiteY21" fmla="*/ 233942 h 247097"/>
                  <a:gd name="connsiteX22" fmla="*/ 256048 w 361090"/>
                  <a:gd name="connsiteY22" fmla="*/ 231304 h 24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61090" h="247097">
                    <a:moveTo>
                      <a:pt x="256048" y="231304"/>
                    </a:moveTo>
                    <a:cubicBezTo>
                      <a:pt x="277126" y="242734"/>
                      <a:pt x="288543" y="244493"/>
                      <a:pt x="296447" y="246251"/>
                    </a:cubicBezTo>
                    <a:cubicBezTo>
                      <a:pt x="314890" y="251527"/>
                      <a:pt x="323673" y="230425"/>
                      <a:pt x="321916" y="230425"/>
                    </a:cubicBezTo>
                    <a:cubicBezTo>
                      <a:pt x="302595" y="233063"/>
                      <a:pt x="287665" y="224270"/>
                      <a:pt x="287665" y="224270"/>
                    </a:cubicBezTo>
                    <a:cubicBezTo>
                      <a:pt x="287665" y="224270"/>
                      <a:pt x="296447" y="230425"/>
                      <a:pt x="312256" y="231304"/>
                    </a:cubicBezTo>
                    <a:cubicBezTo>
                      <a:pt x="331577" y="233942"/>
                      <a:pt x="350020" y="216357"/>
                      <a:pt x="335090" y="208444"/>
                    </a:cubicBezTo>
                    <a:cubicBezTo>
                      <a:pt x="315769" y="211082"/>
                      <a:pt x="295569" y="205807"/>
                      <a:pt x="295569" y="205807"/>
                    </a:cubicBezTo>
                    <a:cubicBezTo>
                      <a:pt x="295569" y="205807"/>
                      <a:pt x="330699" y="214599"/>
                      <a:pt x="343873" y="205807"/>
                    </a:cubicBezTo>
                    <a:cubicBezTo>
                      <a:pt x="356168" y="196135"/>
                      <a:pt x="350898" y="186464"/>
                      <a:pt x="346507" y="188222"/>
                    </a:cubicBezTo>
                    <a:cubicBezTo>
                      <a:pt x="342116" y="189980"/>
                      <a:pt x="327186" y="196135"/>
                      <a:pt x="309621" y="188222"/>
                    </a:cubicBezTo>
                    <a:cubicBezTo>
                      <a:pt x="309621" y="188222"/>
                      <a:pt x="324551" y="192618"/>
                      <a:pt x="337725" y="190860"/>
                    </a:cubicBezTo>
                    <a:cubicBezTo>
                      <a:pt x="350898" y="189101"/>
                      <a:pt x="369342" y="175913"/>
                      <a:pt x="357046" y="169758"/>
                    </a:cubicBezTo>
                    <a:cubicBezTo>
                      <a:pt x="344751" y="163603"/>
                      <a:pt x="327186" y="172396"/>
                      <a:pt x="314890" y="166241"/>
                    </a:cubicBezTo>
                    <a:cubicBezTo>
                      <a:pt x="313134" y="165362"/>
                      <a:pt x="302595" y="158328"/>
                      <a:pt x="298204" y="154811"/>
                    </a:cubicBezTo>
                    <a:cubicBezTo>
                      <a:pt x="298204" y="152174"/>
                      <a:pt x="333334" y="145140"/>
                      <a:pt x="335968" y="130193"/>
                    </a:cubicBezTo>
                    <a:cubicBezTo>
                      <a:pt x="338603" y="115246"/>
                      <a:pt x="294691" y="132830"/>
                      <a:pt x="290300" y="132830"/>
                    </a:cubicBezTo>
                    <a:cubicBezTo>
                      <a:pt x="279761" y="133710"/>
                      <a:pt x="221797" y="143381"/>
                      <a:pt x="221797" y="143381"/>
                    </a:cubicBezTo>
                    <a:cubicBezTo>
                      <a:pt x="221797" y="143381"/>
                      <a:pt x="121677" y="45787"/>
                      <a:pt x="117286" y="52821"/>
                    </a:cubicBezTo>
                    <a:cubicBezTo>
                      <a:pt x="112895" y="59854"/>
                      <a:pt x="-14451" y="-12243"/>
                      <a:pt x="1358" y="1825"/>
                    </a:cubicBezTo>
                    <a:cubicBezTo>
                      <a:pt x="17166" y="15893"/>
                      <a:pt x="-13572" y="94144"/>
                      <a:pt x="31218" y="117004"/>
                    </a:cubicBezTo>
                    <a:cubicBezTo>
                      <a:pt x="76009" y="139864"/>
                      <a:pt x="206867" y="195256"/>
                      <a:pt x="205110" y="197894"/>
                    </a:cubicBezTo>
                    <a:cubicBezTo>
                      <a:pt x="205110" y="197894"/>
                      <a:pt x="236727" y="222512"/>
                      <a:pt x="257805" y="233942"/>
                    </a:cubicBezTo>
                    <a:lnTo>
                      <a:pt x="256048" y="231304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AE8AB3A4-3C49-6063-ECA2-F8BE6E22978D}"/>
                  </a:ext>
                </a:extLst>
              </p:cNvPr>
              <p:cNvSpPr/>
              <p:nvPr/>
            </p:nvSpPr>
            <p:spPr>
              <a:xfrm>
                <a:off x="-11006568" y="3174890"/>
                <a:ext cx="157715" cy="150238"/>
              </a:xfrm>
              <a:custGeom>
                <a:avLst/>
                <a:gdLst>
                  <a:gd name="connsiteX0" fmla="*/ 157716 w 157715"/>
                  <a:gd name="connsiteY0" fmla="*/ 29894 h 150238"/>
                  <a:gd name="connsiteX1" fmla="*/ 134003 w 157715"/>
                  <a:gd name="connsiteY1" fmla="*/ 126609 h 150238"/>
                  <a:gd name="connsiteX2" fmla="*/ 1389 w 157715"/>
                  <a:gd name="connsiteY2" fmla="*/ 123092 h 150238"/>
                  <a:gd name="connsiteX3" fmla="*/ 35640 w 157715"/>
                  <a:gd name="connsiteY3" fmla="*/ 0 h 15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715" h="150238">
                    <a:moveTo>
                      <a:pt x="157716" y="29894"/>
                    </a:moveTo>
                    <a:cubicBezTo>
                      <a:pt x="157716" y="29894"/>
                      <a:pt x="149812" y="96715"/>
                      <a:pt x="134003" y="126609"/>
                    </a:cubicBezTo>
                    <a:cubicBezTo>
                      <a:pt x="116438" y="167054"/>
                      <a:pt x="22467" y="148590"/>
                      <a:pt x="1389" y="123092"/>
                    </a:cubicBezTo>
                    <a:cubicBezTo>
                      <a:pt x="-8272" y="57150"/>
                      <a:pt x="35640" y="0"/>
                      <a:pt x="35640" y="0"/>
                    </a:cubicBezTo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922028-2E14-3967-4907-745822809B03}"/>
                </a:ext>
              </a:extLst>
            </p:cNvPr>
            <p:cNvGrpSpPr/>
            <p:nvPr userDrawn="1"/>
          </p:nvGrpSpPr>
          <p:grpSpPr>
            <a:xfrm>
              <a:off x="-12394315" y="2136257"/>
              <a:ext cx="4006717" cy="3669345"/>
              <a:chOff x="-12394315" y="2136257"/>
              <a:chExt cx="4006717" cy="3669345"/>
            </a:xfrm>
          </p:grpSpPr>
          <p:grpSp>
            <p:nvGrpSpPr>
              <p:cNvPr id="19" name="Graphic 6">
                <a:extLst>
                  <a:ext uri="{FF2B5EF4-FFF2-40B4-BE49-F238E27FC236}">
                    <a16:creationId xmlns:a16="http://schemas.microsoft.com/office/drawing/2014/main" id="{8A86297F-7303-E8B3-D96D-CA4A682827E6}"/>
                  </a:ext>
                </a:extLst>
              </p:cNvPr>
              <p:cNvGrpSpPr/>
              <p:nvPr/>
            </p:nvGrpSpPr>
            <p:grpSpPr>
              <a:xfrm>
                <a:off x="-12394315" y="2136257"/>
                <a:ext cx="2480746" cy="3669345"/>
                <a:chOff x="-12394315" y="2136257"/>
                <a:chExt cx="2480746" cy="3669345"/>
              </a:xfrm>
            </p:grpSpPr>
            <p:grpSp>
              <p:nvGrpSpPr>
                <p:cNvPr id="36" name="Graphic 6">
                  <a:extLst>
                    <a:ext uri="{FF2B5EF4-FFF2-40B4-BE49-F238E27FC236}">
                      <a16:creationId xmlns:a16="http://schemas.microsoft.com/office/drawing/2014/main" id="{A3250312-0A6D-3492-D890-0D97ADB8A4AD}"/>
                    </a:ext>
                  </a:extLst>
                </p:cNvPr>
                <p:cNvGrpSpPr/>
                <p:nvPr/>
              </p:nvGrpSpPr>
              <p:grpSpPr>
                <a:xfrm>
                  <a:off x="-12394315" y="2136257"/>
                  <a:ext cx="2480746" cy="3669345"/>
                  <a:chOff x="-12394315" y="2136257"/>
                  <a:chExt cx="2480746" cy="3669345"/>
                </a:xfrm>
              </p:grpSpPr>
              <p:sp>
                <p:nvSpPr>
                  <p:cNvPr id="40" name="Freeform 39">
                    <a:extLst>
                      <a:ext uri="{FF2B5EF4-FFF2-40B4-BE49-F238E27FC236}">
                        <a16:creationId xmlns:a16="http://schemas.microsoft.com/office/drawing/2014/main" id="{9026859B-9900-3307-C7F5-7F38057F7961}"/>
                      </a:ext>
                    </a:extLst>
                  </p:cNvPr>
                  <p:cNvSpPr/>
                  <p:nvPr/>
                </p:nvSpPr>
                <p:spPr>
                  <a:xfrm>
                    <a:off x="-12178674" y="3689240"/>
                    <a:ext cx="836249" cy="1834954"/>
                  </a:xfrm>
                  <a:custGeom>
                    <a:avLst/>
                    <a:gdLst>
                      <a:gd name="connsiteX0" fmla="*/ 163 w 836249"/>
                      <a:gd name="connsiteY0" fmla="*/ 1557117 h 1834954"/>
                      <a:gd name="connsiteX1" fmla="*/ 29145 w 836249"/>
                      <a:gd name="connsiteY1" fmla="*/ 1353136 h 1834954"/>
                      <a:gd name="connsiteX2" fmla="*/ 95891 w 836249"/>
                      <a:gd name="connsiteY2" fmla="*/ 0 h 1834954"/>
                      <a:gd name="connsiteX3" fmla="*/ 813416 w 836249"/>
                      <a:gd name="connsiteY3" fmla="*/ 31652 h 1834954"/>
                      <a:gd name="connsiteX4" fmla="*/ 826589 w 836249"/>
                      <a:gd name="connsiteY4" fmla="*/ 371915 h 1834954"/>
                      <a:gd name="connsiteX5" fmla="*/ 836250 w 836249"/>
                      <a:gd name="connsiteY5" fmla="*/ 1670538 h 1834954"/>
                      <a:gd name="connsiteX6" fmla="*/ 775651 w 836249"/>
                      <a:gd name="connsiteY6" fmla="*/ 1762858 h 1834954"/>
                      <a:gd name="connsiteX7" fmla="*/ 746669 w 836249"/>
                      <a:gd name="connsiteY7" fmla="*/ 1825283 h 1834954"/>
                      <a:gd name="connsiteX8" fmla="*/ 614055 w 836249"/>
                      <a:gd name="connsiteY8" fmla="*/ 1834954 h 1834954"/>
                      <a:gd name="connsiteX9" fmla="*/ 597368 w 836249"/>
                      <a:gd name="connsiteY9" fmla="*/ 1776046 h 1834954"/>
                      <a:gd name="connsiteX10" fmla="*/ 518326 w 836249"/>
                      <a:gd name="connsiteY10" fmla="*/ 1664384 h 1834954"/>
                      <a:gd name="connsiteX11" fmla="*/ 451580 w 836249"/>
                      <a:gd name="connsiteY11" fmla="*/ 534572 h 1834954"/>
                      <a:gd name="connsiteX12" fmla="*/ 451580 w 836249"/>
                      <a:gd name="connsiteY12" fmla="*/ 232117 h 1834954"/>
                      <a:gd name="connsiteX13" fmla="*/ 257488 w 836249"/>
                      <a:gd name="connsiteY13" fmla="*/ 1753186 h 1834954"/>
                      <a:gd name="connsiteX14" fmla="*/ 250462 w 836249"/>
                      <a:gd name="connsiteY14" fmla="*/ 1753186 h 1834954"/>
                      <a:gd name="connsiteX15" fmla="*/ 236410 w 836249"/>
                      <a:gd name="connsiteY15" fmla="*/ 1804181 h 1834954"/>
                      <a:gd name="connsiteX16" fmla="*/ 80083 w 836249"/>
                      <a:gd name="connsiteY16" fmla="*/ 1795389 h 1834954"/>
                      <a:gd name="connsiteX17" fmla="*/ 61640 w 836249"/>
                      <a:gd name="connsiteY17" fmla="*/ 1738239 h 1834954"/>
                      <a:gd name="connsiteX18" fmla="*/ 51101 w 836249"/>
                      <a:gd name="connsiteY18" fmla="*/ 1738239 h 1834954"/>
                      <a:gd name="connsiteX19" fmla="*/ 163 w 836249"/>
                      <a:gd name="connsiteY19" fmla="*/ 1556238 h 1834954"/>
                      <a:gd name="connsiteX20" fmla="*/ 163 w 836249"/>
                      <a:gd name="connsiteY20" fmla="*/ 1556238 h 1834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836249" h="1834954">
                        <a:moveTo>
                          <a:pt x="163" y="1557117"/>
                        </a:moveTo>
                        <a:cubicBezTo>
                          <a:pt x="3676" y="1442817"/>
                          <a:pt x="29145" y="1353136"/>
                          <a:pt x="29145" y="1353136"/>
                        </a:cubicBezTo>
                        <a:lnTo>
                          <a:pt x="95891" y="0"/>
                        </a:lnTo>
                        <a:lnTo>
                          <a:pt x="813416" y="31652"/>
                        </a:lnTo>
                        <a:lnTo>
                          <a:pt x="826589" y="371915"/>
                        </a:lnTo>
                        <a:lnTo>
                          <a:pt x="836250" y="1670538"/>
                        </a:lnTo>
                        <a:cubicBezTo>
                          <a:pt x="836250" y="1670538"/>
                          <a:pt x="807268" y="1747031"/>
                          <a:pt x="775651" y="1762858"/>
                        </a:cubicBezTo>
                        <a:lnTo>
                          <a:pt x="746669" y="1825283"/>
                        </a:lnTo>
                        <a:lnTo>
                          <a:pt x="614055" y="1834954"/>
                        </a:lnTo>
                        <a:lnTo>
                          <a:pt x="597368" y="1776046"/>
                        </a:lnTo>
                        <a:cubicBezTo>
                          <a:pt x="597368" y="1776046"/>
                          <a:pt x="518326" y="1734722"/>
                          <a:pt x="518326" y="1664384"/>
                        </a:cubicBezTo>
                        <a:cubicBezTo>
                          <a:pt x="518326" y="1594045"/>
                          <a:pt x="451580" y="534572"/>
                          <a:pt x="451580" y="534572"/>
                        </a:cubicBezTo>
                        <a:lnTo>
                          <a:pt x="451580" y="232117"/>
                        </a:lnTo>
                        <a:cubicBezTo>
                          <a:pt x="451580" y="232117"/>
                          <a:pt x="362877" y="1674055"/>
                          <a:pt x="257488" y="1753186"/>
                        </a:cubicBezTo>
                        <a:lnTo>
                          <a:pt x="250462" y="1753186"/>
                        </a:lnTo>
                        <a:lnTo>
                          <a:pt x="236410" y="1804181"/>
                        </a:lnTo>
                        <a:lnTo>
                          <a:pt x="80083" y="1795389"/>
                        </a:lnTo>
                        <a:lnTo>
                          <a:pt x="61640" y="1738239"/>
                        </a:lnTo>
                        <a:lnTo>
                          <a:pt x="51101" y="1738239"/>
                        </a:lnTo>
                        <a:cubicBezTo>
                          <a:pt x="51101" y="1738239"/>
                          <a:pt x="-3350" y="1670538"/>
                          <a:pt x="163" y="1556238"/>
                        </a:cubicBezTo>
                        <a:lnTo>
                          <a:pt x="163" y="1556238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eform 40">
                    <a:extLst>
                      <a:ext uri="{FF2B5EF4-FFF2-40B4-BE49-F238E27FC236}">
                        <a16:creationId xmlns:a16="http://schemas.microsoft.com/office/drawing/2014/main" id="{204B21E7-C4D2-08FA-7422-C6598575CB38}"/>
                      </a:ext>
                    </a:extLst>
                  </p:cNvPr>
                  <p:cNvSpPr/>
                  <p:nvPr/>
                </p:nvSpPr>
                <p:spPr>
                  <a:xfrm>
                    <a:off x="-12394315" y="2721448"/>
                    <a:ext cx="481974" cy="928012"/>
                  </a:xfrm>
                  <a:custGeom>
                    <a:avLst/>
                    <a:gdLst>
                      <a:gd name="connsiteX0" fmla="*/ 435365 w 481974"/>
                      <a:gd name="connsiteY0" fmla="*/ 1517 h 928012"/>
                      <a:gd name="connsiteX1" fmla="*/ 95485 w 481974"/>
                      <a:gd name="connsiteY1" fmla="*/ 95595 h 928012"/>
                      <a:gd name="connsiteX2" fmla="*/ 6782 w 481974"/>
                      <a:gd name="connsiteY2" fmla="*/ 864043 h 928012"/>
                      <a:gd name="connsiteX3" fmla="*/ 304507 w 481974"/>
                      <a:gd name="connsiteY3" fmla="*/ 921193 h 928012"/>
                      <a:gd name="connsiteX4" fmla="*/ 435365 w 481974"/>
                      <a:gd name="connsiteY4" fmla="*/ 638 h 928012"/>
                      <a:gd name="connsiteX5" fmla="*/ 435365 w 481974"/>
                      <a:gd name="connsiteY5" fmla="*/ 638 h 928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81974" h="928012">
                        <a:moveTo>
                          <a:pt x="435365" y="1517"/>
                        </a:moveTo>
                        <a:cubicBezTo>
                          <a:pt x="435365" y="1517"/>
                          <a:pt x="179796" y="-19584"/>
                          <a:pt x="95485" y="95595"/>
                        </a:cubicBezTo>
                        <a:cubicBezTo>
                          <a:pt x="95485" y="95595"/>
                          <a:pt x="-30104" y="576534"/>
                          <a:pt x="6782" y="864043"/>
                        </a:cubicBezTo>
                        <a:cubicBezTo>
                          <a:pt x="6782" y="864043"/>
                          <a:pt x="6782" y="952845"/>
                          <a:pt x="304507" y="921193"/>
                        </a:cubicBezTo>
                        <a:cubicBezTo>
                          <a:pt x="602231" y="889540"/>
                          <a:pt x="435365" y="638"/>
                          <a:pt x="435365" y="638"/>
                        </a:cubicBezTo>
                        <a:lnTo>
                          <a:pt x="435365" y="6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eform 41">
                    <a:extLst>
                      <a:ext uri="{FF2B5EF4-FFF2-40B4-BE49-F238E27FC236}">
                        <a16:creationId xmlns:a16="http://schemas.microsoft.com/office/drawing/2014/main" id="{03C0D732-24A3-FEBA-1752-E16809F4A388}"/>
                      </a:ext>
                    </a:extLst>
                  </p:cNvPr>
                  <p:cNvSpPr/>
                  <p:nvPr/>
                </p:nvSpPr>
                <p:spPr>
                  <a:xfrm>
                    <a:off x="-12347065" y="2669332"/>
                    <a:ext cx="1228076" cy="1249386"/>
                  </a:xfrm>
                  <a:custGeom>
                    <a:avLst/>
                    <a:gdLst>
                      <a:gd name="connsiteX0" fmla="*/ 97416 w 1228076"/>
                      <a:gd name="connsiteY0" fmla="*/ 886265 h 1249386"/>
                      <a:gd name="connsiteX1" fmla="*/ 158015 w 1228076"/>
                      <a:gd name="connsiteY1" fmla="*/ 914400 h 1249386"/>
                      <a:gd name="connsiteX2" fmla="*/ 158015 w 1228076"/>
                      <a:gd name="connsiteY2" fmla="*/ 911762 h 1249386"/>
                      <a:gd name="connsiteX3" fmla="*/ 185240 w 1228076"/>
                      <a:gd name="connsiteY3" fmla="*/ 911762 h 1249386"/>
                      <a:gd name="connsiteX4" fmla="*/ 220370 w 1228076"/>
                      <a:gd name="connsiteY4" fmla="*/ 903849 h 1249386"/>
                      <a:gd name="connsiteX5" fmla="*/ 220370 w 1228076"/>
                      <a:gd name="connsiteY5" fmla="*/ 917038 h 1249386"/>
                      <a:gd name="connsiteX6" fmla="*/ 245839 w 1228076"/>
                      <a:gd name="connsiteY6" fmla="*/ 1215097 h 1249386"/>
                      <a:gd name="connsiteX7" fmla="*/ 929990 w 1228076"/>
                      <a:gd name="connsiteY7" fmla="*/ 1227406 h 1249386"/>
                      <a:gd name="connsiteX8" fmla="*/ 1035379 w 1228076"/>
                      <a:gd name="connsiteY8" fmla="*/ 1249387 h 1249386"/>
                      <a:gd name="connsiteX9" fmla="*/ 1080169 w 1228076"/>
                      <a:gd name="connsiteY9" fmla="*/ 1227406 h 1249386"/>
                      <a:gd name="connsiteX10" fmla="*/ 1217175 w 1228076"/>
                      <a:gd name="connsiteY10" fmla="*/ 891540 h 1249386"/>
                      <a:gd name="connsiteX11" fmla="*/ 1224201 w 1228076"/>
                      <a:gd name="connsiteY11" fmla="*/ 762293 h 1249386"/>
                      <a:gd name="connsiteX12" fmla="*/ 1153064 w 1228076"/>
                      <a:gd name="connsiteY12" fmla="*/ 324436 h 1249386"/>
                      <a:gd name="connsiteX13" fmla="*/ 785958 w 1228076"/>
                      <a:gd name="connsiteY13" fmla="*/ 0 h 1249386"/>
                      <a:gd name="connsiteX14" fmla="*/ 522485 w 1228076"/>
                      <a:gd name="connsiteY14" fmla="*/ 21981 h 1249386"/>
                      <a:gd name="connsiteX15" fmla="*/ 508433 w 1228076"/>
                      <a:gd name="connsiteY15" fmla="*/ 19343 h 1249386"/>
                      <a:gd name="connsiteX16" fmla="*/ 503164 w 1228076"/>
                      <a:gd name="connsiteY16" fmla="*/ 19343 h 1249386"/>
                      <a:gd name="connsiteX17" fmla="*/ 491747 w 1228076"/>
                      <a:gd name="connsiteY17" fmla="*/ 22860 h 1249386"/>
                      <a:gd name="connsiteX18" fmla="*/ 200170 w 1228076"/>
                      <a:gd name="connsiteY18" fmla="*/ 144194 h 1249386"/>
                      <a:gd name="connsiteX19" fmla="*/ 4322 w 1228076"/>
                      <a:gd name="connsiteY19" fmla="*/ 659423 h 1249386"/>
                      <a:gd name="connsiteX20" fmla="*/ 98294 w 1228076"/>
                      <a:gd name="connsiteY20" fmla="*/ 888023 h 1249386"/>
                      <a:gd name="connsiteX21" fmla="*/ 97416 w 1228076"/>
                      <a:gd name="connsiteY21" fmla="*/ 888023 h 1249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228076" h="1249386">
                        <a:moveTo>
                          <a:pt x="97416" y="886265"/>
                        </a:moveTo>
                        <a:cubicBezTo>
                          <a:pt x="123763" y="901211"/>
                          <a:pt x="127276" y="902970"/>
                          <a:pt x="158015" y="914400"/>
                        </a:cubicBezTo>
                        <a:lnTo>
                          <a:pt x="158015" y="911762"/>
                        </a:lnTo>
                        <a:cubicBezTo>
                          <a:pt x="166797" y="912641"/>
                          <a:pt x="175580" y="912641"/>
                          <a:pt x="185240" y="911762"/>
                        </a:cubicBezTo>
                        <a:cubicBezTo>
                          <a:pt x="197536" y="910004"/>
                          <a:pt x="208953" y="906487"/>
                          <a:pt x="220370" y="903849"/>
                        </a:cubicBezTo>
                        <a:lnTo>
                          <a:pt x="220370" y="917038"/>
                        </a:lnTo>
                        <a:cubicBezTo>
                          <a:pt x="225639" y="1131570"/>
                          <a:pt x="245839" y="1215097"/>
                          <a:pt x="245839" y="1215097"/>
                        </a:cubicBezTo>
                        <a:cubicBezTo>
                          <a:pt x="245839" y="1215097"/>
                          <a:pt x="763124" y="1237957"/>
                          <a:pt x="929990" y="1227406"/>
                        </a:cubicBezTo>
                        <a:lnTo>
                          <a:pt x="1035379" y="1249387"/>
                        </a:lnTo>
                        <a:lnTo>
                          <a:pt x="1080169" y="1227406"/>
                        </a:lnTo>
                        <a:cubicBezTo>
                          <a:pt x="1159211" y="1187841"/>
                          <a:pt x="1182924" y="1014632"/>
                          <a:pt x="1217175" y="891540"/>
                        </a:cubicBezTo>
                        <a:cubicBezTo>
                          <a:pt x="1228592" y="849337"/>
                          <a:pt x="1231227" y="805375"/>
                          <a:pt x="1224201" y="762293"/>
                        </a:cubicBezTo>
                        <a:lnTo>
                          <a:pt x="1153064" y="324436"/>
                        </a:lnTo>
                        <a:cubicBezTo>
                          <a:pt x="1124082" y="86165"/>
                          <a:pt x="785958" y="0"/>
                          <a:pt x="785958" y="0"/>
                        </a:cubicBezTo>
                        <a:cubicBezTo>
                          <a:pt x="680569" y="43962"/>
                          <a:pt x="566398" y="29894"/>
                          <a:pt x="522485" y="21981"/>
                        </a:cubicBezTo>
                        <a:cubicBezTo>
                          <a:pt x="518094" y="20222"/>
                          <a:pt x="512825" y="19343"/>
                          <a:pt x="508433" y="19343"/>
                        </a:cubicBezTo>
                        <a:cubicBezTo>
                          <a:pt x="504042" y="19343"/>
                          <a:pt x="503164" y="19343"/>
                          <a:pt x="503164" y="19343"/>
                        </a:cubicBezTo>
                        <a:lnTo>
                          <a:pt x="491747" y="22860"/>
                        </a:lnTo>
                        <a:cubicBezTo>
                          <a:pt x="431148" y="36049"/>
                          <a:pt x="260769" y="96715"/>
                          <a:pt x="200170" y="144194"/>
                        </a:cubicBezTo>
                        <a:cubicBezTo>
                          <a:pt x="125520" y="202223"/>
                          <a:pt x="45600" y="465113"/>
                          <a:pt x="4322" y="659423"/>
                        </a:cubicBezTo>
                        <a:cubicBezTo>
                          <a:pt x="-13243" y="743829"/>
                          <a:pt x="23644" y="844941"/>
                          <a:pt x="98294" y="888023"/>
                        </a:cubicBezTo>
                        <a:lnTo>
                          <a:pt x="97416" y="8880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eform 42">
                    <a:extLst>
                      <a:ext uri="{FF2B5EF4-FFF2-40B4-BE49-F238E27FC236}">
                        <a16:creationId xmlns:a16="http://schemas.microsoft.com/office/drawing/2014/main" id="{284033AB-6B30-E9EB-7F66-0D0D3B866B18}"/>
                      </a:ext>
                    </a:extLst>
                  </p:cNvPr>
                  <p:cNvSpPr/>
                  <p:nvPr/>
                </p:nvSpPr>
                <p:spPr>
                  <a:xfrm>
                    <a:off x="-11912333" y="2136257"/>
                    <a:ext cx="421914" cy="572934"/>
                  </a:xfrm>
                  <a:custGeom>
                    <a:avLst/>
                    <a:gdLst>
                      <a:gd name="connsiteX0" fmla="*/ 35937 w 421914"/>
                      <a:gd name="connsiteY0" fmla="*/ 108407 h 572934"/>
                      <a:gd name="connsiteX1" fmla="*/ 63163 w 421914"/>
                      <a:gd name="connsiteY1" fmla="*/ 60050 h 572934"/>
                      <a:gd name="connsiteX2" fmla="*/ 173821 w 421914"/>
                      <a:gd name="connsiteY2" fmla="*/ 8175 h 572934"/>
                      <a:gd name="connsiteX3" fmla="*/ 288871 w 421914"/>
                      <a:gd name="connsiteY3" fmla="*/ 21364 h 572934"/>
                      <a:gd name="connsiteX4" fmla="*/ 306436 w 421914"/>
                      <a:gd name="connsiteY4" fmla="*/ 73238 h 572934"/>
                      <a:gd name="connsiteX5" fmla="*/ 367913 w 421914"/>
                      <a:gd name="connsiteY5" fmla="*/ 169074 h 572934"/>
                      <a:gd name="connsiteX6" fmla="*/ 421486 w 421914"/>
                      <a:gd name="connsiteY6" fmla="*/ 229741 h 572934"/>
                      <a:gd name="connsiteX7" fmla="*/ 406556 w 421914"/>
                      <a:gd name="connsiteY7" fmla="*/ 255239 h 572934"/>
                      <a:gd name="connsiteX8" fmla="*/ 407434 w 421914"/>
                      <a:gd name="connsiteY8" fmla="*/ 286012 h 572934"/>
                      <a:gd name="connsiteX9" fmla="*/ 389869 w 421914"/>
                      <a:gd name="connsiteY9" fmla="*/ 307113 h 572934"/>
                      <a:gd name="connsiteX10" fmla="*/ 407434 w 421914"/>
                      <a:gd name="connsiteY10" fmla="*/ 304476 h 572934"/>
                      <a:gd name="connsiteX11" fmla="*/ 407434 w 421914"/>
                      <a:gd name="connsiteY11" fmla="*/ 325577 h 572934"/>
                      <a:gd name="connsiteX12" fmla="*/ 411825 w 421914"/>
                      <a:gd name="connsiteY12" fmla="*/ 375693 h 572934"/>
                      <a:gd name="connsiteX13" fmla="*/ 325757 w 421914"/>
                      <a:gd name="connsiteY13" fmla="*/ 407346 h 572934"/>
                      <a:gd name="connsiteX14" fmla="*/ 309949 w 421914"/>
                      <a:gd name="connsiteY14" fmla="*/ 511974 h 572934"/>
                      <a:gd name="connsiteX15" fmla="*/ 350348 w 421914"/>
                      <a:gd name="connsiteY15" fmla="*/ 533955 h 572934"/>
                      <a:gd name="connsiteX16" fmla="*/ 53502 w 421914"/>
                      <a:gd name="connsiteY16" fmla="*/ 555057 h 572934"/>
                      <a:gd name="connsiteX17" fmla="*/ 103562 w 421914"/>
                      <a:gd name="connsiteY17" fmla="*/ 520767 h 572934"/>
                      <a:gd name="connsiteX18" fmla="*/ 128153 w 421914"/>
                      <a:gd name="connsiteY18" fmla="*/ 395916 h 572934"/>
                      <a:gd name="connsiteX19" fmla="*/ 116736 w 421914"/>
                      <a:gd name="connsiteY19" fmla="*/ 384486 h 572934"/>
                      <a:gd name="connsiteX20" fmla="*/ 49111 w 421914"/>
                      <a:gd name="connsiteY20" fmla="*/ 309751 h 572934"/>
                      <a:gd name="connsiteX21" fmla="*/ 35059 w 421914"/>
                      <a:gd name="connsiteY21" fmla="*/ 108407 h 572934"/>
                      <a:gd name="connsiteX22" fmla="*/ 35059 w 421914"/>
                      <a:gd name="connsiteY22" fmla="*/ 108407 h 572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421914" h="572934">
                        <a:moveTo>
                          <a:pt x="35937" y="108407"/>
                        </a:moveTo>
                        <a:cubicBezTo>
                          <a:pt x="41207" y="90823"/>
                          <a:pt x="49989" y="74117"/>
                          <a:pt x="63163" y="60050"/>
                        </a:cubicBezTo>
                        <a:cubicBezTo>
                          <a:pt x="102684" y="16967"/>
                          <a:pt x="173821" y="8175"/>
                          <a:pt x="173821" y="8175"/>
                        </a:cubicBezTo>
                        <a:cubicBezTo>
                          <a:pt x="239689" y="-11168"/>
                          <a:pt x="266037" y="8175"/>
                          <a:pt x="288871" y="21364"/>
                        </a:cubicBezTo>
                        <a:cubicBezTo>
                          <a:pt x="330148" y="47740"/>
                          <a:pt x="312584" y="67084"/>
                          <a:pt x="306436" y="73238"/>
                        </a:cubicBezTo>
                        <a:cubicBezTo>
                          <a:pt x="314340" y="79393"/>
                          <a:pt x="370548" y="126871"/>
                          <a:pt x="367913" y="169074"/>
                        </a:cubicBezTo>
                        <a:cubicBezTo>
                          <a:pt x="367913" y="181383"/>
                          <a:pt x="421486" y="229741"/>
                          <a:pt x="421486" y="229741"/>
                        </a:cubicBezTo>
                        <a:cubicBezTo>
                          <a:pt x="421486" y="229741"/>
                          <a:pt x="425877" y="247326"/>
                          <a:pt x="406556" y="255239"/>
                        </a:cubicBezTo>
                        <a:cubicBezTo>
                          <a:pt x="388112" y="263152"/>
                          <a:pt x="407434" y="286012"/>
                          <a:pt x="407434" y="286012"/>
                        </a:cubicBezTo>
                        <a:cubicBezTo>
                          <a:pt x="407434" y="286012"/>
                          <a:pt x="417094" y="298321"/>
                          <a:pt x="389869" y="307113"/>
                        </a:cubicBezTo>
                        <a:cubicBezTo>
                          <a:pt x="383721" y="308872"/>
                          <a:pt x="402164" y="302717"/>
                          <a:pt x="407434" y="304476"/>
                        </a:cubicBezTo>
                        <a:cubicBezTo>
                          <a:pt x="407434" y="304476"/>
                          <a:pt x="413582" y="315027"/>
                          <a:pt x="407434" y="325577"/>
                        </a:cubicBezTo>
                        <a:cubicBezTo>
                          <a:pt x="401286" y="335249"/>
                          <a:pt x="415338" y="364263"/>
                          <a:pt x="411825" y="375693"/>
                        </a:cubicBezTo>
                        <a:cubicBezTo>
                          <a:pt x="407434" y="392399"/>
                          <a:pt x="360009" y="402070"/>
                          <a:pt x="325757" y="407346"/>
                        </a:cubicBezTo>
                        <a:lnTo>
                          <a:pt x="309949" y="511974"/>
                        </a:lnTo>
                        <a:cubicBezTo>
                          <a:pt x="324879" y="531317"/>
                          <a:pt x="350348" y="533955"/>
                          <a:pt x="350348" y="533955"/>
                        </a:cubicBezTo>
                        <a:cubicBezTo>
                          <a:pt x="264280" y="606931"/>
                          <a:pt x="53502" y="555057"/>
                          <a:pt x="53502" y="555057"/>
                        </a:cubicBezTo>
                        <a:cubicBezTo>
                          <a:pt x="85119" y="548902"/>
                          <a:pt x="98292" y="530438"/>
                          <a:pt x="103562" y="520767"/>
                        </a:cubicBezTo>
                        <a:lnTo>
                          <a:pt x="128153" y="395916"/>
                        </a:lnTo>
                        <a:cubicBezTo>
                          <a:pt x="124640" y="395916"/>
                          <a:pt x="120248" y="391520"/>
                          <a:pt x="116736" y="384486"/>
                        </a:cubicBezTo>
                        <a:cubicBezTo>
                          <a:pt x="109710" y="370418"/>
                          <a:pt x="85997" y="340524"/>
                          <a:pt x="49111" y="309751"/>
                        </a:cubicBezTo>
                        <a:cubicBezTo>
                          <a:pt x="-71" y="268427"/>
                          <a:pt x="-24662" y="198089"/>
                          <a:pt x="35059" y="108407"/>
                        </a:cubicBezTo>
                        <a:lnTo>
                          <a:pt x="35059" y="10840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eform 43">
                    <a:extLst>
                      <a:ext uri="{FF2B5EF4-FFF2-40B4-BE49-F238E27FC236}">
                        <a16:creationId xmlns:a16="http://schemas.microsoft.com/office/drawing/2014/main" id="{49472F55-37E2-1094-D66F-E34753745EC6}"/>
                      </a:ext>
                    </a:extLst>
                  </p:cNvPr>
                  <p:cNvSpPr/>
                  <p:nvPr/>
                </p:nvSpPr>
                <p:spPr>
                  <a:xfrm>
                    <a:off x="-11908820" y="2136257"/>
                    <a:ext cx="419414" cy="414617"/>
                  </a:xfrm>
                  <a:custGeom>
                    <a:avLst/>
                    <a:gdLst>
                      <a:gd name="connsiteX0" fmla="*/ 32424 w 419414"/>
                      <a:gd name="connsiteY0" fmla="*/ 108407 h 414617"/>
                      <a:gd name="connsiteX1" fmla="*/ 59650 w 419414"/>
                      <a:gd name="connsiteY1" fmla="*/ 60050 h 414617"/>
                      <a:gd name="connsiteX2" fmla="*/ 170308 w 419414"/>
                      <a:gd name="connsiteY2" fmla="*/ 8175 h 414617"/>
                      <a:gd name="connsiteX3" fmla="*/ 285358 w 419414"/>
                      <a:gd name="connsiteY3" fmla="*/ 21364 h 414617"/>
                      <a:gd name="connsiteX4" fmla="*/ 302923 w 419414"/>
                      <a:gd name="connsiteY4" fmla="*/ 73238 h 414617"/>
                      <a:gd name="connsiteX5" fmla="*/ 302923 w 419414"/>
                      <a:gd name="connsiteY5" fmla="*/ 73238 h 414617"/>
                      <a:gd name="connsiteX6" fmla="*/ 249350 w 419414"/>
                      <a:gd name="connsiteY6" fmla="*/ 122475 h 414617"/>
                      <a:gd name="connsiteX7" fmla="*/ 217733 w 419414"/>
                      <a:gd name="connsiteY7" fmla="*/ 223587 h 414617"/>
                      <a:gd name="connsiteX8" fmla="*/ 325757 w 419414"/>
                      <a:gd name="connsiteY8" fmla="*/ 344920 h 414617"/>
                      <a:gd name="connsiteX9" fmla="*/ 339809 w 419414"/>
                      <a:gd name="connsiteY9" fmla="*/ 290408 h 414617"/>
                      <a:gd name="connsiteX10" fmla="*/ 396017 w 419414"/>
                      <a:gd name="connsiteY10" fmla="*/ 261394 h 414617"/>
                      <a:gd name="connsiteX11" fmla="*/ 403043 w 419414"/>
                      <a:gd name="connsiteY11" fmla="*/ 282495 h 414617"/>
                      <a:gd name="connsiteX12" fmla="*/ 361765 w 419414"/>
                      <a:gd name="connsiteY12" fmla="*/ 304476 h 414617"/>
                      <a:gd name="connsiteX13" fmla="*/ 361765 w 419414"/>
                      <a:gd name="connsiteY13" fmla="*/ 355471 h 414617"/>
                      <a:gd name="connsiteX14" fmla="*/ 410069 w 419414"/>
                      <a:gd name="connsiteY14" fmla="*/ 344920 h 414617"/>
                      <a:gd name="connsiteX15" fmla="*/ 413581 w 419414"/>
                      <a:gd name="connsiteY15" fmla="*/ 395916 h 414617"/>
                      <a:gd name="connsiteX16" fmla="*/ 288871 w 419414"/>
                      <a:gd name="connsiteY16" fmla="*/ 403829 h 414617"/>
                      <a:gd name="connsiteX17" fmla="*/ 217733 w 419414"/>
                      <a:gd name="connsiteY17" fmla="*/ 272823 h 414617"/>
                      <a:gd name="connsiteX18" fmla="*/ 210707 w 419414"/>
                      <a:gd name="connsiteY18" fmla="*/ 263152 h 414617"/>
                      <a:gd name="connsiteX19" fmla="*/ 141326 w 419414"/>
                      <a:gd name="connsiteY19" fmla="*/ 311510 h 414617"/>
                      <a:gd name="connsiteX20" fmla="*/ 162404 w 419414"/>
                      <a:gd name="connsiteY20" fmla="*/ 337887 h 414617"/>
                      <a:gd name="connsiteX21" fmla="*/ 142205 w 419414"/>
                      <a:gd name="connsiteY21" fmla="*/ 383607 h 414617"/>
                      <a:gd name="connsiteX22" fmla="*/ 116735 w 419414"/>
                      <a:gd name="connsiteY22" fmla="*/ 385365 h 414617"/>
                      <a:gd name="connsiteX23" fmla="*/ 49111 w 419414"/>
                      <a:gd name="connsiteY23" fmla="*/ 310630 h 414617"/>
                      <a:gd name="connsiteX24" fmla="*/ 35059 w 419414"/>
                      <a:gd name="connsiteY24" fmla="*/ 109287 h 414617"/>
                      <a:gd name="connsiteX25" fmla="*/ 33302 w 419414"/>
                      <a:gd name="connsiteY25" fmla="*/ 109287 h 4146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19414" h="414617">
                        <a:moveTo>
                          <a:pt x="32424" y="108407"/>
                        </a:moveTo>
                        <a:cubicBezTo>
                          <a:pt x="37694" y="90823"/>
                          <a:pt x="46476" y="74117"/>
                          <a:pt x="59650" y="60050"/>
                        </a:cubicBezTo>
                        <a:cubicBezTo>
                          <a:pt x="99171" y="16967"/>
                          <a:pt x="170308" y="8175"/>
                          <a:pt x="170308" y="8175"/>
                        </a:cubicBezTo>
                        <a:cubicBezTo>
                          <a:pt x="236176" y="-11168"/>
                          <a:pt x="262524" y="8175"/>
                          <a:pt x="285358" y="21364"/>
                        </a:cubicBezTo>
                        <a:cubicBezTo>
                          <a:pt x="326636" y="47740"/>
                          <a:pt x="309071" y="67084"/>
                          <a:pt x="302923" y="73238"/>
                        </a:cubicBezTo>
                        <a:lnTo>
                          <a:pt x="302923" y="73238"/>
                        </a:lnTo>
                        <a:cubicBezTo>
                          <a:pt x="302923" y="73238"/>
                          <a:pt x="286236" y="107528"/>
                          <a:pt x="249350" y="122475"/>
                        </a:cubicBezTo>
                        <a:cubicBezTo>
                          <a:pt x="170308" y="153248"/>
                          <a:pt x="214220" y="214794"/>
                          <a:pt x="217733" y="223587"/>
                        </a:cubicBezTo>
                        <a:cubicBezTo>
                          <a:pt x="224759" y="240292"/>
                          <a:pt x="287115" y="322060"/>
                          <a:pt x="325757" y="344920"/>
                        </a:cubicBezTo>
                        <a:cubicBezTo>
                          <a:pt x="327514" y="330853"/>
                          <a:pt x="331905" y="303597"/>
                          <a:pt x="339809" y="290408"/>
                        </a:cubicBezTo>
                        <a:cubicBezTo>
                          <a:pt x="352104" y="270186"/>
                          <a:pt x="396017" y="261394"/>
                          <a:pt x="396017" y="261394"/>
                        </a:cubicBezTo>
                        <a:cubicBezTo>
                          <a:pt x="400408" y="266669"/>
                          <a:pt x="403043" y="276340"/>
                          <a:pt x="403043" y="282495"/>
                        </a:cubicBezTo>
                        <a:cubicBezTo>
                          <a:pt x="403043" y="282495"/>
                          <a:pt x="381087" y="278978"/>
                          <a:pt x="361765" y="304476"/>
                        </a:cubicBezTo>
                        <a:cubicBezTo>
                          <a:pt x="354739" y="313268"/>
                          <a:pt x="358252" y="344920"/>
                          <a:pt x="361765" y="355471"/>
                        </a:cubicBezTo>
                        <a:cubicBezTo>
                          <a:pt x="399530" y="351075"/>
                          <a:pt x="410069" y="344920"/>
                          <a:pt x="410069" y="344920"/>
                        </a:cubicBezTo>
                        <a:cubicBezTo>
                          <a:pt x="410069" y="344920"/>
                          <a:pt x="428512" y="379210"/>
                          <a:pt x="413581" y="395916"/>
                        </a:cubicBezTo>
                        <a:cubicBezTo>
                          <a:pt x="397773" y="412621"/>
                          <a:pt x="311705" y="424051"/>
                          <a:pt x="288871" y="403829"/>
                        </a:cubicBezTo>
                        <a:cubicBezTo>
                          <a:pt x="267793" y="385365"/>
                          <a:pt x="226516" y="292167"/>
                          <a:pt x="217733" y="272823"/>
                        </a:cubicBezTo>
                        <a:cubicBezTo>
                          <a:pt x="215977" y="271065"/>
                          <a:pt x="213342" y="268427"/>
                          <a:pt x="210707" y="263152"/>
                        </a:cubicBezTo>
                        <a:cubicBezTo>
                          <a:pt x="168552" y="192813"/>
                          <a:pt x="96536" y="231500"/>
                          <a:pt x="141326" y="311510"/>
                        </a:cubicBezTo>
                        <a:cubicBezTo>
                          <a:pt x="147474" y="322060"/>
                          <a:pt x="154500" y="330853"/>
                          <a:pt x="162404" y="337887"/>
                        </a:cubicBezTo>
                        <a:cubicBezTo>
                          <a:pt x="150987" y="358109"/>
                          <a:pt x="146596" y="373056"/>
                          <a:pt x="142205" y="383607"/>
                        </a:cubicBezTo>
                        <a:cubicBezTo>
                          <a:pt x="135179" y="400312"/>
                          <a:pt x="124640" y="401191"/>
                          <a:pt x="116735" y="385365"/>
                        </a:cubicBezTo>
                        <a:cubicBezTo>
                          <a:pt x="109709" y="371297"/>
                          <a:pt x="85997" y="341403"/>
                          <a:pt x="49111" y="310630"/>
                        </a:cubicBezTo>
                        <a:cubicBezTo>
                          <a:pt x="-71" y="269307"/>
                          <a:pt x="-24662" y="198968"/>
                          <a:pt x="35059" y="109287"/>
                        </a:cubicBezTo>
                        <a:lnTo>
                          <a:pt x="33302" y="109287"/>
                        </a:lnTo>
                        <a:close/>
                      </a:path>
                    </a:pathLst>
                  </a:custGeom>
                  <a:solidFill>
                    <a:srgbClr val="4D260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eform 44">
                    <a:extLst>
                      <a:ext uri="{FF2B5EF4-FFF2-40B4-BE49-F238E27FC236}">
                        <a16:creationId xmlns:a16="http://schemas.microsoft.com/office/drawing/2014/main" id="{B1F7E57D-74A7-92DA-C4C9-1ED4682052A5}"/>
                      </a:ext>
                    </a:extLst>
                  </p:cNvPr>
                  <p:cNvSpPr/>
                  <p:nvPr/>
                </p:nvSpPr>
                <p:spPr>
                  <a:xfrm>
                    <a:off x="-11589492" y="5467924"/>
                    <a:ext cx="418819" cy="329711"/>
                  </a:xfrm>
                  <a:custGeom>
                    <a:avLst/>
                    <a:gdLst>
                      <a:gd name="connsiteX0" fmla="*/ 32777 w 418819"/>
                      <a:gd name="connsiteY0" fmla="*/ 41324 h 329711"/>
                      <a:gd name="connsiteX1" fmla="*/ 6430 w 418819"/>
                      <a:gd name="connsiteY1" fmla="*/ 35169 h 329711"/>
                      <a:gd name="connsiteX2" fmla="*/ 14334 w 418819"/>
                      <a:gd name="connsiteY2" fmla="*/ 151228 h 329711"/>
                      <a:gd name="connsiteX3" fmla="*/ 282 w 418819"/>
                      <a:gd name="connsiteY3" fmla="*/ 277837 h 329711"/>
                      <a:gd name="connsiteX4" fmla="*/ 282 w 418819"/>
                      <a:gd name="connsiteY4" fmla="*/ 329712 h 329711"/>
                      <a:gd name="connsiteX5" fmla="*/ 129384 w 418819"/>
                      <a:gd name="connsiteY5" fmla="*/ 329712 h 329711"/>
                      <a:gd name="connsiteX6" fmla="*/ 138166 w 418819"/>
                      <a:gd name="connsiteY6" fmla="*/ 291025 h 329711"/>
                      <a:gd name="connsiteX7" fmla="*/ 209304 w 418819"/>
                      <a:gd name="connsiteY7" fmla="*/ 329712 h 329711"/>
                      <a:gd name="connsiteX8" fmla="*/ 413934 w 418819"/>
                      <a:gd name="connsiteY8" fmla="*/ 329712 h 329711"/>
                      <a:gd name="connsiteX9" fmla="*/ 418326 w 418819"/>
                      <a:gd name="connsiteY9" fmla="*/ 277837 h 329711"/>
                      <a:gd name="connsiteX10" fmla="*/ 378805 w 418819"/>
                      <a:gd name="connsiteY10" fmla="*/ 211895 h 329711"/>
                      <a:gd name="connsiteX11" fmla="*/ 204913 w 418819"/>
                      <a:gd name="connsiteY11" fmla="*/ 107266 h 329711"/>
                      <a:gd name="connsiteX12" fmla="*/ 179444 w 418819"/>
                      <a:gd name="connsiteY12" fmla="*/ 0 h 329711"/>
                      <a:gd name="connsiteX13" fmla="*/ 102158 w 418819"/>
                      <a:gd name="connsiteY13" fmla="*/ 21981 h 329711"/>
                      <a:gd name="connsiteX14" fmla="*/ 32777 w 418819"/>
                      <a:gd name="connsiteY14" fmla="*/ 41324 h 3297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18819" h="329711">
                        <a:moveTo>
                          <a:pt x="32777" y="41324"/>
                        </a:moveTo>
                        <a:cubicBezTo>
                          <a:pt x="32777" y="41324"/>
                          <a:pt x="-4987" y="10551"/>
                          <a:pt x="6430" y="35169"/>
                        </a:cubicBezTo>
                        <a:cubicBezTo>
                          <a:pt x="17847" y="59788"/>
                          <a:pt x="11699" y="137160"/>
                          <a:pt x="14334" y="151228"/>
                        </a:cubicBezTo>
                        <a:cubicBezTo>
                          <a:pt x="14334" y="151228"/>
                          <a:pt x="-2353" y="225962"/>
                          <a:pt x="282" y="277837"/>
                        </a:cubicBezTo>
                        <a:lnTo>
                          <a:pt x="282" y="329712"/>
                        </a:lnTo>
                        <a:lnTo>
                          <a:pt x="129384" y="329712"/>
                        </a:lnTo>
                        <a:lnTo>
                          <a:pt x="138166" y="291025"/>
                        </a:lnTo>
                        <a:cubicBezTo>
                          <a:pt x="138166" y="291025"/>
                          <a:pt x="179444" y="299818"/>
                          <a:pt x="209304" y="329712"/>
                        </a:cubicBezTo>
                        <a:lnTo>
                          <a:pt x="413934" y="329712"/>
                        </a:lnTo>
                        <a:lnTo>
                          <a:pt x="418326" y="277837"/>
                        </a:lnTo>
                        <a:cubicBezTo>
                          <a:pt x="418326" y="277837"/>
                          <a:pt x="426230" y="240030"/>
                          <a:pt x="378805" y="211895"/>
                        </a:cubicBezTo>
                        <a:cubicBezTo>
                          <a:pt x="356849" y="199585"/>
                          <a:pt x="261120" y="201344"/>
                          <a:pt x="204913" y="107266"/>
                        </a:cubicBezTo>
                        <a:cubicBezTo>
                          <a:pt x="166270" y="42203"/>
                          <a:pt x="179444" y="0"/>
                          <a:pt x="179444" y="0"/>
                        </a:cubicBezTo>
                        <a:cubicBezTo>
                          <a:pt x="179444" y="0"/>
                          <a:pt x="116210" y="0"/>
                          <a:pt x="102158" y="21981"/>
                        </a:cubicBezTo>
                        <a:cubicBezTo>
                          <a:pt x="88106" y="43962"/>
                          <a:pt x="32777" y="41324"/>
                          <a:pt x="32777" y="41324"/>
                        </a:cubicBez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eform 45">
                    <a:extLst>
                      <a:ext uri="{FF2B5EF4-FFF2-40B4-BE49-F238E27FC236}">
                        <a16:creationId xmlns:a16="http://schemas.microsoft.com/office/drawing/2014/main" id="{F1E2D671-21A6-8CA1-7314-B3C9BB4BFD46}"/>
                      </a:ext>
                    </a:extLst>
                  </p:cNvPr>
                  <p:cNvSpPr/>
                  <p:nvPr/>
                </p:nvSpPr>
                <p:spPr>
                  <a:xfrm>
                    <a:off x="-12205541" y="5475665"/>
                    <a:ext cx="265034" cy="329937"/>
                  </a:xfrm>
                  <a:custGeom>
                    <a:avLst/>
                    <a:gdLst>
                      <a:gd name="connsiteX0" fmla="*/ 108707 w 265034"/>
                      <a:gd name="connsiteY0" fmla="*/ 44133 h 329937"/>
                      <a:gd name="connsiteX1" fmla="*/ 55134 w 265034"/>
                      <a:gd name="connsiteY1" fmla="*/ 160192 h 329937"/>
                      <a:gd name="connsiteX2" fmla="*/ 1561 w 265034"/>
                      <a:gd name="connsiteY2" fmla="*/ 241081 h 329937"/>
                      <a:gd name="connsiteX3" fmla="*/ 1561 w 265034"/>
                      <a:gd name="connsiteY3" fmla="*/ 317574 h 329937"/>
                      <a:gd name="connsiteX4" fmla="*/ 245713 w 265034"/>
                      <a:gd name="connsiteY4" fmla="*/ 294714 h 329937"/>
                      <a:gd name="connsiteX5" fmla="*/ 263278 w 265034"/>
                      <a:gd name="connsiteY5" fmla="*/ 154037 h 329937"/>
                      <a:gd name="connsiteX6" fmla="*/ 265034 w 265034"/>
                      <a:gd name="connsiteY6" fmla="*/ 10723 h 329937"/>
                      <a:gd name="connsiteX7" fmla="*/ 125393 w 265034"/>
                      <a:gd name="connsiteY7" fmla="*/ 172 h 329937"/>
                      <a:gd name="connsiteX8" fmla="*/ 108707 w 265034"/>
                      <a:gd name="connsiteY8" fmla="*/ 44133 h 329937"/>
                      <a:gd name="connsiteX9" fmla="*/ 109585 w 265034"/>
                      <a:gd name="connsiteY9" fmla="*/ 44133 h 329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5034" h="329937">
                        <a:moveTo>
                          <a:pt x="108707" y="44133"/>
                        </a:moveTo>
                        <a:cubicBezTo>
                          <a:pt x="108707" y="44133"/>
                          <a:pt x="103437" y="117989"/>
                          <a:pt x="55134" y="160192"/>
                        </a:cubicBezTo>
                        <a:cubicBezTo>
                          <a:pt x="55134" y="160192"/>
                          <a:pt x="5074" y="192723"/>
                          <a:pt x="1561" y="241081"/>
                        </a:cubicBezTo>
                        <a:cubicBezTo>
                          <a:pt x="-1952" y="283284"/>
                          <a:pt x="1561" y="317574"/>
                          <a:pt x="1561" y="317574"/>
                        </a:cubicBezTo>
                        <a:cubicBezTo>
                          <a:pt x="1561" y="317574"/>
                          <a:pt x="200922" y="357140"/>
                          <a:pt x="245713" y="294714"/>
                        </a:cubicBezTo>
                        <a:cubicBezTo>
                          <a:pt x="245713" y="294714"/>
                          <a:pt x="268547" y="204154"/>
                          <a:pt x="263278" y="154037"/>
                        </a:cubicBezTo>
                        <a:cubicBezTo>
                          <a:pt x="258008" y="103921"/>
                          <a:pt x="265034" y="10723"/>
                          <a:pt x="265034" y="10723"/>
                        </a:cubicBezTo>
                        <a:cubicBezTo>
                          <a:pt x="265034" y="10723"/>
                          <a:pt x="133298" y="-1586"/>
                          <a:pt x="125393" y="172"/>
                        </a:cubicBezTo>
                        <a:cubicBezTo>
                          <a:pt x="118368" y="1930"/>
                          <a:pt x="108707" y="44133"/>
                          <a:pt x="108707" y="44133"/>
                        </a:cubicBezTo>
                        <a:lnTo>
                          <a:pt x="109585" y="44133"/>
                        </a:ln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eform 46">
                    <a:extLst>
                      <a:ext uri="{FF2B5EF4-FFF2-40B4-BE49-F238E27FC236}">
                        <a16:creationId xmlns:a16="http://schemas.microsoft.com/office/drawing/2014/main" id="{3B1AD537-B470-6695-F6B9-967349D10C25}"/>
                      </a:ext>
                    </a:extLst>
                  </p:cNvPr>
                  <p:cNvSpPr/>
                  <p:nvPr/>
                </p:nvSpPr>
                <p:spPr>
                  <a:xfrm>
                    <a:off x="-12144260" y="2715053"/>
                    <a:ext cx="329838" cy="862525"/>
                  </a:xfrm>
                  <a:custGeom>
                    <a:avLst/>
                    <a:gdLst>
                      <a:gd name="connsiteX0" fmla="*/ 103633 w 329838"/>
                      <a:gd name="connsiteY0" fmla="*/ 31652 h 862525"/>
                      <a:gd name="connsiteX1" fmla="*/ 189700 w 329838"/>
                      <a:gd name="connsiteY1" fmla="*/ 0 h 862525"/>
                      <a:gd name="connsiteX2" fmla="*/ 305628 w 329838"/>
                      <a:gd name="connsiteY2" fmla="*/ 504678 h 862525"/>
                      <a:gd name="connsiteX3" fmla="*/ 0 w 329838"/>
                      <a:gd name="connsiteY3" fmla="*/ 862525 h 862525"/>
                      <a:gd name="connsiteX4" fmla="*/ 103633 w 329838"/>
                      <a:gd name="connsiteY4" fmla="*/ 31652 h 862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9838" h="862525">
                        <a:moveTo>
                          <a:pt x="103633" y="31652"/>
                        </a:moveTo>
                        <a:lnTo>
                          <a:pt x="189700" y="0"/>
                        </a:lnTo>
                        <a:cubicBezTo>
                          <a:pt x="189700" y="0"/>
                          <a:pt x="399600" y="269924"/>
                          <a:pt x="305628" y="504678"/>
                        </a:cubicBezTo>
                        <a:cubicBezTo>
                          <a:pt x="211656" y="740312"/>
                          <a:pt x="0" y="862525"/>
                          <a:pt x="0" y="862525"/>
                        </a:cubicBezTo>
                        <a:cubicBezTo>
                          <a:pt x="0" y="862525"/>
                          <a:pt x="454051" y="622495"/>
                          <a:pt x="103633" y="3165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 47">
                    <a:extLst>
                      <a:ext uri="{FF2B5EF4-FFF2-40B4-BE49-F238E27FC236}">
                        <a16:creationId xmlns:a16="http://schemas.microsoft.com/office/drawing/2014/main" id="{C64B7A5E-A314-0262-DDDA-A0E3CFCF4C47}"/>
                      </a:ext>
                    </a:extLst>
                  </p:cNvPr>
                  <p:cNvSpPr/>
                  <p:nvPr/>
                </p:nvSpPr>
                <p:spPr>
                  <a:xfrm>
                    <a:off x="-12175876" y="2827120"/>
                    <a:ext cx="360797" cy="516625"/>
                  </a:xfrm>
                  <a:custGeom>
                    <a:avLst/>
                    <a:gdLst>
                      <a:gd name="connsiteX0" fmla="*/ 302994 w 360797"/>
                      <a:gd name="connsiteY0" fmla="*/ 35643 h 516625"/>
                      <a:gd name="connsiteX1" fmla="*/ 319680 w 360797"/>
                      <a:gd name="connsiteY1" fmla="*/ 8387 h 516625"/>
                      <a:gd name="connsiteX2" fmla="*/ 288942 w 360797"/>
                      <a:gd name="connsiteY2" fmla="*/ 3991 h 516625"/>
                      <a:gd name="connsiteX3" fmla="*/ 214291 w 360797"/>
                      <a:gd name="connsiteY3" fmla="*/ 47073 h 516625"/>
                      <a:gd name="connsiteX4" fmla="*/ 189700 w 360797"/>
                      <a:gd name="connsiteY4" fmla="*/ 149064 h 516625"/>
                      <a:gd name="connsiteX5" fmla="*/ 194970 w 360797"/>
                      <a:gd name="connsiteY5" fmla="*/ 210610 h 516625"/>
                      <a:gd name="connsiteX6" fmla="*/ 0 w 360797"/>
                      <a:gd name="connsiteY6" fmla="*/ 415471 h 516625"/>
                      <a:gd name="connsiteX7" fmla="*/ 132615 w 360797"/>
                      <a:gd name="connsiteY7" fmla="*/ 514824 h 516625"/>
                      <a:gd name="connsiteX8" fmla="*/ 262594 w 360797"/>
                      <a:gd name="connsiteY8" fmla="*/ 328427 h 516625"/>
                      <a:gd name="connsiteX9" fmla="*/ 286307 w 360797"/>
                      <a:gd name="connsiteY9" fmla="*/ 224678 h 516625"/>
                      <a:gd name="connsiteX10" fmla="*/ 309141 w 360797"/>
                      <a:gd name="connsiteY10" fmla="*/ 186871 h 516625"/>
                      <a:gd name="connsiteX11" fmla="*/ 355688 w 360797"/>
                      <a:gd name="connsiteY11" fmla="*/ 127083 h 516625"/>
                      <a:gd name="connsiteX12" fmla="*/ 339880 w 360797"/>
                      <a:gd name="connsiteY12" fmla="*/ 98069 h 516625"/>
                      <a:gd name="connsiteX13" fmla="*/ 279281 w 360797"/>
                      <a:gd name="connsiteY13" fmla="*/ 153460 h 516625"/>
                      <a:gd name="connsiteX14" fmla="*/ 346028 w 360797"/>
                      <a:gd name="connsiteY14" fmla="*/ 91914 h 516625"/>
                      <a:gd name="connsiteX15" fmla="*/ 335489 w 360797"/>
                      <a:gd name="connsiteY15" fmla="*/ 61141 h 516625"/>
                      <a:gd name="connsiteX16" fmla="*/ 262594 w 360797"/>
                      <a:gd name="connsiteY16" fmla="*/ 113016 h 516625"/>
                      <a:gd name="connsiteX17" fmla="*/ 329341 w 360797"/>
                      <a:gd name="connsiteY17" fmla="*/ 56745 h 516625"/>
                      <a:gd name="connsiteX18" fmla="*/ 302115 w 360797"/>
                      <a:gd name="connsiteY18" fmla="*/ 35643 h 516625"/>
                      <a:gd name="connsiteX19" fmla="*/ 247664 w 360797"/>
                      <a:gd name="connsiteY19" fmla="*/ 73450 h 516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60797" h="516625">
                        <a:moveTo>
                          <a:pt x="302994" y="35643"/>
                        </a:moveTo>
                        <a:cubicBezTo>
                          <a:pt x="302994" y="35643"/>
                          <a:pt x="328463" y="24213"/>
                          <a:pt x="319680" y="8387"/>
                        </a:cubicBezTo>
                        <a:cubicBezTo>
                          <a:pt x="311776" y="-7439"/>
                          <a:pt x="288942" y="3991"/>
                          <a:pt x="288942" y="3991"/>
                        </a:cubicBezTo>
                        <a:cubicBezTo>
                          <a:pt x="288942" y="3991"/>
                          <a:pt x="230978" y="35643"/>
                          <a:pt x="214291" y="47073"/>
                        </a:cubicBezTo>
                        <a:cubicBezTo>
                          <a:pt x="197605" y="58503"/>
                          <a:pt x="180918" y="84880"/>
                          <a:pt x="189700" y="149064"/>
                        </a:cubicBezTo>
                        <a:cubicBezTo>
                          <a:pt x="191457" y="180716"/>
                          <a:pt x="194970" y="210610"/>
                          <a:pt x="194970" y="210610"/>
                        </a:cubicBezTo>
                        <a:cubicBezTo>
                          <a:pt x="194970" y="232591"/>
                          <a:pt x="0" y="415471"/>
                          <a:pt x="0" y="415471"/>
                        </a:cubicBezTo>
                        <a:cubicBezTo>
                          <a:pt x="0" y="415471"/>
                          <a:pt x="26347" y="532409"/>
                          <a:pt x="132615" y="514824"/>
                        </a:cubicBezTo>
                        <a:lnTo>
                          <a:pt x="262594" y="328427"/>
                        </a:lnTo>
                        <a:cubicBezTo>
                          <a:pt x="283672" y="294137"/>
                          <a:pt x="285429" y="263364"/>
                          <a:pt x="286307" y="224678"/>
                        </a:cubicBezTo>
                        <a:cubicBezTo>
                          <a:pt x="290698" y="207973"/>
                          <a:pt x="304750" y="193026"/>
                          <a:pt x="309141" y="186871"/>
                        </a:cubicBezTo>
                        <a:cubicBezTo>
                          <a:pt x="309141" y="186871"/>
                          <a:pt x="344271" y="140272"/>
                          <a:pt x="355688" y="127083"/>
                        </a:cubicBezTo>
                        <a:cubicBezTo>
                          <a:pt x="367105" y="113895"/>
                          <a:pt x="358323" y="89276"/>
                          <a:pt x="339880" y="98069"/>
                        </a:cubicBezTo>
                        <a:cubicBezTo>
                          <a:pt x="329341" y="103344"/>
                          <a:pt x="279281" y="153460"/>
                          <a:pt x="279281" y="153460"/>
                        </a:cubicBezTo>
                        <a:lnTo>
                          <a:pt x="346028" y="91914"/>
                        </a:lnTo>
                        <a:cubicBezTo>
                          <a:pt x="353053" y="85759"/>
                          <a:pt x="352175" y="55866"/>
                          <a:pt x="335489" y="61141"/>
                        </a:cubicBezTo>
                        <a:cubicBezTo>
                          <a:pt x="324071" y="64658"/>
                          <a:pt x="262594" y="113016"/>
                          <a:pt x="262594" y="113016"/>
                        </a:cubicBezTo>
                        <a:lnTo>
                          <a:pt x="329341" y="56745"/>
                        </a:lnTo>
                        <a:cubicBezTo>
                          <a:pt x="339880" y="45315"/>
                          <a:pt x="329341" y="18059"/>
                          <a:pt x="302115" y="35643"/>
                        </a:cubicBezTo>
                        <a:cubicBezTo>
                          <a:pt x="274890" y="53228"/>
                          <a:pt x="272255" y="53228"/>
                          <a:pt x="247664" y="73450"/>
                        </a:cubicBezTo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 48">
                    <a:extLst>
                      <a:ext uri="{FF2B5EF4-FFF2-40B4-BE49-F238E27FC236}">
                        <a16:creationId xmlns:a16="http://schemas.microsoft.com/office/drawing/2014/main" id="{2D9F1366-CE26-20E6-DC4E-A0C271085FA9}"/>
                      </a:ext>
                    </a:extLst>
                  </p:cNvPr>
                  <p:cNvSpPr/>
                  <p:nvPr/>
                </p:nvSpPr>
                <p:spPr>
                  <a:xfrm>
                    <a:off x="-11478552" y="3895859"/>
                    <a:ext cx="167744" cy="84406"/>
                  </a:xfrm>
                  <a:custGeom>
                    <a:avLst/>
                    <a:gdLst>
                      <a:gd name="connsiteX0" fmla="*/ 123832 w 167744"/>
                      <a:gd name="connsiteY0" fmla="*/ 84406 h 84406"/>
                      <a:gd name="connsiteX1" fmla="*/ 167744 w 167744"/>
                      <a:gd name="connsiteY1" fmla="*/ 21981 h 84406"/>
                      <a:gd name="connsiteX2" fmla="*/ 62355 w 167744"/>
                      <a:gd name="connsiteY2" fmla="*/ 0 h 84406"/>
                      <a:gd name="connsiteX3" fmla="*/ 0 w 167744"/>
                      <a:gd name="connsiteY3" fmla="*/ 2638 h 84406"/>
                      <a:gd name="connsiteX4" fmla="*/ 123832 w 167744"/>
                      <a:gd name="connsiteY4" fmla="*/ 83527 h 84406"/>
                      <a:gd name="connsiteX5" fmla="*/ 123832 w 167744"/>
                      <a:gd name="connsiteY5" fmla="*/ 83527 h 84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7744" h="84406">
                        <a:moveTo>
                          <a:pt x="123832" y="84406"/>
                        </a:moveTo>
                        <a:lnTo>
                          <a:pt x="167744" y="21981"/>
                        </a:lnTo>
                        <a:lnTo>
                          <a:pt x="62355" y="0"/>
                        </a:lnTo>
                        <a:cubicBezTo>
                          <a:pt x="62355" y="0"/>
                          <a:pt x="26347" y="2638"/>
                          <a:pt x="0" y="2638"/>
                        </a:cubicBezTo>
                        <a:cubicBezTo>
                          <a:pt x="50938" y="60667"/>
                          <a:pt x="123832" y="83527"/>
                          <a:pt x="123832" y="83527"/>
                        </a:cubicBezTo>
                        <a:lnTo>
                          <a:pt x="123832" y="8352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F7E9CC43-AB89-BFD5-458C-49518D902D99}"/>
                    </a:ext>
                  </a:extLst>
                </p:cNvPr>
                <p:cNvSpPr/>
                <p:nvPr/>
              </p:nvSpPr>
              <p:spPr>
                <a:xfrm>
                  <a:off x="-11431157" y="3442176"/>
                  <a:ext cx="73802" cy="454562"/>
                </a:xfrm>
                <a:custGeom>
                  <a:avLst/>
                  <a:gdLst>
                    <a:gd name="connsiteX0" fmla="*/ 14960 w 73802"/>
                    <a:gd name="connsiteY0" fmla="*/ 454562 h 454562"/>
                    <a:gd name="connsiteX1" fmla="*/ 30 w 73802"/>
                    <a:gd name="connsiteY1" fmla="*/ 398291 h 454562"/>
                    <a:gd name="connsiteX2" fmla="*/ 73802 w 73802"/>
                    <a:gd name="connsiteY2" fmla="*/ 0 h 454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802" h="454562">
                      <a:moveTo>
                        <a:pt x="14960" y="454562"/>
                      </a:moveTo>
                      <a:cubicBezTo>
                        <a:pt x="30" y="437857"/>
                        <a:pt x="30" y="430823"/>
                        <a:pt x="30" y="398291"/>
                      </a:cubicBezTo>
                      <a:cubicBezTo>
                        <a:pt x="-1726" y="251460"/>
                        <a:pt x="73802" y="134522"/>
                        <a:pt x="73802" y="0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39D82144-8214-F6FA-AF90-E251BBC5A05F}"/>
                    </a:ext>
                  </a:extLst>
                </p:cNvPr>
                <p:cNvSpPr/>
                <p:nvPr/>
              </p:nvSpPr>
              <p:spPr>
                <a:xfrm>
                  <a:off x="-12279509" y="3211427"/>
                  <a:ext cx="132614" cy="54023"/>
                </a:xfrm>
                <a:custGeom>
                  <a:avLst/>
                  <a:gdLst>
                    <a:gd name="connsiteX0" fmla="*/ 132615 w 132614"/>
                    <a:gd name="connsiteY0" fmla="*/ 3908 h 54023"/>
                    <a:gd name="connsiteX1" fmla="*/ 92215 w 132614"/>
                    <a:gd name="connsiteY1" fmla="*/ 3908 h 54023"/>
                    <a:gd name="connsiteX2" fmla="*/ 0 w 132614"/>
                    <a:gd name="connsiteY2" fmla="*/ 54024 h 54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2614" h="54023">
                      <a:moveTo>
                        <a:pt x="132615" y="3908"/>
                      </a:moveTo>
                      <a:cubicBezTo>
                        <a:pt x="132615" y="3908"/>
                        <a:pt x="118563" y="-4885"/>
                        <a:pt x="92215" y="3908"/>
                      </a:cubicBezTo>
                      <a:cubicBezTo>
                        <a:pt x="74651" y="9183"/>
                        <a:pt x="0" y="54024"/>
                        <a:pt x="0" y="54024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B0C3588D-5561-822D-A6E3-62F4EE15BA6F}"/>
                    </a:ext>
                  </a:extLst>
                </p:cNvPr>
                <p:cNvSpPr/>
                <p:nvPr/>
              </p:nvSpPr>
              <p:spPr>
                <a:xfrm>
                  <a:off x="-12031845" y="3319084"/>
                  <a:ext cx="21923" cy="111662"/>
                </a:xfrm>
                <a:custGeom>
                  <a:avLst/>
                  <a:gdLst>
                    <a:gd name="connsiteX0" fmla="*/ 5270 w 21923"/>
                    <a:gd name="connsiteY0" fmla="*/ 0 h 111662"/>
                    <a:gd name="connsiteX1" fmla="*/ 21078 w 21923"/>
                    <a:gd name="connsiteY1" fmla="*/ 50116 h 111662"/>
                    <a:gd name="connsiteX2" fmla="*/ 0 w 21923"/>
                    <a:gd name="connsiteY2" fmla="*/ 111662 h 11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923" h="111662">
                      <a:moveTo>
                        <a:pt x="5270" y="0"/>
                      </a:moveTo>
                      <a:cubicBezTo>
                        <a:pt x="5270" y="0"/>
                        <a:pt x="26347" y="28135"/>
                        <a:pt x="21078" y="50116"/>
                      </a:cubicBezTo>
                      <a:cubicBezTo>
                        <a:pt x="15808" y="72976"/>
                        <a:pt x="0" y="111662"/>
                        <a:pt x="0" y="111662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" name="Graphic 6">
                <a:extLst>
                  <a:ext uri="{FF2B5EF4-FFF2-40B4-BE49-F238E27FC236}">
                    <a16:creationId xmlns:a16="http://schemas.microsoft.com/office/drawing/2014/main" id="{11D2ADC8-B80E-5CD9-DB64-44CB52CC69D7}"/>
                  </a:ext>
                </a:extLst>
              </p:cNvPr>
              <p:cNvGrpSpPr/>
              <p:nvPr/>
            </p:nvGrpSpPr>
            <p:grpSpPr>
              <a:xfrm>
                <a:off x="-10159651" y="3689492"/>
                <a:ext cx="1772053" cy="2111660"/>
                <a:chOff x="-10159651" y="3689492"/>
                <a:chExt cx="1772053" cy="2111660"/>
              </a:xfrm>
            </p:grpSpPr>
            <p:grpSp>
              <p:nvGrpSpPr>
                <p:cNvPr id="21" name="Graphic 6">
                  <a:extLst>
                    <a:ext uri="{FF2B5EF4-FFF2-40B4-BE49-F238E27FC236}">
                      <a16:creationId xmlns:a16="http://schemas.microsoft.com/office/drawing/2014/main" id="{53B3B48A-CE6A-6538-A37A-E7F360B2D84D}"/>
                    </a:ext>
                  </a:extLst>
                </p:cNvPr>
                <p:cNvGrpSpPr/>
                <p:nvPr/>
              </p:nvGrpSpPr>
              <p:grpSpPr>
                <a:xfrm>
                  <a:off x="-10145379" y="3689492"/>
                  <a:ext cx="1583761" cy="2111660"/>
                  <a:chOff x="-10145379" y="3689492"/>
                  <a:chExt cx="1583761" cy="2111660"/>
                </a:xfrm>
              </p:grpSpPr>
              <p:sp>
                <p:nvSpPr>
                  <p:cNvPr id="27" name="Freeform 26">
                    <a:extLst>
                      <a:ext uri="{FF2B5EF4-FFF2-40B4-BE49-F238E27FC236}">
                        <a16:creationId xmlns:a16="http://schemas.microsoft.com/office/drawing/2014/main" id="{215CB06D-B865-45BE-BB99-CA7A75311A02}"/>
                      </a:ext>
                    </a:extLst>
                  </p:cNvPr>
                  <p:cNvSpPr/>
                  <p:nvPr/>
                </p:nvSpPr>
                <p:spPr>
                  <a:xfrm>
                    <a:off x="-9701867" y="5162831"/>
                    <a:ext cx="224829" cy="623972"/>
                  </a:xfrm>
                  <a:custGeom>
                    <a:avLst/>
                    <a:gdLst>
                      <a:gd name="connsiteX0" fmla="*/ 103633 w 224829"/>
                      <a:gd name="connsiteY0" fmla="*/ 612824 h 623972"/>
                      <a:gd name="connsiteX1" fmla="*/ 90459 w 224829"/>
                      <a:gd name="connsiteY1" fmla="*/ 563587 h 623972"/>
                      <a:gd name="connsiteX2" fmla="*/ 96607 w 224829"/>
                      <a:gd name="connsiteY2" fmla="*/ 496765 h 623972"/>
                      <a:gd name="connsiteX3" fmla="*/ 28104 w 224829"/>
                      <a:gd name="connsiteY3" fmla="*/ 125730 h 623972"/>
                      <a:gd name="connsiteX4" fmla="*/ 0 w 224829"/>
                      <a:gd name="connsiteY4" fmla="*/ 4396 h 623972"/>
                      <a:gd name="connsiteX5" fmla="*/ 180040 w 224829"/>
                      <a:gd name="connsiteY5" fmla="*/ 0 h 623972"/>
                      <a:gd name="connsiteX6" fmla="*/ 185309 w 224829"/>
                      <a:gd name="connsiteY6" fmla="*/ 118696 h 623972"/>
                      <a:gd name="connsiteX7" fmla="*/ 194970 w 224829"/>
                      <a:gd name="connsiteY7" fmla="*/ 517867 h 623972"/>
                      <a:gd name="connsiteX8" fmla="*/ 224830 w 224829"/>
                      <a:gd name="connsiteY8" fmla="*/ 556553 h 623972"/>
                      <a:gd name="connsiteX9" fmla="*/ 103633 w 224829"/>
                      <a:gd name="connsiteY9" fmla="*/ 612824 h 623972"/>
                      <a:gd name="connsiteX10" fmla="*/ 103633 w 224829"/>
                      <a:gd name="connsiteY10" fmla="*/ 612824 h 623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24829" h="623972">
                        <a:moveTo>
                          <a:pt x="103633" y="612824"/>
                        </a:moveTo>
                        <a:cubicBezTo>
                          <a:pt x="103633" y="612824"/>
                          <a:pt x="83433" y="589964"/>
                          <a:pt x="90459" y="563587"/>
                        </a:cubicBezTo>
                        <a:cubicBezTo>
                          <a:pt x="97485" y="537210"/>
                          <a:pt x="108024" y="528418"/>
                          <a:pt x="96607" y="496765"/>
                        </a:cubicBezTo>
                        <a:cubicBezTo>
                          <a:pt x="96607" y="496765"/>
                          <a:pt x="10539" y="196069"/>
                          <a:pt x="28104" y="125730"/>
                        </a:cubicBezTo>
                        <a:cubicBezTo>
                          <a:pt x="18443" y="85285"/>
                          <a:pt x="0" y="4396"/>
                          <a:pt x="0" y="4396"/>
                        </a:cubicBezTo>
                        <a:lnTo>
                          <a:pt x="180040" y="0"/>
                        </a:lnTo>
                        <a:lnTo>
                          <a:pt x="185309" y="118696"/>
                        </a:lnTo>
                        <a:lnTo>
                          <a:pt x="194970" y="517867"/>
                        </a:lnTo>
                        <a:lnTo>
                          <a:pt x="224830" y="556553"/>
                        </a:lnTo>
                        <a:cubicBezTo>
                          <a:pt x="224830" y="556553"/>
                          <a:pt x="134371" y="656785"/>
                          <a:pt x="103633" y="612824"/>
                        </a:cubicBezTo>
                        <a:lnTo>
                          <a:pt x="103633" y="612824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eform 27">
                    <a:extLst>
                      <a:ext uri="{FF2B5EF4-FFF2-40B4-BE49-F238E27FC236}">
                        <a16:creationId xmlns:a16="http://schemas.microsoft.com/office/drawing/2014/main" id="{24327F31-FBDD-2E2F-8725-31F1109BB6F8}"/>
                      </a:ext>
                    </a:extLst>
                  </p:cNvPr>
                  <p:cNvSpPr/>
                  <p:nvPr/>
                </p:nvSpPr>
                <p:spPr>
                  <a:xfrm>
                    <a:off x="-9620519" y="5684214"/>
                    <a:ext cx="289335" cy="116937"/>
                  </a:xfrm>
                  <a:custGeom>
                    <a:avLst/>
                    <a:gdLst>
                      <a:gd name="connsiteX0" fmla="*/ 276096 w 289335"/>
                      <a:gd name="connsiteY0" fmla="*/ 61546 h 116937"/>
                      <a:gd name="connsiteX1" fmla="*/ 129430 w 289335"/>
                      <a:gd name="connsiteY1" fmla="*/ 0 h 116937"/>
                      <a:gd name="connsiteX2" fmla="*/ 99569 w 289335"/>
                      <a:gd name="connsiteY2" fmla="*/ 76493 h 116937"/>
                      <a:gd name="connsiteX3" fmla="*/ 328 w 289335"/>
                      <a:gd name="connsiteY3" fmla="*/ 76493 h 116937"/>
                      <a:gd name="connsiteX4" fmla="*/ 7354 w 289335"/>
                      <a:gd name="connsiteY4" fmla="*/ 114300 h 116937"/>
                      <a:gd name="connsiteX5" fmla="*/ 264679 w 289335"/>
                      <a:gd name="connsiteY5" fmla="*/ 116938 h 116937"/>
                      <a:gd name="connsiteX6" fmla="*/ 276096 w 289335"/>
                      <a:gd name="connsiteY6" fmla="*/ 60667 h 116937"/>
                      <a:gd name="connsiteX7" fmla="*/ 276096 w 289335"/>
                      <a:gd name="connsiteY7" fmla="*/ 60667 h 116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89335" h="116937">
                        <a:moveTo>
                          <a:pt x="276096" y="61546"/>
                        </a:moveTo>
                        <a:cubicBezTo>
                          <a:pt x="246236" y="36049"/>
                          <a:pt x="129430" y="0"/>
                          <a:pt x="129430" y="0"/>
                        </a:cubicBezTo>
                        <a:cubicBezTo>
                          <a:pt x="129430" y="0"/>
                          <a:pt x="125039" y="72097"/>
                          <a:pt x="99569" y="76493"/>
                        </a:cubicBezTo>
                        <a:cubicBezTo>
                          <a:pt x="74101" y="80889"/>
                          <a:pt x="328" y="76493"/>
                          <a:pt x="328" y="76493"/>
                        </a:cubicBezTo>
                        <a:cubicBezTo>
                          <a:pt x="328" y="76493"/>
                          <a:pt x="-2306" y="109904"/>
                          <a:pt x="7354" y="114300"/>
                        </a:cubicBezTo>
                        <a:cubicBezTo>
                          <a:pt x="14380" y="116938"/>
                          <a:pt x="249749" y="116938"/>
                          <a:pt x="264679" y="116938"/>
                        </a:cubicBezTo>
                        <a:cubicBezTo>
                          <a:pt x="279609" y="116938"/>
                          <a:pt x="305078" y="86164"/>
                          <a:pt x="276096" y="60667"/>
                        </a:cubicBezTo>
                        <a:lnTo>
                          <a:pt x="276096" y="60667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9" name="Graphic 6">
                    <a:extLst>
                      <a:ext uri="{FF2B5EF4-FFF2-40B4-BE49-F238E27FC236}">
                        <a16:creationId xmlns:a16="http://schemas.microsoft.com/office/drawing/2014/main" id="{72D6052B-7F44-A53C-7FEA-68868F6BD3A0}"/>
                      </a:ext>
                    </a:extLst>
                  </p:cNvPr>
                  <p:cNvGrpSpPr/>
                  <p:nvPr/>
                </p:nvGrpSpPr>
                <p:grpSpPr>
                  <a:xfrm>
                    <a:off x="-10000469" y="4565833"/>
                    <a:ext cx="972045" cy="1224518"/>
                    <a:chOff x="-10000469" y="4565833"/>
                    <a:chExt cx="972045" cy="1224518"/>
                  </a:xfrm>
                </p:grpSpPr>
                <p:sp>
                  <p:nvSpPr>
                    <p:cNvPr id="34" name="Freeform 33">
                      <a:extLst>
                        <a:ext uri="{FF2B5EF4-FFF2-40B4-BE49-F238E27FC236}">
                          <a16:creationId xmlns:a16="http://schemas.microsoft.com/office/drawing/2014/main" id="{47457D96-7C73-A710-8A43-A328156D61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967975" y="5144367"/>
                      <a:ext cx="182674" cy="645984"/>
                    </a:xfrm>
                    <a:custGeom>
                      <a:avLst/>
                      <a:gdLst>
                        <a:gd name="connsiteX0" fmla="*/ 113293 w 182674"/>
                        <a:gd name="connsiteY0" fmla="*/ 605790 h 645984"/>
                        <a:gd name="connsiteX1" fmla="*/ 106267 w 182674"/>
                        <a:gd name="connsiteY1" fmla="*/ 513471 h 645984"/>
                        <a:gd name="connsiteX2" fmla="*/ 182675 w 182674"/>
                        <a:gd name="connsiteY2" fmla="*/ 7034 h 645984"/>
                        <a:gd name="connsiteX3" fmla="*/ 0 w 182674"/>
                        <a:gd name="connsiteY3" fmla="*/ 0 h 645984"/>
                        <a:gd name="connsiteX4" fmla="*/ 20200 w 182674"/>
                        <a:gd name="connsiteY4" fmla="*/ 512591 h 645984"/>
                        <a:gd name="connsiteX5" fmla="*/ 2635 w 182674"/>
                        <a:gd name="connsiteY5" fmla="*/ 622495 h 645984"/>
                        <a:gd name="connsiteX6" fmla="*/ 113293 w 182674"/>
                        <a:gd name="connsiteY6" fmla="*/ 606669 h 645984"/>
                        <a:gd name="connsiteX7" fmla="*/ 113293 w 182674"/>
                        <a:gd name="connsiteY7" fmla="*/ 606669 h 6459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82674" h="645984">
                          <a:moveTo>
                            <a:pt x="113293" y="605790"/>
                          </a:moveTo>
                          <a:cubicBezTo>
                            <a:pt x="113293" y="605790"/>
                            <a:pt x="94850" y="545123"/>
                            <a:pt x="106267" y="513471"/>
                          </a:cubicBezTo>
                          <a:lnTo>
                            <a:pt x="182675" y="7034"/>
                          </a:lnTo>
                          <a:lnTo>
                            <a:pt x="0" y="0"/>
                          </a:lnTo>
                          <a:lnTo>
                            <a:pt x="20200" y="512591"/>
                          </a:lnTo>
                          <a:cubicBezTo>
                            <a:pt x="20200" y="512591"/>
                            <a:pt x="-6148" y="584688"/>
                            <a:pt x="2635" y="622495"/>
                          </a:cubicBezTo>
                          <a:cubicBezTo>
                            <a:pt x="10539" y="660302"/>
                            <a:pt x="83433" y="650631"/>
                            <a:pt x="113293" y="606669"/>
                          </a:cubicBezTo>
                          <a:lnTo>
                            <a:pt x="113293" y="606669"/>
                          </a:lnTo>
                          <a:close/>
                        </a:path>
                      </a:pathLst>
                    </a:custGeom>
                    <a:solidFill>
                      <a:srgbClr val="DE9C74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5" name="Freeform 34">
                      <a:extLst>
                        <a:ext uri="{FF2B5EF4-FFF2-40B4-BE49-F238E27FC236}">
                          <a16:creationId xmlns:a16="http://schemas.microsoft.com/office/drawing/2014/main" id="{1C558E9A-3546-C277-41A5-015CF2EE02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000469" y="4565833"/>
                      <a:ext cx="499719" cy="602272"/>
                    </a:xfrm>
                    <a:custGeom>
                      <a:avLst/>
                      <a:gdLst>
                        <a:gd name="connsiteX0" fmla="*/ 233612 w 499719"/>
                        <a:gd name="connsiteY0" fmla="*/ 601394 h 602272"/>
                        <a:gd name="connsiteX1" fmla="*/ 0 w 499719"/>
                        <a:gd name="connsiteY1" fmla="*/ 601394 h 602272"/>
                        <a:gd name="connsiteX2" fmla="*/ 20199 w 499719"/>
                        <a:gd name="connsiteY2" fmla="*/ 135401 h 602272"/>
                        <a:gd name="connsiteX3" fmla="*/ 44790 w 499719"/>
                        <a:gd name="connsiteY3" fmla="*/ 45720 h 602272"/>
                        <a:gd name="connsiteX4" fmla="*/ 388183 w 499719"/>
                        <a:gd name="connsiteY4" fmla="*/ 0 h 602272"/>
                        <a:gd name="connsiteX5" fmla="*/ 449660 w 499719"/>
                        <a:gd name="connsiteY5" fmla="*/ 124851 h 602272"/>
                        <a:gd name="connsiteX6" fmla="*/ 499720 w 499719"/>
                        <a:gd name="connsiteY6" fmla="*/ 596998 h 602272"/>
                        <a:gd name="connsiteX7" fmla="*/ 274890 w 499719"/>
                        <a:gd name="connsiteY7" fmla="*/ 602273 h 602272"/>
                        <a:gd name="connsiteX8" fmla="*/ 259960 w 499719"/>
                        <a:gd name="connsiteY8" fmla="*/ 366639 h 602272"/>
                        <a:gd name="connsiteX9" fmla="*/ 238882 w 499719"/>
                        <a:gd name="connsiteY9" fmla="*/ 371915 h 602272"/>
                        <a:gd name="connsiteX10" fmla="*/ 233612 w 499719"/>
                        <a:gd name="connsiteY10" fmla="*/ 602273 h 602272"/>
                        <a:gd name="connsiteX11" fmla="*/ 233612 w 499719"/>
                        <a:gd name="connsiteY11" fmla="*/ 602273 h 6022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499719" h="602272">
                          <a:moveTo>
                            <a:pt x="233612" y="601394"/>
                          </a:moveTo>
                          <a:lnTo>
                            <a:pt x="0" y="601394"/>
                          </a:lnTo>
                          <a:lnTo>
                            <a:pt x="20199" y="135401"/>
                          </a:lnTo>
                          <a:lnTo>
                            <a:pt x="44790" y="45720"/>
                          </a:lnTo>
                          <a:lnTo>
                            <a:pt x="388183" y="0"/>
                          </a:lnTo>
                          <a:lnTo>
                            <a:pt x="449660" y="124851"/>
                          </a:lnTo>
                          <a:cubicBezTo>
                            <a:pt x="462834" y="160020"/>
                            <a:pt x="499720" y="596998"/>
                            <a:pt x="499720" y="596998"/>
                          </a:cubicBezTo>
                          <a:lnTo>
                            <a:pt x="274890" y="602273"/>
                          </a:lnTo>
                          <a:lnTo>
                            <a:pt x="259960" y="366639"/>
                          </a:lnTo>
                          <a:lnTo>
                            <a:pt x="238882" y="371915"/>
                          </a:lnTo>
                          <a:lnTo>
                            <a:pt x="233612" y="602273"/>
                          </a:lnTo>
                          <a:lnTo>
                            <a:pt x="233612" y="602273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" name="Freeform 29">
                    <a:extLst>
                      <a:ext uri="{FF2B5EF4-FFF2-40B4-BE49-F238E27FC236}">
                        <a16:creationId xmlns:a16="http://schemas.microsoft.com/office/drawing/2014/main" id="{3FAA6EB5-56D0-7D18-DF60-66BAEDAC788F}"/>
                      </a:ext>
                    </a:extLst>
                  </p:cNvPr>
                  <p:cNvSpPr/>
                  <p:nvPr/>
                </p:nvSpPr>
                <p:spPr>
                  <a:xfrm>
                    <a:off x="-10145379" y="4042691"/>
                    <a:ext cx="736845" cy="653268"/>
                  </a:xfrm>
                  <a:custGeom>
                    <a:avLst/>
                    <a:gdLst>
                      <a:gd name="connsiteX0" fmla="*/ 95728 w 736845"/>
                      <a:gd name="connsiteY0" fmla="*/ 109025 h 653268"/>
                      <a:gd name="connsiteX1" fmla="*/ 230978 w 736845"/>
                      <a:gd name="connsiteY1" fmla="*/ 19343 h 653268"/>
                      <a:gd name="connsiteX2" fmla="*/ 413652 w 736845"/>
                      <a:gd name="connsiteY2" fmla="*/ 0 h 653268"/>
                      <a:gd name="connsiteX3" fmla="*/ 555049 w 736845"/>
                      <a:gd name="connsiteY3" fmla="*/ 23739 h 653268"/>
                      <a:gd name="connsiteX4" fmla="*/ 663951 w 736845"/>
                      <a:gd name="connsiteY4" fmla="*/ 91440 h 653268"/>
                      <a:gd name="connsiteX5" fmla="*/ 736845 w 736845"/>
                      <a:gd name="connsiteY5" fmla="*/ 383345 h 653268"/>
                      <a:gd name="connsiteX6" fmla="*/ 610379 w 736845"/>
                      <a:gd name="connsiteY6" fmla="*/ 413238 h 653268"/>
                      <a:gd name="connsiteX7" fmla="*/ 613892 w 736845"/>
                      <a:gd name="connsiteY7" fmla="*/ 302455 h 653268"/>
                      <a:gd name="connsiteX8" fmla="*/ 603352 w 736845"/>
                      <a:gd name="connsiteY8" fmla="*/ 648872 h 653268"/>
                      <a:gd name="connsiteX9" fmla="*/ 152814 w 736845"/>
                      <a:gd name="connsiteY9" fmla="*/ 653269 h 653268"/>
                      <a:gd name="connsiteX10" fmla="*/ 172135 w 736845"/>
                      <a:gd name="connsiteY10" fmla="*/ 314765 h 653268"/>
                      <a:gd name="connsiteX11" fmla="*/ 133493 w 736845"/>
                      <a:gd name="connsiteY11" fmla="*/ 414997 h 653268"/>
                      <a:gd name="connsiteX12" fmla="*/ 0 w 736845"/>
                      <a:gd name="connsiteY12" fmla="*/ 327074 h 653268"/>
                      <a:gd name="connsiteX13" fmla="*/ 96607 w 736845"/>
                      <a:gd name="connsiteY13" fmla="*/ 110783 h 653268"/>
                      <a:gd name="connsiteX14" fmla="*/ 96607 w 736845"/>
                      <a:gd name="connsiteY14" fmla="*/ 109025 h 6532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736845" h="653268">
                        <a:moveTo>
                          <a:pt x="95728" y="109025"/>
                        </a:moveTo>
                        <a:cubicBezTo>
                          <a:pt x="137006" y="36049"/>
                          <a:pt x="230978" y="19343"/>
                          <a:pt x="230978" y="19343"/>
                        </a:cubicBezTo>
                        <a:cubicBezTo>
                          <a:pt x="230978" y="19343"/>
                          <a:pt x="310898" y="2638"/>
                          <a:pt x="413652" y="0"/>
                        </a:cubicBezTo>
                        <a:cubicBezTo>
                          <a:pt x="518163" y="4396"/>
                          <a:pt x="555049" y="23739"/>
                          <a:pt x="555049" y="23739"/>
                        </a:cubicBezTo>
                        <a:cubicBezTo>
                          <a:pt x="598083" y="38686"/>
                          <a:pt x="645508" y="63305"/>
                          <a:pt x="663951" y="91440"/>
                        </a:cubicBezTo>
                        <a:cubicBezTo>
                          <a:pt x="685029" y="122213"/>
                          <a:pt x="716646" y="252339"/>
                          <a:pt x="736845" y="383345"/>
                        </a:cubicBezTo>
                        <a:lnTo>
                          <a:pt x="610379" y="413238"/>
                        </a:lnTo>
                        <a:lnTo>
                          <a:pt x="613892" y="302455"/>
                        </a:lnTo>
                        <a:lnTo>
                          <a:pt x="603352" y="648872"/>
                        </a:lnTo>
                        <a:lnTo>
                          <a:pt x="152814" y="653269"/>
                        </a:lnTo>
                        <a:cubicBezTo>
                          <a:pt x="152814" y="653269"/>
                          <a:pt x="170379" y="452804"/>
                          <a:pt x="172135" y="314765"/>
                        </a:cubicBezTo>
                        <a:lnTo>
                          <a:pt x="133493" y="414997"/>
                        </a:lnTo>
                        <a:cubicBezTo>
                          <a:pt x="133493" y="414997"/>
                          <a:pt x="36008" y="371915"/>
                          <a:pt x="0" y="327074"/>
                        </a:cubicBezTo>
                        <a:cubicBezTo>
                          <a:pt x="12295" y="284871"/>
                          <a:pt x="55329" y="182880"/>
                          <a:pt x="96607" y="110783"/>
                        </a:cubicBezTo>
                        <a:lnTo>
                          <a:pt x="96607" y="1090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eform 30">
                    <a:extLst>
                      <a:ext uri="{FF2B5EF4-FFF2-40B4-BE49-F238E27FC236}">
                        <a16:creationId xmlns:a16="http://schemas.microsoft.com/office/drawing/2014/main" id="{60350DBC-3891-D90E-D738-4F8E67B1ADB3}"/>
                      </a:ext>
                    </a:extLst>
                  </p:cNvPr>
                  <p:cNvSpPr/>
                  <p:nvPr/>
                </p:nvSpPr>
                <p:spPr>
                  <a:xfrm>
                    <a:off x="-9872246" y="3894980"/>
                    <a:ext cx="243273" cy="239150"/>
                  </a:xfrm>
                  <a:custGeom>
                    <a:avLst/>
                    <a:gdLst>
                      <a:gd name="connsiteX0" fmla="*/ 0 w 243273"/>
                      <a:gd name="connsiteY0" fmla="*/ 160899 h 239150"/>
                      <a:gd name="connsiteX1" fmla="*/ 58842 w 243273"/>
                      <a:gd name="connsiteY1" fmla="*/ 152107 h 239150"/>
                      <a:gd name="connsiteX2" fmla="*/ 65868 w 243273"/>
                      <a:gd name="connsiteY2" fmla="*/ 0 h 239150"/>
                      <a:gd name="connsiteX3" fmla="*/ 195848 w 243273"/>
                      <a:gd name="connsiteY3" fmla="*/ 43962 h 239150"/>
                      <a:gd name="connsiteX4" fmla="*/ 191457 w 243273"/>
                      <a:gd name="connsiteY4" fmla="*/ 150349 h 239150"/>
                      <a:gd name="connsiteX5" fmla="*/ 243273 w 243273"/>
                      <a:gd name="connsiteY5" fmla="*/ 159141 h 239150"/>
                      <a:gd name="connsiteX6" fmla="*/ 122076 w 243273"/>
                      <a:gd name="connsiteY6" fmla="*/ 239151 h 239150"/>
                      <a:gd name="connsiteX7" fmla="*/ 0 w 243273"/>
                      <a:gd name="connsiteY7" fmla="*/ 160899 h 239150"/>
                      <a:gd name="connsiteX8" fmla="*/ 0 w 243273"/>
                      <a:gd name="connsiteY8" fmla="*/ 160899 h 239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3273" h="239150">
                        <a:moveTo>
                          <a:pt x="0" y="160899"/>
                        </a:moveTo>
                        <a:lnTo>
                          <a:pt x="58842" y="152107"/>
                        </a:lnTo>
                        <a:lnTo>
                          <a:pt x="65868" y="0"/>
                        </a:lnTo>
                        <a:lnTo>
                          <a:pt x="195848" y="43962"/>
                        </a:lnTo>
                        <a:lnTo>
                          <a:pt x="191457" y="150349"/>
                        </a:lnTo>
                        <a:lnTo>
                          <a:pt x="243273" y="159141"/>
                        </a:lnTo>
                        <a:cubicBezTo>
                          <a:pt x="243273" y="159141"/>
                          <a:pt x="218683" y="239151"/>
                          <a:pt x="122076" y="239151"/>
                        </a:cubicBezTo>
                        <a:cubicBezTo>
                          <a:pt x="25469" y="239151"/>
                          <a:pt x="0" y="160899"/>
                          <a:pt x="0" y="160899"/>
                        </a:cubicBezTo>
                        <a:lnTo>
                          <a:pt x="0" y="160899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eform 31">
                    <a:extLst>
                      <a:ext uri="{FF2B5EF4-FFF2-40B4-BE49-F238E27FC236}">
                        <a16:creationId xmlns:a16="http://schemas.microsoft.com/office/drawing/2014/main" id="{175CEECE-86CF-0D5F-1CC4-DBE17644F9BA}"/>
                      </a:ext>
                    </a:extLst>
                  </p:cNvPr>
                  <p:cNvSpPr/>
                  <p:nvPr/>
                </p:nvSpPr>
                <p:spPr>
                  <a:xfrm>
                    <a:off x="-9812907" y="3743752"/>
                    <a:ext cx="230192" cy="262889"/>
                  </a:xfrm>
                  <a:custGeom>
                    <a:avLst/>
                    <a:gdLst>
                      <a:gd name="connsiteX0" fmla="*/ 23216 w 230192"/>
                      <a:gd name="connsiteY0" fmla="*/ 196068 h 262889"/>
                      <a:gd name="connsiteX1" fmla="*/ 10042 w 230192"/>
                      <a:gd name="connsiteY1" fmla="*/ 176725 h 262889"/>
                      <a:gd name="connsiteX2" fmla="*/ 8286 w 230192"/>
                      <a:gd name="connsiteY2" fmla="*/ 174088 h 262889"/>
                      <a:gd name="connsiteX3" fmla="*/ 48685 w 230192"/>
                      <a:gd name="connsiteY3" fmla="*/ 116059 h 262889"/>
                      <a:gd name="connsiteX4" fmla="*/ 53955 w 230192"/>
                      <a:gd name="connsiteY4" fmla="*/ 104629 h 262889"/>
                      <a:gd name="connsiteX5" fmla="*/ 73276 w 230192"/>
                      <a:gd name="connsiteY5" fmla="*/ 101991 h 262889"/>
                      <a:gd name="connsiteX6" fmla="*/ 68885 w 230192"/>
                      <a:gd name="connsiteY6" fmla="*/ 88802 h 262889"/>
                      <a:gd name="connsiteX7" fmla="*/ 107527 w 230192"/>
                      <a:gd name="connsiteY7" fmla="*/ 30773 h 262889"/>
                      <a:gd name="connsiteX8" fmla="*/ 159344 w 230192"/>
                      <a:gd name="connsiteY8" fmla="*/ 2638 h 262889"/>
                      <a:gd name="connsiteX9" fmla="*/ 167248 w 230192"/>
                      <a:gd name="connsiteY9" fmla="*/ 0 h 262889"/>
                      <a:gd name="connsiteX10" fmla="*/ 193595 w 230192"/>
                      <a:gd name="connsiteY10" fmla="*/ 74735 h 262889"/>
                      <a:gd name="connsiteX11" fmla="*/ 226090 w 230192"/>
                      <a:gd name="connsiteY11" fmla="*/ 116059 h 262889"/>
                      <a:gd name="connsiteX12" fmla="*/ 220821 w 230192"/>
                      <a:gd name="connsiteY12" fmla="*/ 141556 h 262889"/>
                      <a:gd name="connsiteX13" fmla="*/ 220821 w 230192"/>
                      <a:gd name="connsiteY13" fmla="*/ 171450 h 262889"/>
                      <a:gd name="connsiteX14" fmla="*/ 213795 w 230192"/>
                      <a:gd name="connsiteY14" fmla="*/ 186397 h 262889"/>
                      <a:gd name="connsiteX15" fmla="*/ 219064 w 230192"/>
                      <a:gd name="connsiteY15" fmla="*/ 203102 h 262889"/>
                      <a:gd name="connsiteX16" fmla="*/ 212916 w 230192"/>
                      <a:gd name="connsiteY16" fmla="*/ 245305 h 262889"/>
                      <a:gd name="connsiteX17" fmla="*/ 118945 w 230192"/>
                      <a:gd name="connsiteY17" fmla="*/ 262890 h 262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30192" h="262889">
                        <a:moveTo>
                          <a:pt x="23216" y="196068"/>
                        </a:moveTo>
                        <a:cubicBezTo>
                          <a:pt x="17947" y="190793"/>
                          <a:pt x="13555" y="183759"/>
                          <a:pt x="10042" y="176725"/>
                        </a:cubicBezTo>
                        <a:cubicBezTo>
                          <a:pt x="10042" y="175846"/>
                          <a:pt x="9164" y="174967"/>
                          <a:pt x="8286" y="174088"/>
                        </a:cubicBezTo>
                        <a:cubicBezTo>
                          <a:pt x="-16305" y="119575"/>
                          <a:pt x="18825" y="92319"/>
                          <a:pt x="48685" y="116059"/>
                        </a:cubicBezTo>
                        <a:cubicBezTo>
                          <a:pt x="55711" y="121334"/>
                          <a:pt x="48685" y="94078"/>
                          <a:pt x="53955" y="104629"/>
                        </a:cubicBezTo>
                        <a:cubicBezTo>
                          <a:pt x="62737" y="123972"/>
                          <a:pt x="81180" y="131005"/>
                          <a:pt x="73276" y="101991"/>
                        </a:cubicBezTo>
                        <a:cubicBezTo>
                          <a:pt x="73276" y="99353"/>
                          <a:pt x="71519" y="98474"/>
                          <a:pt x="68885" y="88802"/>
                        </a:cubicBezTo>
                        <a:cubicBezTo>
                          <a:pt x="60102" y="62425"/>
                          <a:pt x="85571" y="36928"/>
                          <a:pt x="107527" y="30773"/>
                        </a:cubicBezTo>
                        <a:cubicBezTo>
                          <a:pt x="138266" y="21981"/>
                          <a:pt x="159344" y="2638"/>
                          <a:pt x="159344" y="2638"/>
                        </a:cubicBezTo>
                        <a:cubicBezTo>
                          <a:pt x="159344" y="2638"/>
                          <a:pt x="166370" y="0"/>
                          <a:pt x="167248" y="0"/>
                        </a:cubicBezTo>
                        <a:cubicBezTo>
                          <a:pt x="172517" y="5275"/>
                          <a:pt x="195351" y="35169"/>
                          <a:pt x="193595" y="74735"/>
                        </a:cubicBezTo>
                        <a:cubicBezTo>
                          <a:pt x="193595" y="84406"/>
                          <a:pt x="219942" y="106387"/>
                          <a:pt x="226090" y="116059"/>
                        </a:cubicBezTo>
                        <a:cubicBezTo>
                          <a:pt x="232238" y="125730"/>
                          <a:pt x="232238" y="133643"/>
                          <a:pt x="220821" y="141556"/>
                        </a:cubicBezTo>
                        <a:cubicBezTo>
                          <a:pt x="206769" y="150349"/>
                          <a:pt x="216429" y="167054"/>
                          <a:pt x="220821" y="171450"/>
                        </a:cubicBezTo>
                        <a:cubicBezTo>
                          <a:pt x="225212" y="176725"/>
                          <a:pt x="209403" y="184638"/>
                          <a:pt x="213795" y="186397"/>
                        </a:cubicBezTo>
                        <a:cubicBezTo>
                          <a:pt x="213795" y="186397"/>
                          <a:pt x="224334" y="195189"/>
                          <a:pt x="219064" y="203102"/>
                        </a:cubicBezTo>
                        <a:cubicBezTo>
                          <a:pt x="213795" y="211015"/>
                          <a:pt x="216429" y="236513"/>
                          <a:pt x="212916" y="245305"/>
                        </a:cubicBezTo>
                        <a:cubicBezTo>
                          <a:pt x="206769" y="262011"/>
                          <a:pt x="142657" y="262011"/>
                          <a:pt x="118945" y="262890"/>
                        </a:cubicBezTo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eform 32">
                    <a:extLst>
                      <a:ext uri="{FF2B5EF4-FFF2-40B4-BE49-F238E27FC236}">
                        <a16:creationId xmlns:a16="http://schemas.microsoft.com/office/drawing/2014/main" id="{9D957394-0F42-73FD-EC36-F78647F19DBC}"/>
                      </a:ext>
                    </a:extLst>
                  </p:cNvPr>
                  <p:cNvSpPr/>
                  <p:nvPr/>
                </p:nvSpPr>
                <p:spPr>
                  <a:xfrm>
                    <a:off x="-9913093" y="3689492"/>
                    <a:ext cx="287769" cy="295389"/>
                  </a:xfrm>
                  <a:custGeom>
                    <a:avLst/>
                    <a:gdLst>
                      <a:gd name="connsiteX0" fmla="*/ 24160 w 287769"/>
                      <a:gd name="connsiteY0" fmla="*/ 76241 h 295389"/>
                      <a:gd name="connsiteX1" fmla="*/ 61047 w 287769"/>
                      <a:gd name="connsiteY1" fmla="*/ 23487 h 295389"/>
                      <a:gd name="connsiteX2" fmla="*/ 174340 w 287769"/>
                      <a:gd name="connsiteY2" fmla="*/ 627 h 295389"/>
                      <a:gd name="connsiteX3" fmla="*/ 271825 w 287769"/>
                      <a:gd name="connsiteY3" fmla="*/ 67449 h 295389"/>
                      <a:gd name="connsiteX4" fmla="*/ 198931 w 287769"/>
                      <a:gd name="connsiteY4" fmla="*/ 88550 h 295389"/>
                      <a:gd name="connsiteX5" fmla="*/ 175218 w 287769"/>
                      <a:gd name="connsiteY5" fmla="*/ 162406 h 295389"/>
                      <a:gd name="connsiteX6" fmla="*/ 157653 w 287769"/>
                      <a:gd name="connsiteY6" fmla="*/ 185266 h 295389"/>
                      <a:gd name="connsiteX7" fmla="*/ 141845 w 287769"/>
                      <a:gd name="connsiteY7" fmla="*/ 172077 h 295389"/>
                      <a:gd name="connsiteX8" fmla="*/ 108472 w 287769"/>
                      <a:gd name="connsiteY8" fmla="*/ 227469 h 295389"/>
                      <a:gd name="connsiteX9" fmla="*/ 130428 w 287769"/>
                      <a:gd name="connsiteY9" fmla="*/ 250329 h 295389"/>
                      <a:gd name="connsiteX10" fmla="*/ 104959 w 287769"/>
                      <a:gd name="connsiteY10" fmla="*/ 285498 h 295389"/>
                      <a:gd name="connsiteX11" fmla="*/ 83881 w 287769"/>
                      <a:gd name="connsiteY11" fmla="*/ 285498 h 295389"/>
                      <a:gd name="connsiteX12" fmla="*/ 34699 w 287769"/>
                      <a:gd name="connsiteY12" fmla="*/ 221314 h 295389"/>
                      <a:gd name="connsiteX13" fmla="*/ 24160 w 287769"/>
                      <a:gd name="connsiteY13" fmla="*/ 77120 h 295389"/>
                      <a:gd name="connsiteX14" fmla="*/ 24160 w 287769"/>
                      <a:gd name="connsiteY14" fmla="*/ 77120 h 2953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7769" h="295389">
                        <a:moveTo>
                          <a:pt x="24160" y="76241"/>
                        </a:moveTo>
                        <a:cubicBezTo>
                          <a:pt x="24160" y="76241"/>
                          <a:pt x="22404" y="46347"/>
                          <a:pt x="61047" y="23487"/>
                        </a:cubicBezTo>
                        <a:cubicBezTo>
                          <a:pt x="99689" y="-252"/>
                          <a:pt x="174340" y="627"/>
                          <a:pt x="174340" y="627"/>
                        </a:cubicBezTo>
                        <a:cubicBezTo>
                          <a:pt x="321006" y="-7286"/>
                          <a:pt x="290268" y="62174"/>
                          <a:pt x="271825" y="67449"/>
                        </a:cubicBezTo>
                        <a:cubicBezTo>
                          <a:pt x="253382" y="71845"/>
                          <a:pt x="229669" y="79758"/>
                          <a:pt x="198931" y="88550"/>
                        </a:cubicBezTo>
                        <a:cubicBezTo>
                          <a:pt x="176974" y="94705"/>
                          <a:pt x="146236" y="116686"/>
                          <a:pt x="175218" y="162406"/>
                        </a:cubicBezTo>
                        <a:cubicBezTo>
                          <a:pt x="204200" y="208126"/>
                          <a:pt x="157653" y="185266"/>
                          <a:pt x="157653" y="185266"/>
                        </a:cubicBezTo>
                        <a:cubicBezTo>
                          <a:pt x="157653" y="185266"/>
                          <a:pt x="146236" y="187024"/>
                          <a:pt x="141845" y="172077"/>
                        </a:cubicBezTo>
                        <a:cubicBezTo>
                          <a:pt x="137454" y="158010"/>
                          <a:pt x="83881" y="154493"/>
                          <a:pt x="108472" y="227469"/>
                        </a:cubicBezTo>
                        <a:cubicBezTo>
                          <a:pt x="115498" y="243295"/>
                          <a:pt x="128671" y="249450"/>
                          <a:pt x="130428" y="250329"/>
                        </a:cubicBezTo>
                        <a:cubicBezTo>
                          <a:pt x="138332" y="252087"/>
                          <a:pt x="108472" y="277585"/>
                          <a:pt x="104959" y="285498"/>
                        </a:cubicBezTo>
                        <a:cubicBezTo>
                          <a:pt x="98811" y="298687"/>
                          <a:pt x="90029" y="298687"/>
                          <a:pt x="83881" y="285498"/>
                        </a:cubicBezTo>
                        <a:cubicBezTo>
                          <a:pt x="78611" y="274068"/>
                          <a:pt x="61925" y="248570"/>
                          <a:pt x="34699" y="221314"/>
                        </a:cubicBezTo>
                        <a:cubicBezTo>
                          <a:pt x="-1309" y="185266"/>
                          <a:pt x="-16239" y="135150"/>
                          <a:pt x="24160" y="77120"/>
                        </a:cubicBezTo>
                        <a:lnTo>
                          <a:pt x="24160" y="77120"/>
                        </a:lnTo>
                        <a:close/>
                      </a:path>
                    </a:pathLst>
                  </a:custGeom>
                  <a:solidFill>
                    <a:srgbClr val="7A3E1A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B7486EAC-DEBA-513D-9D04-D414AA485DEF}"/>
                    </a:ext>
                  </a:extLst>
                </p:cNvPr>
                <p:cNvSpPr/>
                <p:nvPr/>
              </p:nvSpPr>
              <p:spPr>
                <a:xfrm>
                  <a:off x="-9624582" y="5681577"/>
                  <a:ext cx="160174" cy="74431"/>
                </a:xfrm>
                <a:custGeom>
                  <a:avLst/>
                  <a:gdLst>
                    <a:gd name="connsiteX0" fmla="*/ 10539 w 160174"/>
                    <a:gd name="connsiteY0" fmla="*/ 0 h 74431"/>
                    <a:gd name="connsiteX1" fmla="*/ 0 w 160174"/>
                    <a:gd name="connsiteY1" fmla="*/ 33411 h 74431"/>
                    <a:gd name="connsiteX2" fmla="*/ 137884 w 160174"/>
                    <a:gd name="connsiteY2" fmla="*/ 73856 h 74431"/>
                    <a:gd name="connsiteX3" fmla="*/ 146667 w 160174"/>
                    <a:gd name="connsiteY3" fmla="*/ 40445 h 74431"/>
                    <a:gd name="connsiteX4" fmla="*/ 10539 w 160174"/>
                    <a:gd name="connsiteY4" fmla="*/ 0 h 7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174" h="74431">
                      <a:moveTo>
                        <a:pt x="10539" y="0"/>
                      </a:moveTo>
                      <a:lnTo>
                        <a:pt x="0" y="33411"/>
                      </a:lnTo>
                      <a:cubicBezTo>
                        <a:pt x="0" y="33411"/>
                        <a:pt x="106267" y="67701"/>
                        <a:pt x="137884" y="73856"/>
                      </a:cubicBezTo>
                      <a:cubicBezTo>
                        <a:pt x="162475" y="79131"/>
                        <a:pt x="168623" y="46599"/>
                        <a:pt x="146667" y="40445"/>
                      </a:cubicBezTo>
                      <a:cubicBezTo>
                        <a:pt x="127345" y="35169"/>
                        <a:pt x="10539" y="0"/>
                        <a:pt x="10539" y="0"/>
                      </a:cubicBez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" name="Freeform 22">
                  <a:extLst>
                    <a:ext uri="{FF2B5EF4-FFF2-40B4-BE49-F238E27FC236}">
                      <a16:creationId xmlns:a16="http://schemas.microsoft.com/office/drawing/2014/main" id="{DCE372F2-9C53-7508-AB4C-DC49A1CFC66E}"/>
                    </a:ext>
                  </a:extLst>
                </p:cNvPr>
                <p:cNvSpPr/>
                <p:nvPr/>
              </p:nvSpPr>
              <p:spPr>
                <a:xfrm>
                  <a:off x="-9714724" y="4269532"/>
                  <a:ext cx="129662" cy="117936"/>
                </a:xfrm>
                <a:custGeom>
                  <a:avLst/>
                  <a:gdLst>
                    <a:gd name="connsiteX0" fmla="*/ 561 w 129662"/>
                    <a:gd name="connsiteY0" fmla="*/ 0 h 117936"/>
                    <a:gd name="connsiteX1" fmla="*/ 129663 w 129662"/>
                    <a:gd name="connsiteY1" fmla="*/ 4396 h 117936"/>
                    <a:gd name="connsiteX2" fmla="*/ 60282 w 129662"/>
                    <a:gd name="connsiteY2" fmla="*/ 117817 h 117936"/>
                    <a:gd name="connsiteX3" fmla="*/ 561 w 129662"/>
                    <a:gd name="connsiteY3" fmla="*/ 0 h 117936"/>
                    <a:gd name="connsiteX4" fmla="*/ 561 w 129662"/>
                    <a:gd name="connsiteY4" fmla="*/ 0 h 11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62" h="117936">
                      <a:moveTo>
                        <a:pt x="561" y="0"/>
                      </a:moveTo>
                      <a:lnTo>
                        <a:pt x="129663" y="4396"/>
                      </a:lnTo>
                      <a:cubicBezTo>
                        <a:pt x="129663" y="4396"/>
                        <a:pt x="129663" y="122213"/>
                        <a:pt x="60282" y="117817"/>
                      </a:cubicBezTo>
                      <a:cubicBezTo>
                        <a:pt x="-9978" y="113421"/>
                        <a:pt x="561" y="0"/>
                        <a:pt x="561" y="0"/>
                      </a:cubicBezTo>
                      <a:lnTo>
                        <a:pt x="561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" name="Freeform 23">
                  <a:extLst>
                    <a:ext uri="{FF2B5EF4-FFF2-40B4-BE49-F238E27FC236}">
                      <a16:creationId xmlns:a16="http://schemas.microsoft.com/office/drawing/2014/main" id="{148ABC81-AE0A-C25C-FD60-017CE77B1A2B}"/>
                    </a:ext>
                  </a:extLst>
                </p:cNvPr>
                <p:cNvSpPr/>
                <p:nvPr/>
              </p:nvSpPr>
              <p:spPr>
                <a:xfrm>
                  <a:off x="-10009689" y="5676985"/>
                  <a:ext cx="164667" cy="122799"/>
                </a:xfrm>
                <a:custGeom>
                  <a:avLst/>
                  <a:gdLst>
                    <a:gd name="connsiteX0" fmla="*/ 164668 w 164667"/>
                    <a:gd name="connsiteY0" fmla="*/ 103945 h 122799"/>
                    <a:gd name="connsiteX1" fmla="*/ 161155 w 164667"/>
                    <a:gd name="connsiteY1" fmla="*/ 52070 h 122799"/>
                    <a:gd name="connsiteX2" fmla="*/ 154129 w 164667"/>
                    <a:gd name="connsiteY2" fmla="*/ 28331 h 122799"/>
                    <a:gd name="connsiteX3" fmla="*/ 135686 w 164667"/>
                    <a:gd name="connsiteY3" fmla="*/ 12505 h 122799"/>
                    <a:gd name="connsiteX4" fmla="*/ 46983 w 164667"/>
                    <a:gd name="connsiteY4" fmla="*/ 12505 h 122799"/>
                    <a:gd name="connsiteX5" fmla="*/ 2193 w 164667"/>
                    <a:gd name="connsiteY5" fmla="*/ 81085 h 122799"/>
                    <a:gd name="connsiteX6" fmla="*/ 14488 w 164667"/>
                    <a:gd name="connsiteY6" fmla="*/ 122408 h 122799"/>
                    <a:gd name="connsiteX7" fmla="*/ 149738 w 164667"/>
                    <a:gd name="connsiteY7" fmla="*/ 122408 h 122799"/>
                    <a:gd name="connsiteX8" fmla="*/ 163790 w 164667"/>
                    <a:gd name="connsiteY8" fmla="*/ 103065 h 122799"/>
                    <a:gd name="connsiteX9" fmla="*/ 164668 w 164667"/>
                    <a:gd name="connsiteY9" fmla="*/ 103065 h 122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667" h="122799">
                      <a:moveTo>
                        <a:pt x="164668" y="103945"/>
                      </a:moveTo>
                      <a:lnTo>
                        <a:pt x="161155" y="52070"/>
                      </a:lnTo>
                      <a:lnTo>
                        <a:pt x="154129" y="28331"/>
                      </a:lnTo>
                      <a:cubicBezTo>
                        <a:pt x="151494" y="24814"/>
                        <a:pt x="140955" y="16901"/>
                        <a:pt x="135686" y="12505"/>
                      </a:cubicBezTo>
                      <a:cubicBezTo>
                        <a:pt x="100556" y="-15631"/>
                        <a:pt x="46983" y="12505"/>
                        <a:pt x="46983" y="12505"/>
                      </a:cubicBezTo>
                      <a:cubicBezTo>
                        <a:pt x="32931" y="37123"/>
                        <a:pt x="4828" y="73172"/>
                        <a:pt x="2193" y="81085"/>
                      </a:cubicBezTo>
                      <a:cubicBezTo>
                        <a:pt x="-4833" y="106582"/>
                        <a:pt x="6584" y="121529"/>
                        <a:pt x="14488" y="122408"/>
                      </a:cubicBezTo>
                      <a:cubicBezTo>
                        <a:pt x="22393" y="123288"/>
                        <a:pt x="142712" y="122408"/>
                        <a:pt x="149738" y="122408"/>
                      </a:cubicBezTo>
                      <a:cubicBezTo>
                        <a:pt x="156764" y="122408"/>
                        <a:pt x="164668" y="108341"/>
                        <a:pt x="163790" y="103065"/>
                      </a:cubicBezTo>
                      <a:lnTo>
                        <a:pt x="164668" y="103065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reeform 24">
                  <a:extLst>
                    <a:ext uri="{FF2B5EF4-FFF2-40B4-BE49-F238E27FC236}">
                      <a16:creationId xmlns:a16="http://schemas.microsoft.com/office/drawing/2014/main" id="{520B04B6-978B-F756-8594-4F29D99EE3C7}"/>
                    </a:ext>
                  </a:extLst>
                </p:cNvPr>
                <p:cNvSpPr/>
                <p:nvPr/>
              </p:nvSpPr>
              <p:spPr>
                <a:xfrm>
                  <a:off x="-10159651" y="4379436"/>
                  <a:ext cx="328603" cy="513470"/>
                </a:xfrm>
                <a:custGeom>
                  <a:avLst/>
                  <a:gdLst>
                    <a:gd name="connsiteX0" fmla="*/ 218902 w 328603"/>
                    <a:gd name="connsiteY0" fmla="*/ 334987 h 513470"/>
                    <a:gd name="connsiteX1" fmla="*/ 274231 w 328603"/>
                    <a:gd name="connsiteY1" fmla="*/ 357847 h 513470"/>
                    <a:gd name="connsiteX2" fmla="*/ 293552 w 328603"/>
                    <a:gd name="connsiteY2" fmla="*/ 376311 h 513470"/>
                    <a:gd name="connsiteX3" fmla="*/ 325169 w 328603"/>
                    <a:gd name="connsiteY3" fmla="*/ 414117 h 513470"/>
                    <a:gd name="connsiteX4" fmla="*/ 284770 w 328603"/>
                    <a:gd name="connsiteY4" fmla="*/ 412359 h 513470"/>
                    <a:gd name="connsiteX5" fmla="*/ 266327 w 328603"/>
                    <a:gd name="connsiteY5" fmla="*/ 396533 h 513470"/>
                    <a:gd name="connsiteX6" fmla="*/ 275109 w 328603"/>
                    <a:gd name="connsiteY6" fmla="*/ 410601 h 513470"/>
                    <a:gd name="connsiteX7" fmla="*/ 326047 w 328603"/>
                    <a:gd name="connsiteY7" fmla="*/ 461596 h 513470"/>
                    <a:gd name="connsiteX8" fmla="*/ 313752 w 328603"/>
                    <a:gd name="connsiteY8" fmla="*/ 477422 h 513470"/>
                    <a:gd name="connsiteX9" fmla="*/ 260179 w 328603"/>
                    <a:gd name="connsiteY9" fmla="*/ 433461 h 513470"/>
                    <a:gd name="connsiteX10" fmla="*/ 273353 w 328603"/>
                    <a:gd name="connsiteY10" fmla="*/ 448408 h 513470"/>
                    <a:gd name="connsiteX11" fmla="*/ 307604 w 328603"/>
                    <a:gd name="connsiteY11" fmla="*/ 477422 h 513470"/>
                    <a:gd name="connsiteX12" fmla="*/ 307604 w 328603"/>
                    <a:gd name="connsiteY12" fmla="*/ 503799 h 513470"/>
                    <a:gd name="connsiteX13" fmla="*/ 236466 w 328603"/>
                    <a:gd name="connsiteY13" fmla="*/ 442253 h 513470"/>
                    <a:gd name="connsiteX14" fmla="*/ 248762 w 328603"/>
                    <a:gd name="connsiteY14" fmla="*/ 456321 h 513470"/>
                    <a:gd name="connsiteX15" fmla="*/ 283891 w 328603"/>
                    <a:gd name="connsiteY15" fmla="*/ 494127 h 513470"/>
                    <a:gd name="connsiteX16" fmla="*/ 274231 w 328603"/>
                    <a:gd name="connsiteY16" fmla="*/ 513471 h 513470"/>
                    <a:gd name="connsiteX17" fmla="*/ 212754 w 328603"/>
                    <a:gd name="connsiteY17" fmla="*/ 446649 h 513470"/>
                    <a:gd name="connsiteX18" fmla="*/ 247883 w 328603"/>
                    <a:gd name="connsiteY18" fmla="*/ 497644 h 513470"/>
                    <a:gd name="connsiteX19" fmla="*/ 241736 w 328603"/>
                    <a:gd name="connsiteY19" fmla="*/ 511712 h 513470"/>
                    <a:gd name="connsiteX20" fmla="*/ 189041 w 328603"/>
                    <a:gd name="connsiteY20" fmla="*/ 458079 h 513470"/>
                    <a:gd name="connsiteX21" fmla="*/ 160937 w 328603"/>
                    <a:gd name="connsiteY21" fmla="*/ 392137 h 513470"/>
                    <a:gd name="connsiteX22" fmla="*/ 157425 w 328603"/>
                    <a:gd name="connsiteY22" fmla="*/ 370156 h 513470"/>
                    <a:gd name="connsiteX23" fmla="*/ 219 w 328603"/>
                    <a:gd name="connsiteY23" fmla="*/ 103749 h 513470"/>
                    <a:gd name="connsiteX24" fmla="*/ 26566 w 328603"/>
                    <a:gd name="connsiteY24" fmla="*/ 0 h 513470"/>
                    <a:gd name="connsiteX25" fmla="*/ 138103 w 328603"/>
                    <a:gd name="connsiteY25" fmla="*/ 73855 h 513470"/>
                    <a:gd name="connsiteX26" fmla="*/ 117904 w 328603"/>
                    <a:gd name="connsiteY26" fmla="*/ 124851 h 513470"/>
                    <a:gd name="connsiteX27" fmla="*/ 220658 w 328603"/>
                    <a:gd name="connsiteY27" fmla="*/ 334987 h 513470"/>
                    <a:gd name="connsiteX28" fmla="*/ 218902 w 328603"/>
                    <a:gd name="connsiteY28" fmla="*/ 334987 h 513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28603" h="513470">
                      <a:moveTo>
                        <a:pt x="218902" y="334987"/>
                      </a:moveTo>
                      <a:cubicBezTo>
                        <a:pt x="225049" y="343779"/>
                        <a:pt x="266327" y="352571"/>
                        <a:pt x="274231" y="357847"/>
                      </a:cubicBezTo>
                      <a:cubicBezTo>
                        <a:pt x="283891" y="364881"/>
                        <a:pt x="293552" y="376311"/>
                        <a:pt x="293552" y="376311"/>
                      </a:cubicBezTo>
                      <a:cubicBezTo>
                        <a:pt x="303213" y="392137"/>
                        <a:pt x="325169" y="409721"/>
                        <a:pt x="325169" y="414117"/>
                      </a:cubicBezTo>
                      <a:cubicBezTo>
                        <a:pt x="325169" y="418514"/>
                        <a:pt x="304091" y="433461"/>
                        <a:pt x="284770" y="412359"/>
                      </a:cubicBezTo>
                      <a:cubicBezTo>
                        <a:pt x="265448" y="391258"/>
                        <a:pt x="273353" y="399171"/>
                        <a:pt x="266327" y="396533"/>
                      </a:cubicBezTo>
                      <a:cubicBezTo>
                        <a:pt x="269839" y="406204"/>
                        <a:pt x="273353" y="407963"/>
                        <a:pt x="275109" y="410601"/>
                      </a:cubicBezTo>
                      <a:cubicBezTo>
                        <a:pt x="283891" y="422031"/>
                        <a:pt x="319899" y="456321"/>
                        <a:pt x="326047" y="461596"/>
                      </a:cubicBezTo>
                      <a:cubicBezTo>
                        <a:pt x="332195" y="466871"/>
                        <a:pt x="326925" y="479181"/>
                        <a:pt x="313752" y="477422"/>
                      </a:cubicBezTo>
                      <a:cubicBezTo>
                        <a:pt x="299700" y="475664"/>
                        <a:pt x="260179" y="433461"/>
                        <a:pt x="260179" y="433461"/>
                      </a:cubicBezTo>
                      <a:lnTo>
                        <a:pt x="273353" y="448408"/>
                      </a:lnTo>
                      <a:cubicBezTo>
                        <a:pt x="275109" y="451045"/>
                        <a:pt x="301456" y="473026"/>
                        <a:pt x="307604" y="477422"/>
                      </a:cubicBezTo>
                      <a:cubicBezTo>
                        <a:pt x="313752" y="481818"/>
                        <a:pt x="324291" y="500282"/>
                        <a:pt x="307604" y="503799"/>
                      </a:cubicBezTo>
                      <a:cubicBezTo>
                        <a:pt x="290918" y="506437"/>
                        <a:pt x="236466" y="442253"/>
                        <a:pt x="236466" y="442253"/>
                      </a:cubicBezTo>
                      <a:lnTo>
                        <a:pt x="248762" y="456321"/>
                      </a:lnTo>
                      <a:cubicBezTo>
                        <a:pt x="248762" y="456321"/>
                        <a:pt x="268083" y="479181"/>
                        <a:pt x="283891" y="494127"/>
                      </a:cubicBezTo>
                      <a:cubicBezTo>
                        <a:pt x="299700" y="509075"/>
                        <a:pt x="274231" y="513471"/>
                        <a:pt x="274231" y="513471"/>
                      </a:cubicBezTo>
                      <a:cubicBezTo>
                        <a:pt x="250518" y="508195"/>
                        <a:pt x="216267" y="450166"/>
                        <a:pt x="212754" y="446649"/>
                      </a:cubicBezTo>
                      <a:cubicBezTo>
                        <a:pt x="214510" y="456321"/>
                        <a:pt x="247883" y="497644"/>
                        <a:pt x="247883" y="497644"/>
                      </a:cubicBezTo>
                      <a:cubicBezTo>
                        <a:pt x="247883" y="497644"/>
                        <a:pt x="254031" y="509075"/>
                        <a:pt x="241736" y="511712"/>
                      </a:cubicBezTo>
                      <a:cubicBezTo>
                        <a:pt x="229441" y="514350"/>
                        <a:pt x="197824" y="480939"/>
                        <a:pt x="189041" y="458079"/>
                      </a:cubicBezTo>
                      <a:cubicBezTo>
                        <a:pt x="180259" y="435219"/>
                        <a:pt x="174111" y="426427"/>
                        <a:pt x="160937" y="392137"/>
                      </a:cubicBezTo>
                      <a:cubicBezTo>
                        <a:pt x="158303" y="384224"/>
                        <a:pt x="157425" y="378948"/>
                        <a:pt x="157425" y="370156"/>
                      </a:cubicBezTo>
                      <a:cubicBezTo>
                        <a:pt x="157425" y="370156"/>
                        <a:pt x="-6807" y="146831"/>
                        <a:pt x="219" y="103749"/>
                      </a:cubicBezTo>
                      <a:cubicBezTo>
                        <a:pt x="7245" y="60667"/>
                        <a:pt x="18662" y="18464"/>
                        <a:pt x="26566" y="0"/>
                      </a:cubicBezTo>
                      <a:cubicBezTo>
                        <a:pt x="79261" y="44841"/>
                        <a:pt x="138103" y="73855"/>
                        <a:pt x="138103" y="73855"/>
                      </a:cubicBezTo>
                      <a:lnTo>
                        <a:pt x="117904" y="124851"/>
                      </a:lnTo>
                      <a:lnTo>
                        <a:pt x="220658" y="334987"/>
                      </a:lnTo>
                      <a:lnTo>
                        <a:pt x="218902" y="33498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5A33FE83-7776-2F7C-4996-A996745F69F5}"/>
                    </a:ext>
                  </a:extLst>
                </p:cNvPr>
                <p:cNvSpPr/>
                <p:nvPr/>
              </p:nvSpPr>
              <p:spPr>
                <a:xfrm>
                  <a:off x="-9537636" y="4429552"/>
                  <a:ext cx="288981" cy="457248"/>
                </a:xfrm>
                <a:custGeom>
                  <a:avLst/>
                  <a:gdLst>
                    <a:gd name="connsiteX0" fmla="*/ 202874 w 288981"/>
                    <a:gd name="connsiteY0" fmla="*/ 274320 h 457248"/>
                    <a:gd name="connsiteX1" fmla="*/ 252056 w 288981"/>
                    <a:gd name="connsiteY1" fmla="*/ 307731 h 457248"/>
                    <a:gd name="connsiteX2" fmla="*/ 269621 w 288981"/>
                    <a:gd name="connsiteY2" fmla="*/ 329712 h 457248"/>
                    <a:gd name="connsiteX3" fmla="*/ 288942 w 288981"/>
                    <a:gd name="connsiteY3" fmla="*/ 370156 h 457248"/>
                    <a:gd name="connsiteX4" fmla="*/ 254690 w 288981"/>
                    <a:gd name="connsiteY4" fmla="*/ 360485 h 457248"/>
                    <a:gd name="connsiteX5" fmla="*/ 236247 w 288981"/>
                    <a:gd name="connsiteY5" fmla="*/ 339383 h 457248"/>
                    <a:gd name="connsiteX6" fmla="*/ 242395 w 288981"/>
                    <a:gd name="connsiteY6" fmla="*/ 358726 h 457248"/>
                    <a:gd name="connsiteX7" fmla="*/ 281038 w 288981"/>
                    <a:gd name="connsiteY7" fmla="*/ 417635 h 457248"/>
                    <a:gd name="connsiteX8" fmla="*/ 266108 w 288981"/>
                    <a:gd name="connsiteY8" fmla="*/ 431702 h 457248"/>
                    <a:gd name="connsiteX9" fmla="*/ 223074 w 288981"/>
                    <a:gd name="connsiteY9" fmla="*/ 377190 h 457248"/>
                    <a:gd name="connsiteX10" fmla="*/ 232734 w 288981"/>
                    <a:gd name="connsiteY10" fmla="*/ 393896 h 457248"/>
                    <a:gd name="connsiteX11" fmla="*/ 257325 w 288981"/>
                    <a:gd name="connsiteY11" fmla="*/ 429065 h 457248"/>
                    <a:gd name="connsiteX12" fmla="*/ 253812 w 288981"/>
                    <a:gd name="connsiteY12" fmla="*/ 453683 h 457248"/>
                    <a:gd name="connsiteX13" fmla="*/ 198483 w 288981"/>
                    <a:gd name="connsiteY13" fmla="*/ 380707 h 457248"/>
                    <a:gd name="connsiteX14" fmla="*/ 203752 w 288981"/>
                    <a:gd name="connsiteY14" fmla="*/ 394775 h 457248"/>
                    <a:gd name="connsiteX15" fmla="*/ 233613 w 288981"/>
                    <a:gd name="connsiteY15" fmla="*/ 441374 h 457248"/>
                    <a:gd name="connsiteX16" fmla="*/ 219561 w 288981"/>
                    <a:gd name="connsiteY16" fmla="*/ 457200 h 457248"/>
                    <a:gd name="connsiteX17" fmla="*/ 174770 w 288981"/>
                    <a:gd name="connsiteY17" fmla="*/ 380707 h 457248"/>
                    <a:gd name="connsiteX18" fmla="*/ 197605 w 288981"/>
                    <a:gd name="connsiteY18" fmla="*/ 437857 h 457248"/>
                    <a:gd name="connsiteX19" fmla="*/ 190579 w 288981"/>
                    <a:gd name="connsiteY19" fmla="*/ 449287 h 457248"/>
                    <a:gd name="connsiteX20" fmla="*/ 149301 w 288981"/>
                    <a:gd name="connsiteY20" fmla="*/ 386861 h 457248"/>
                    <a:gd name="connsiteX21" fmla="*/ 135249 w 288981"/>
                    <a:gd name="connsiteY21" fmla="*/ 317402 h 457248"/>
                    <a:gd name="connsiteX22" fmla="*/ 135249 w 288981"/>
                    <a:gd name="connsiteY22" fmla="*/ 295422 h 457248"/>
                    <a:gd name="connsiteX23" fmla="*/ 0 w 288981"/>
                    <a:gd name="connsiteY23" fmla="*/ 87044 h 457248"/>
                    <a:gd name="connsiteX24" fmla="*/ 1757 w 288981"/>
                    <a:gd name="connsiteY24" fmla="*/ 24619 h 457248"/>
                    <a:gd name="connsiteX25" fmla="*/ 108024 w 288981"/>
                    <a:gd name="connsiteY25" fmla="*/ 0 h 457248"/>
                    <a:gd name="connsiteX26" fmla="*/ 115928 w 288981"/>
                    <a:gd name="connsiteY26" fmla="*/ 57150 h 457248"/>
                    <a:gd name="connsiteX27" fmla="*/ 201996 w 288981"/>
                    <a:gd name="connsiteY27" fmla="*/ 273441 h 457248"/>
                    <a:gd name="connsiteX28" fmla="*/ 201996 w 288981"/>
                    <a:gd name="connsiteY28" fmla="*/ 273441 h 457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8981" h="457248">
                      <a:moveTo>
                        <a:pt x="202874" y="274320"/>
                      </a:moveTo>
                      <a:cubicBezTo>
                        <a:pt x="207265" y="283992"/>
                        <a:pt x="245908" y="300697"/>
                        <a:pt x="252056" y="307731"/>
                      </a:cubicBezTo>
                      <a:cubicBezTo>
                        <a:pt x="259960" y="316523"/>
                        <a:pt x="269621" y="329712"/>
                        <a:pt x="269621" y="329712"/>
                      </a:cubicBezTo>
                      <a:cubicBezTo>
                        <a:pt x="275768" y="347296"/>
                        <a:pt x="289820" y="365760"/>
                        <a:pt x="288942" y="370156"/>
                      </a:cubicBezTo>
                      <a:cubicBezTo>
                        <a:pt x="288064" y="374552"/>
                        <a:pt x="266108" y="386861"/>
                        <a:pt x="254690" y="360485"/>
                      </a:cubicBezTo>
                      <a:cubicBezTo>
                        <a:pt x="249421" y="349055"/>
                        <a:pt x="243273" y="343779"/>
                        <a:pt x="236247" y="339383"/>
                      </a:cubicBezTo>
                      <a:cubicBezTo>
                        <a:pt x="238004" y="349055"/>
                        <a:pt x="241517" y="355209"/>
                        <a:pt x="242395" y="358726"/>
                      </a:cubicBezTo>
                      <a:cubicBezTo>
                        <a:pt x="244152" y="369277"/>
                        <a:pt x="276646" y="411480"/>
                        <a:pt x="281038" y="417635"/>
                      </a:cubicBezTo>
                      <a:cubicBezTo>
                        <a:pt x="285429" y="424669"/>
                        <a:pt x="279281" y="436098"/>
                        <a:pt x="266108" y="431702"/>
                      </a:cubicBezTo>
                      <a:cubicBezTo>
                        <a:pt x="252934" y="427306"/>
                        <a:pt x="223074" y="377190"/>
                        <a:pt x="223074" y="377190"/>
                      </a:cubicBezTo>
                      <a:lnTo>
                        <a:pt x="232734" y="393896"/>
                      </a:lnTo>
                      <a:cubicBezTo>
                        <a:pt x="233613" y="397412"/>
                        <a:pt x="256447" y="424669"/>
                        <a:pt x="257325" y="429065"/>
                      </a:cubicBezTo>
                      <a:cubicBezTo>
                        <a:pt x="262594" y="436098"/>
                        <a:pt x="269621" y="453683"/>
                        <a:pt x="253812" y="453683"/>
                      </a:cubicBezTo>
                      <a:cubicBezTo>
                        <a:pt x="238004" y="453683"/>
                        <a:pt x="198483" y="380707"/>
                        <a:pt x="198483" y="380707"/>
                      </a:cubicBezTo>
                      <a:lnTo>
                        <a:pt x="203752" y="394775"/>
                      </a:lnTo>
                      <a:cubicBezTo>
                        <a:pt x="203752" y="394775"/>
                        <a:pt x="221317" y="423789"/>
                        <a:pt x="233613" y="441374"/>
                      </a:cubicBezTo>
                      <a:cubicBezTo>
                        <a:pt x="246786" y="458959"/>
                        <a:pt x="219561" y="457200"/>
                        <a:pt x="219561" y="457200"/>
                      </a:cubicBezTo>
                      <a:cubicBezTo>
                        <a:pt x="197605" y="446649"/>
                        <a:pt x="176527" y="384224"/>
                        <a:pt x="174770" y="380707"/>
                      </a:cubicBezTo>
                      <a:cubicBezTo>
                        <a:pt x="174770" y="390378"/>
                        <a:pt x="197605" y="437857"/>
                        <a:pt x="197605" y="437857"/>
                      </a:cubicBezTo>
                      <a:cubicBezTo>
                        <a:pt x="197605" y="437857"/>
                        <a:pt x="202874" y="450166"/>
                        <a:pt x="190579" y="449287"/>
                      </a:cubicBezTo>
                      <a:cubicBezTo>
                        <a:pt x="174770" y="449287"/>
                        <a:pt x="153692" y="410601"/>
                        <a:pt x="149301" y="386861"/>
                      </a:cubicBezTo>
                      <a:cubicBezTo>
                        <a:pt x="144910" y="363122"/>
                        <a:pt x="141397" y="353451"/>
                        <a:pt x="135249" y="317402"/>
                      </a:cubicBezTo>
                      <a:cubicBezTo>
                        <a:pt x="133493" y="309489"/>
                        <a:pt x="134371" y="304214"/>
                        <a:pt x="135249" y="295422"/>
                      </a:cubicBezTo>
                      <a:lnTo>
                        <a:pt x="0" y="87044"/>
                      </a:lnTo>
                      <a:lnTo>
                        <a:pt x="1757" y="24619"/>
                      </a:lnTo>
                      <a:lnTo>
                        <a:pt x="108024" y="0"/>
                      </a:lnTo>
                      <a:lnTo>
                        <a:pt x="115928" y="57150"/>
                      </a:lnTo>
                      <a:lnTo>
                        <a:pt x="201996" y="273441"/>
                      </a:lnTo>
                      <a:lnTo>
                        <a:pt x="201996" y="273441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" name="Subtitle 2">
            <a:extLst>
              <a:ext uri="{FF2B5EF4-FFF2-40B4-BE49-F238E27FC236}">
                <a16:creationId xmlns:a16="http://schemas.microsoft.com/office/drawing/2014/main" id="{631B3F4D-4C9A-2DC8-3938-FB857DF958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F9573AC-F553-93C7-B8EF-A148F6A69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A0488E8-202A-2D14-E1F2-870DDDC992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999" y="6483508"/>
            <a:ext cx="1984061" cy="24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856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E9A298C-07CA-F134-C3C8-D3F72B21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9" name="footnotes">
            <a:extLst>
              <a:ext uri="{FF2B5EF4-FFF2-40B4-BE49-F238E27FC236}">
                <a16:creationId xmlns:a16="http://schemas.microsoft.com/office/drawing/2014/main" id="{07A7F6E9-1BEA-8C95-8A28-731013871F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CFF9C7C-42A5-A37A-36B5-B9F946D6996A}"/>
              </a:ext>
            </a:extLst>
          </p:cNvPr>
          <p:cNvGrpSpPr/>
          <p:nvPr userDrawn="1"/>
        </p:nvGrpSpPr>
        <p:grpSpPr>
          <a:xfrm>
            <a:off x="4870516" y="675643"/>
            <a:ext cx="8250014" cy="5804357"/>
            <a:chOff x="-1037312" y="825767"/>
            <a:chExt cx="8250014" cy="5804357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FDF0B514-35E3-A49C-6843-A20134B59A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67489" y="1191966"/>
              <a:ext cx="4615031" cy="4615031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86F3A0CA-C609-156E-73D6-BFA86EB70D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-1037312" y="825767"/>
              <a:ext cx="8250014" cy="58043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6948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A680CB-D028-25E1-3625-086BE1CE8C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4" name="footnotes">
            <a:extLst>
              <a:ext uri="{FF2B5EF4-FFF2-40B4-BE49-F238E27FC236}">
                <a16:creationId xmlns:a16="http://schemas.microsoft.com/office/drawing/2014/main" id="{DD4350DC-EEE4-0ACA-39D3-52388B0315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097865-D63D-BAD2-5EC8-9E05B2B05D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12DFE95-BB99-0981-E7C3-CC8634FD8D3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95831" y="902640"/>
            <a:ext cx="5052719" cy="505271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EA592FD-36D4-0795-D12D-239322F3F7D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92636" y="412751"/>
            <a:ext cx="7632091" cy="536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613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71FECBDB-0204-F169-0062-7F4D852B9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1116DF71-C805-4A66-B529-6672142A24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B2D267A-80E5-F6A6-3F99-9246BAD699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ECF7ACC-BCF3-5887-B2AB-0F2A28C247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12326" y="545121"/>
            <a:ext cx="4751675" cy="5749959"/>
          </a:xfrm>
          <a:prstGeom prst="rect">
            <a:avLst/>
          </a:prstGeom>
        </p:spPr>
      </p:pic>
      <p:sp>
        <p:nvSpPr>
          <p:cNvPr id="57" name="Freeform 56">
            <a:extLst>
              <a:ext uri="{FF2B5EF4-FFF2-40B4-BE49-F238E27FC236}">
                <a16:creationId xmlns:a16="http://schemas.microsoft.com/office/drawing/2014/main" id="{7E43ED5B-313E-51C4-A761-B3FCF03DB8CC}"/>
              </a:ext>
            </a:extLst>
          </p:cNvPr>
          <p:cNvSpPr/>
          <p:nvPr/>
        </p:nvSpPr>
        <p:spPr>
          <a:xfrm>
            <a:off x="13782317" y="1075636"/>
            <a:ext cx="10641" cy="10639"/>
          </a:xfrm>
          <a:custGeom>
            <a:avLst/>
            <a:gdLst/>
            <a:ahLst/>
            <a:cxnLst/>
            <a:rect l="l" t="t" r="r" b="b"/>
            <a:pathLst>
              <a:path w="10641" h="10639"/>
            </a:pathLst>
          </a:custGeom>
          <a:solidFill>
            <a:srgbClr val="7A3E1A"/>
          </a:solidFill>
          <a:ln w="15960" cap="flat">
            <a:solidFill>
              <a:srgbClr val="28180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09096A8-713F-0183-6549-E14028BB9486}"/>
              </a:ext>
            </a:extLst>
          </p:cNvPr>
          <p:cNvGrpSpPr/>
          <p:nvPr userDrawn="1"/>
        </p:nvGrpSpPr>
        <p:grpSpPr>
          <a:xfrm flipH="1">
            <a:off x="6296528" y="1061489"/>
            <a:ext cx="5468526" cy="4617743"/>
            <a:chOff x="15003265" y="1942745"/>
            <a:chExt cx="4435068" cy="3745069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AD107FC-4855-B881-F225-DBD690567ACA}"/>
                </a:ext>
              </a:extLst>
            </p:cNvPr>
            <p:cNvSpPr/>
            <p:nvPr/>
          </p:nvSpPr>
          <p:spPr>
            <a:xfrm>
              <a:off x="17273829" y="2922635"/>
              <a:ext cx="368199" cy="448982"/>
            </a:xfrm>
            <a:custGeom>
              <a:avLst/>
              <a:gdLst>
                <a:gd name="connsiteX0" fmla="*/ 4257 w 368199"/>
                <a:gd name="connsiteY0" fmla="*/ 0 h 448982"/>
                <a:gd name="connsiteX1" fmla="*/ 368200 w 368199"/>
                <a:gd name="connsiteY1" fmla="*/ 224491 h 448982"/>
                <a:gd name="connsiteX2" fmla="*/ 242629 w 368199"/>
                <a:gd name="connsiteY2" fmla="*/ 448983 h 448982"/>
                <a:gd name="connsiteX3" fmla="*/ 0 w 368199"/>
                <a:gd name="connsiteY3" fmla="*/ 326629 h 448982"/>
                <a:gd name="connsiteX4" fmla="*/ 4257 w 368199"/>
                <a:gd name="connsiteY4" fmla="*/ 0 h 448982"/>
                <a:gd name="connsiteX5" fmla="*/ 4257 w 368199"/>
                <a:gd name="connsiteY5" fmla="*/ 0 h 44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8199" h="448982">
                  <a:moveTo>
                    <a:pt x="4257" y="0"/>
                  </a:moveTo>
                  <a:cubicBezTo>
                    <a:pt x="108544" y="70220"/>
                    <a:pt x="368200" y="224491"/>
                    <a:pt x="368200" y="224491"/>
                  </a:cubicBezTo>
                  <a:lnTo>
                    <a:pt x="242629" y="448983"/>
                  </a:lnTo>
                  <a:cubicBezTo>
                    <a:pt x="242629" y="448983"/>
                    <a:pt x="127699" y="403233"/>
                    <a:pt x="0" y="326629"/>
                  </a:cubicBezTo>
                  <a:lnTo>
                    <a:pt x="4257" y="0"/>
                  </a:lnTo>
                  <a:lnTo>
                    <a:pt x="4257" y="0"/>
                  </a:lnTo>
                  <a:close/>
                </a:path>
              </a:pathLst>
            </a:custGeom>
            <a:solidFill>
              <a:srgbClr val="FFFFFF"/>
            </a:solidFill>
            <a:ln w="15960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1C35B3FE-E940-FD93-FE7D-52093093AF5F}"/>
                </a:ext>
              </a:extLst>
            </p:cNvPr>
            <p:cNvSpPr/>
            <p:nvPr/>
          </p:nvSpPr>
          <p:spPr>
            <a:xfrm>
              <a:off x="15013202" y="4784820"/>
              <a:ext cx="1945286" cy="163846"/>
            </a:xfrm>
            <a:custGeom>
              <a:avLst/>
              <a:gdLst>
                <a:gd name="connsiteX0" fmla="*/ 1945287 w 1945286"/>
                <a:gd name="connsiteY0" fmla="*/ 0 h 163846"/>
                <a:gd name="connsiteX1" fmla="*/ 0 w 1945286"/>
                <a:gd name="connsiteY1" fmla="*/ 163847 h 16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5286" h="163846">
                  <a:moveTo>
                    <a:pt x="1945287" y="0"/>
                  </a:moveTo>
                  <a:cubicBezTo>
                    <a:pt x="1166321" y="136184"/>
                    <a:pt x="517182" y="163847"/>
                    <a:pt x="0" y="163847"/>
                  </a:cubicBezTo>
                </a:path>
              </a:pathLst>
            </a:custGeom>
            <a:noFill/>
            <a:ln w="15960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aphic 8">
              <a:extLst>
                <a:ext uri="{FF2B5EF4-FFF2-40B4-BE49-F238E27FC236}">
                  <a16:creationId xmlns:a16="http://schemas.microsoft.com/office/drawing/2014/main" id="{0C300E12-2146-94C3-A5E9-083F81984C12}"/>
                </a:ext>
              </a:extLst>
            </p:cNvPr>
            <p:cNvGrpSpPr/>
            <p:nvPr/>
          </p:nvGrpSpPr>
          <p:grpSpPr>
            <a:xfrm>
              <a:off x="15003265" y="1942745"/>
              <a:ext cx="1465350" cy="670282"/>
              <a:chOff x="18754078" y="1990624"/>
              <a:chExt cx="1465350" cy="670282"/>
            </a:xfrm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65874CC5-983D-AEDD-7C66-0DBF20EB5411}"/>
                  </a:ext>
                </a:extLst>
              </p:cNvPr>
              <p:cNvSpPr/>
              <p:nvPr/>
            </p:nvSpPr>
            <p:spPr>
              <a:xfrm>
                <a:off x="19464937" y="2017222"/>
                <a:ext cx="754490" cy="463877"/>
              </a:xfrm>
              <a:custGeom>
                <a:avLst/>
                <a:gdLst>
                  <a:gd name="connsiteX0" fmla="*/ 233052 w 754490"/>
                  <a:gd name="connsiteY0" fmla="*/ 1064 h 463877"/>
                  <a:gd name="connsiteX1" fmla="*/ 427793 w 754490"/>
                  <a:gd name="connsiteY1" fmla="*/ 108522 h 463877"/>
                  <a:gd name="connsiteX2" fmla="*/ 576776 w 754490"/>
                  <a:gd name="connsiteY2" fmla="*/ 108522 h 463877"/>
                  <a:gd name="connsiteX3" fmla="*/ 754491 w 754490"/>
                  <a:gd name="connsiteY3" fmla="*/ 286200 h 463877"/>
                  <a:gd name="connsiteX4" fmla="*/ 754491 w 754490"/>
                  <a:gd name="connsiteY4" fmla="*/ 286200 h 463877"/>
                  <a:gd name="connsiteX5" fmla="*/ 576776 w 754490"/>
                  <a:gd name="connsiteY5" fmla="*/ 463878 h 463877"/>
                  <a:gd name="connsiteX6" fmla="*/ 231987 w 754490"/>
                  <a:gd name="connsiteY6" fmla="*/ 463878 h 463877"/>
                  <a:gd name="connsiteX7" fmla="*/ 0 w 754490"/>
                  <a:gd name="connsiteY7" fmla="*/ 231939 h 463877"/>
                  <a:gd name="connsiteX8" fmla="*/ 231987 w 754490"/>
                  <a:gd name="connsiteY8" fmla="*/ 0 h 463877"/>
                  <a:gd name="connsiteX9" fmla="*/ 233052 w 754490"/>
                  <a:gd name="connsiteY9" fmla="*/ 0 h 46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4490" h="463877">
                    <a:moveTo>
                      <a:pt x="233052" y="1064"/>
                    </a:moveTo>
                    <a:cubicBezTo>
                      <a:pt x="314991" y="1064"/>
                      <a:pt x="387355" y="43622"/>
                      <a:pt x="427793" y="108522"/>
                    </a:cubicBezTo>
                    <a:lnTo>
                      <a:pt x="576776" y="108522"/>
                    </a:lnTo>
                    <a:cubicBezTo>
                      <a:pt x="674678" y="108522"/>
                      <a:pt x="754491" y="188317"/>
                      <a:pt x="754491" y="286200"/>
                    </a:cubicBezTo>
                    <a:lnTo>
                      <a:pt x="754491" y="286200"/>
                    </a:lnTo>
                    <a:cubicBezTo>
                      <a:pt x="754491" y="384082"/>
                      <a:pt x="674678" y="463878"/>
                      <a:pt x="576776" y="463878"/>
                    </a:cubicBezTo>
                    <a:lnTo>
                      <a:pt x="231987" y="463878"/>
                    </a:lnTo>
                    <a:cubicBezTo>
                      <a:pt x="104288" y="463878"/>
                      <a:pt x="0" y="360676"/>
                      <a:pt x="0" y="231939"/>
                    </a:cubicBezTo>
                    <a:cubicBezTo>
                      <a:pt x="0" y="103202"/>
                      <a:pt x="103224" y="0"/>
                      <a:pt x="231987" y="0"/>
                    </a:cubicBezTo>
                    <a:lnTo>
                      <a:pt x="23305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9" name="Graphic 8">
                <a:extLst>
                  <a:ext uri="{FF2B5EF4-FFF2-40B4-BE49-F238E27FC236}">
                    <a16:creationId xmlns:a16="http://schemas.microsoft.com/office/drawing/2014/main" id="{8C1A6A25-FE82-ACA1-BFAB-34EA05522BE6}"/>
                  </a:ext>
                </a:extLst>
              </p:cNvPr>
              <p:cNvGrpSpPr/>
              <p:nvPr/>
            </p:nvGrpSpPr>
            <p:grpSpPr>
              <a:xfrm>
                <a:off x="18754078" y="1990624"/>
                <a:ext cx="1251453" cy="670282"/>
                <a:chOff x="18754078" y="1990624"/>
                <a:chExt cx="1251453" cy="670282"/>
              </a:xfrm>
            </p:grpSpPr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D74A13FC-69A9-8E44-86E1-39705C2E7747}"/>
                    </a:ext>
                  </a:extLst>
                </p:cNvPr>
                <p:cNvSpPr/>
                <p:nvPr/>
              </p:nvSpPr>
              <p:spPr>
                <a:xfrm>
                  <a:off x="18754078" y="1990624"/>
                  <a:ext cx="1251453" cy="670282"/>
                </a:xfrm>
                <a:custGeom>
                  <a:avLst/>
                  <a:gdLst>
                    <a:gd name="connsiteX0" fmla="*/ 212832 w 1251453"/>
                    <a:gd name="connsiteY0" fmla="*/ 235131 h 670282"/>
                    <a:gd name="connsiteX1" fmla="*/ 533145 w 1251453"/>
                    <a:gd name="connsiteY1" fmla="*/ 0 h 670282"/>
                    <a:gd name="connsiteX2" fmla="*/ 835367 w 1251453"/>
                    <a:gd name="connsiteY2" fmla="*/ 188317 h 670282"/>
                    <a:gd name="connsiteX3" fmla="*/ 868355 w 1251453"/>
                    <a:gd name="connsiteY3" fmla="*/ 184062 h 670282"/>
                    <a:gd name="connsiteX4" fmla="*/ 999247 w 1251453"/>
                    <a:gd name="connsiteY4" fmla="*/ 314926 h 670282"/>
                    <a:gd name="connsiteX5" fmla="*/ 1073738 w 1251453"/>
                    <a:gd name="connsiteY5" fmla="*/ 314926 h 670282"/>
                    <a:gd name="connsiteX6" fmla="*/ 1251453 w 1251453"/>
                    <a:gd name="connsiteY6" fmla="*/ 492604 h 670282"/>
                    <a:gd name="connsiteX7" fmla="*/ 1251453 w 1251453"/>
                    <a:gd name="connsiteY7" fmla="*/ 492604 h 670282"/>
                    <a:gd name="connsiteX8" fmla="*/ 1073738 w 1251453"/>
                    <a:gd name="connsiteY8" fmla="*/ 670282 h 670282"/>
                    <a:gd name="connsiteX9" fmla="*/ 218153 w 1251453"/>
                    <a:gd name="connsiteY9" fmla="*/ 670282 h 670282"/>
                    <a:gd name="connsiteX10" fmla="*/ 0 w 1251453"/>
                    <a:gd name="connsiteY10" fmla="*/ 452174 h 670282"/>
                    <a:gd name="connsiteX11" fmla="*/ 212832 w 1251453"/>
                    <a:gd name="connsiteY11" fmla="*/ 234067 h 670282"/>
                    <a:gd name="connsiteX12" fmla="*/ 212832 w 1251453"/>
                    <a:gd name="connsiteY12" fmla="*/ 234067 h 670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51453" h="670282">
                      <a:moveTo>
                        <a:pt x="212832" y="235131"/>
                      </a:moveTo>
                      <a:cubicBezTo>
                        <a:pt x="255399" y="98946"/>
                        <a:pt x="383098" y="0"/>
                        <a:pt x="533145" y="0"/>
                      </a:cubicBezTo>
                      <a:cubicBezTo>
                        <a:pt x="683192" y="0"/>
                        <a:pt x="780030" y="76604"/>
                        <a:pt x="835367" y="188317"/>
                      </a:cubicBezTo>
                      <a:cubicBezTo>
                        <a:pt x="846008" y="185126"/>
                        <a:pt x="856650" y="184062"/>
                        <a:pt x="868355" y="184062"/>
                      </a:cubicBezTo>
                      <a:cubicBezTo>
                        <a:pt x="940718" y="184062"/>
                        <a:pt x="999247" y="242578"/>
                        <a:pt x="999247" y="314926"/>
                      </a:cubicBezTo>
                      <a:lnTo>
                        <a:pt x="1073738" y="314926"/>
                      </a:lnTo>
                      <a:cubicBezTo>
                        <a:pt x="1171641" y="314926"/>
                        <a:pt x="1251453" y="394722"/>
                        <a:pt x="1251453" y="492604"/>
                      </a:cubicBezTo>
                      <a:lnTo>
                        <a:pt x="1251453" y="492604"/>
                      </a:lnTo>
                      <a:cubicBezTo>
                        <a:pt x="1251453" y="590487"/>
                        <a:pt x="1171641" y="670282"/>
                        <a:pt x="1073738" y="670282"/>
                      </a:cubicBezTo>
                      <a:lnTo>
                        <a:pt x="218153" y="670282"/>
                      </a:lnTo>
                      <a:cubicBezTo>
                        <a:pt x="97903" y="670282"/>
                        <a:pt x="0" y="572400"/>
                        <a:pt x="0" y="452174"/>
                      </a:cubicBezTo>
                      <a:cubicBezTo>
                        <a:pt x="0" y="331949"/>
                        <a:pt x="94710" y="237259"/>
                        <a:pt x="212832" y="234067"/>
                      </a:cubicBezTo>
                      <a:lnTo>
                        <a:pt x="212832" y="2340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1" name="Freeform 20">
                  <a:extLst>
                    <a:ext uri="{FF2B5EF4-FFF2-40B4-BE49-F238E27FC236}">
                      <a16:creationId xmlns:a16="http://schemas.microsoft.com/office/drawing/2014/main" id="{6F5438A0-4989-C855-EBEF-024D5EC5DB3A}"/>
                    </a:ext>
                  </a:extLst>
                </p:cNvPr>
                <p:cNvSpPr/>
                <p:nvPr/>
              </p:nvSpPr>
              <p:spPr>
                <a:xfrm>
                  <a:off x="18969038" y="2225754"/>
                  <a:ext cx="127699" cy="41493"/>
                </a:xfrm>
                <a:custGeom>
                  <a:avLst/>
                  <a:gdLst>
                    <a:gd name="connsiteX0" fmla="*/ 0 w 127699"/>
                    <a:gd name="connsiteY0" fmla="*/ 0 h 41493"/>
                    <a:gd name="connsiteX1" fmla="*/ 127699 w 127699"/>
                    <a:gd name="connsiteY1" fmla="*/ 41494 h 4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699" h="41493">
                      <a:moveTo>
                        <a:pt x="0" y="0"/>
                      </a:moveTo>
                      <a:cubicBezTo>
                        <a:pt x="47887" y="0"/>
                        <a:pt x="91518" y="14895"/>
                        <a:pt x="127699" y="41494"/>
                      </a:cubicBezTo>
                    </a:path>
                  </a:pathLst>
                </a:custGeom>
                <a:noFill/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3" name="Graphic 8">
              <a:extLst>
                <a:ext uri="{FF2B5EF4-FFF2-40B4-BE49-F238E27FC236}">
                  <a16:creationId xmlns:a16="http://schemas.microsoft.com/office/drawing/2014/main" id="{46919405-B07C-DCB8-6927-63C1770FEEAA}"/>
                </a:ext>
              </a:extLst>
            </p:cNvPr>
            <p:cNvGrpSpPr/>
            <p:nvPr/>
          </p:nvGrpSpPr>
          <p:grpSpPr>
            <a:xfrm>
              <a:off x="15981938" y="3498226"/>
              <a:ext cx="3456395" cy="1970416"/>
              <a:chOff x="15981938" y="3498226"/>
              <a:chExt cx="3456395" cy="1970416"/>
            </a:xfrm>
            <a:solidFill>
              <a:srgbClr val="FFFFFF"/>
            </a:solidFill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20B8ED1B-571A-D9C4-2B8C-8E035A73EDC5}"/>
                  </a:ext>
                </a:extLst>
              </p:cNvPr>
              <p:cNvSpPr/>
              <p:nvPr/>
            </p:nvSpPr>
            <p:spPr>
              <a:xfrm>
                <a:off x="15981938" y="3498226"/>
                <a:ext cx="3040308" cy="215979"/>
              </a:xfrm>
              <a:custGeom>
                <a:avLst/>
                <a:gdLst>
                  <a:gd name="connsiteX0" fmla="*/ 0 w 3040308"/>
                  <a:gd name="connsiteY0" fmla="*/ 0 h 215979"/>
                  <a:gd name="connsiteX1" fmla="*/ 3040309 w 3040308"/>
                  <a:gd name="connsiteY1" fmla="*/ 0 h 215979"/>
                  <a:gd name="connsiteX2" fmla="*/ 3040309 w 3040308"/>
                  <a:gd name="connsiteY2" fmla="*/ 215980 h 215979"/>
                  <a:gd name="connsiteX3" fmla="*/ 0 w 3040308"/>
                  <a:gd name="connsiteY3" fmla="*/ 21598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0308" h="215979">
                    <a:moveTo>
                      <a:pt x="0" y="0"/>
                    </a:moveTo>
                    <a:lnTo>
                      <a:pt x="3040309" y="0"/>
                    </a:lnTo>
                    <a:lnTo>
                      <a:pt x="3040309" y="215980"/>
                    </a:lnTo>
                    <a:lnTo>
                      <a:pt x="0" y="21598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0ADF603C-144E-7C45-E4BD-F60F68D0DC2D}"/>
                  </a:ext>
                </a:extLst>
              </p:cNvPr>
              <p:cNvSpPr/>
              <p:nvPr/>
            </p:nvSpPr>
            <p:spPr>
              <a:xfrm>
                <a:off x="15981938" y="3770595"/>
                <a:ext cx="3040308" cy="215979"/>
              </a:xfrm>
              <a:custGeom>
                <a:avLst/>
                <a:gdLst>
                  <a:gd name="connsiteX0" fmla="*/ 0 w 3040308"/>
                  <a:gd name="connsiteY0" fmla="*/ 0 h 215979"/>
                  <a:gd name="connsiteX1" fmla="*/ 3040309 w 3040308"/>
                  <a:gd name="connsiteY1" fmla="*/ 0 h 215979"/>
                  <a:gd name="connsiteX2" fmla="*/ 3040309 w 3040308"/>
                  <a:gd name="connsiteY2" fmla="*/ 215980 h 215979"/>
                  <a:gd name="connsiteX3" fmla="*/ 0 w 3040308"/>
                  <a:gd name="connsiteY3" fmla="*/ 21598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0308" h="215979">
                    <a:moveTo>
                      <a:pt x="0" y="0"/>
                    </a:moveTo>
                    <a:lnTo>
                      <a:pt x="3040309" y="0"/>
                    </a:lnTo>
                    <a:lnTo>
                      <a:pt x="3040309" y="215980"/>
                    </a:lnTo>
                    <a:lnTo>
                      <a:pt x="0" y="21598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DD716ECF-6D76-084C-0E02-C7FE7CA1031E}"/>
                  </a:ext>
                </a:extLst>
              </p:cNvPr>
              <p:cNvSpPr/>
              <p:nvPr/>
            </p:nvSpPr>
            <p:spPr>
              <a:xfrm>
                <a:off x="15981938" y="4041900"/>
                <a:ext cx="3040308" cy="215979"/>
              </a:xfrm>
              <a:custGeom>
                <a:avLst/>
                <a:gdLst>
                  <a:gd name="connsiteX0" fmla="*/ 0 w 3040308"/>
                  <a:gd name="connsiteY0" fmla="*/ 0 h 215979"/>
                  <a:gd name="connsiteX1" fmla="*/ 3040309 w 3040308"/>
                  <a:gd name="connsiteY1" fmla="*/ 0 h 215979"/>
                  <a:gd name="connsiteX2" fmla="*/ 3040309 w 3040308"/>
                  <a:gd name="connsiteY2" fmla="*/ 215980 h 215979"/>
                  <a:gd name="connsiteX3" fmla="*/ 0 w 3040308"/>
                  <a:gd name="connsiteY3" fmla="*/ 21598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0308" h="215979">
                    <a:moveTo>
                      <a:pt x="0" y="0"/>
                    </a:moveTo>
                    <a:lnTo>
                      <a:pt x="3040309" y="0"/>
                    </a:lnTo>
                    <a:lnTo>
                      <a:pt x="3040309" y="215980"/>
                    </a:lnTo>
                    <a:lnTo>
                      <a:pt x="0" y="21598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DC9993AB-14EA-2269-9071-E138ECD8382E}"/>
                  </a:ext>
                </a:extLst>
              </p:cNvPr>
              <p:cNvSpPr/>
              <p:nvPr/>
            </p:nvSpPr>
            <p:spPr>
              <a:xfrm>
                <a:off x="15981938" y="4314268"/>
                <a:ext cx="3456395" cy="215979"/>
              </a:xfrm>
              <a:custGeom>
                <a:avLst/>
                <a:gdLst>
                  <a:gd name="connsiteX0" fmla="*/ 0 w 3456395"/>
                  <a:gd name="connsiteY0" fmla="*/ 0 h 215979"/>
                  <a:gd name="connsiteX1" fmla="*/ 3328696 w 3456395"/>
                  <a:gd name="connsiteY1" fmla="*/ 0 h 215979"/>
                  <a:gd name="connsiteX2" fmla="*/ 3456396 w 3456395"/>
                  <a:gd name="connsiteY2" fmla="*/ 127673 h 215979"/>
                  <a:gd name="connsiteX3" fmla="*/ 3456396 w 3456395"/>
                  <a:gd name="connsiteY3" fmla="*/ 215980 h 215979"/>
                  <a:gd name="connsiteX4" fmla="*/ 127699 w 3456395"/>
                  <a:gd name="connsiteY4" fmla="*/ 215980 h 215979"/>
                  <a:gd name="connsiteX5" fmla="*/ 0 w 3456395"/>
                  <a:gd name="connsiteY5" fmla="*/ 88307 h 215979"/>
                  <a:gd name="connsiteX6" fmla="*/ 0 w 3456395"/>
                  <a:gd name="connsiteY6" fmla="*/ 0 h 215979"/>
                  <a:gd name="connsiteX7" fmla="*/ 0 w 3456395"/>
                  <a:gd name="connsiteY7" fmla="*/ 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6395" h="215979">
                    <a:moveTo>
                      <a:pt x="0" y="0"/>
                    </a:moveTo>
                    <a:lnTo>
                      <a:pt x="3328696" y="0"/>
                    </a:lnTo>
                    <a:cubicBezTo>
                      <a:pt x="3398931" y="0"/>
                      <a:pt x="3456396" y="57453"/>
                      <a:pt x="3456396" y="127673"/>
                    </a:cubicBezTo>
                    <a:lnTo>
                      <a:pt x="3456396" y="215980"/>
                    </a:lnTo>
                    <a:lnTo>
                      <a:pt x="127699" y="215980"/>
                    </a:lnTo>
                    <a:cubicBezTo>
                      <a:pt x="57465" y="215980"/>
                      <a:pt x="0" y="158527"/>
                      <a:pt x="0" y="88307"/>
                    </a:cubicBez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8" name="Graphic 8">
                <a:extLst>
                  <a:ext uri="{FF2B5EF4-FFF2-40B4-BE49-F238E27FC236}">
                    <a16:creationId xmlns:a16="http://schemas.microsoft.com/office/drawing/2014/main" id="{8AAEE313-CC7B-BAF1-8A8E-D2565F425842}"/>
                  </a:ext>
                </a:extLst>
              </p:cNvPr>
              <p:cNvGrpSpPr/>
              <p:nvPr/>
            </p:nvGrpSpPr>
            <p:grpSpPr>
              <a:xfrm>
                <a:off x="16071327" y="4530248"/>
                <a:ext cx="3254205" cy="938394"/>
                <a:chOff x="16071327" y="4530248"/>
                <a:chExt cx="3254205" cy="938394"/>
              </a:xfrm>
              <a:solidFill>
                <a:srgbClr val="FFFFFF"/>
              </a:solidFill>
            </p:grpSpPr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139A891F-7AC9-FA67-3015-C9F5AD37C19D}"/>
                    </a:ext>
                  </a:extLst>
                </p:cNvPr>
                <p:cNvSpPr/>
                <p:nvPr/>
              </p:nvSpPr>
              <p:spPr>
                <a:xfrm>
                  <a:off x="16071327" y="4530248"/>
                  <a:ext cx="268168" cy="938394"/>
                </a:xfrm>
                <a:custGeom>
                  <a:avLst/>
                  <a:gdLst>
                    <a:gd name="connsiteX0" fmla="*/ 41502 w 268168"/>
                    <a:gd name="connsiteY0" fmla="*/ 938395 h 938394"/>
                    <a:gd name="connsiteX1" fmla="*/ 0 w 268168"/>
                    <a:gd name="connsiteY1" fmla="*/ 938395 h 938394"/>
                    <a:gd name="connsiteX2" fmla="*/ 96839 w 268168"/>
                    <a:gd name="connsiteY2" fmla="*/ 0 h 938394"/>
                    <a:gd name="connsiteX3" fmla="*/ 268169 w 268168"/>
                    <a:gd name="connsiteY3" fmla="*/ 0 h 938394"/>
                    <a:gd name="connsiteX4" fmla="*/ 75555 w 268168"/>
                    <a:gd name="connsiteY4" fmla="*/ 908605 h 938394"/>
                    <a:gd name="connsiteX5" fmla="*/ 41502 w 268168"/>
                    <a:gd name="connsiteY5" fmla="*/ 938395 h 938394"/>
                    <a:gd name="connsiteX6" fmla="*/ 41502 w 268168"/>
                    <a:gd name="connsiteY6" fmla="*/ 938395 h 938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68168" h="938394">
                      <a:moveTo>
                        <a:pt x="41502" y="938395"/>
                      </a:moveTo>
                      <a:lnTo>
                        <a:pt x="0" y="938395"/>
                      </a:lnTo>
                      <a:lnTo>
                        <a:pt x="96839" y="0"/>
                      </a:lnTo>
                      <a:lnTo>
                        <a:pt x="268169" y="0"/>
                      </a:lnTo>
                      <a:lnTo>
                        <a:pt x="75555" y="908605"/>
                      </a:lnTo>
                      <a:cubicBezTo>
                        <a:pt x="72363" y="925628"/>
                        <a:pt x="58529" y="938395"/>
                        <a:pt x="41502" y="938395"/>
                      </a:cubicBezTo>
                      <a:lnTo>
                        <a:pt x="41502" y="93839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AA6C21AD-16B7-5115-4A91-B511D937F2DD}"/>
                    </a:ext>
                  </a:extLst>
                </p:cNvPr>
                <p:cNvSpPr/>
                <p:nvPr/>
              </p:nvSpPr>
              <p:spPr>
                <a:xfrm>
                  <a:off x="19057364" y="4530248"/>
                  <a:ext cx="268168" cy="938394"/>
                </a:xfrm>
                <a:custGeom>
                  <a:avLst/>
                  <a:gdLst>
                    <a:gd name="connsiteX0" fmla="*/ 226666 w 268168"/>
                    <a:gd name="connsiteY0" fmla="*/ 938395 h 938394"/>
                    <a:gd name="connsiteX1" fmla="*/ 268169 w 268168"/>
                    <a:gd name="connsiteY1" fmla="*/ 938395 h 938394"/>
                    <a:gd name="connsiteX2" fmla="*/ 171330 w 268168"/>
                    <a:gd name="connsiteY2" fmla="*/ 0 h 938394"/>
                    <a:gd name="connsiteX3" fmla="*/ 0 w 268168"/>
                    <a:gd name="connsiteY3" fmla="*/ 0 h 938394"/>
                    <a:gd name="connsiteX4" fmla="*/ 192613 w 268168"/>
                    <a:gd name="connsiteY4" fmla="*/ 908605 h 938394"/>
                    <a:gd name="connsiteX5" fmla="*/ 226666 w 268168"/>
                    <a:gd name="connsiteY5" fmla="*/ 938395 h 938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168" h="938394">
                      <a:moveTo>
                        <a:pt x="226666" y="938395"/>
                      </a:moveTo>
                      <a:lnTo>
                        <a:pt x="268169" y="938395"/>
                      </a:lnTo>
                      <a:lnTo>
                        <a:pt x="171330" y="0"/>
                      </a:lnTo>
                      <a:lnTo>
                        <a:pt x="0" y="0"/>
                      </a:lnTo>
                      <a:lnTo>
                        <a:pt x="192613" y="908605"/>
                      </a:lnTo>
                      <a:cubicBezTo>
                        <a:pt x="195805" y="925628"/>
                        <a:pt x="209640" y="938395"/>
                        <a:pt x="226666" y="9383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41" name="Graphic 8">
              <a:extLst>
                <a:ext uri="{FF2B5EF4-FFF2-40B4-BE49-F238E27FC236}">
                  <a16:creationId xmlns:a16="http://schemas.microsoft.com/office/drawing/2014/main" id="{1F9092AC-2521-C7DD-03A7-1452FC2F15FE}"/>
                </a:ext>
              </a:extLst>
            </p:cNvPr>
            <p:cNvGrpSpPr/>
            <p:nvPr/>
          </p:nvGrpSpPr>
          <p:grpSpPr>
            <a:xfrm>
              <a:off x="17163845" y="2324398"/>
              <a:ext cx="1760596" cy="3321968"/>
              <a:chOff x="17163845" y="2324398"/>
              <a:chExt cx="1760596" cy="3321968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EE172F4-C327-0FE8-5417-E62BF44951D6}"/>
                  </a:ext>
                </a:extLst>
              </p:cNvPr>
              <p:cNvSpPr/>
              <p:nvPr/>
            </p:nvSpPr>
            <p:spPr>
              <a:xfrm>
                <a:off x="18408225" y="5066474"/>
                <a:ext cx="196869" cy="169166"/>
              </a:xfrm>
              <a:custGeom>
                <a:avLst/>
                <a:gdLst>
                  <a:gd name="connsiteX0" fmla="*/ 185164 w 196869"/>
                  <a:gd name="connsiteY0" fmla="*/ 0 h 169166"/>
                  <a:gd name="connsiteX1" fmla="*/ 196870 w 196869"/>
                  <a:gd name="connsiteY1" fmla="*/ 120225 h 169166"/>
                  <a:gd name="connsiteX2" fmla="*/ 115994 w 196869"/>
                  <a:gd name="connsiteY2" fmla="*/ 145760 h 169166"/>
                  <a:gd name="connsiteX3" fmla="*/ 48951 w 196869"/>
                  <a:gd name="connsiteY3" fmla="*/ 169166 h 169166"/>
                  <a:gd name="connsiteX4" fmla="*/ 0 w 196869"/>
                  <a:gd name="connsiteY4" fmla="*/ 10639 h 169166"/>
                  <a:gd name="connsiteX5" fmla="*/ 185164 w 196869"/>
                  <a:gd name="connsiteY5" fmla="*/ 0 h 169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6869" h="169166">
                    <a:moveTo>
                      <a:pt x="185164" y="0"/>
                    </a:moveTo>
                    <a:cubicBezTo>
                      <a:pt x="189421" y="42558"/>
                      <a:pt x="193677" y="82987"/>
                      <a:pt x="196870" y="120225"/>
                    </a:cubicBezTo>
                    <a:cubicBezTo>
                      <a:pt x="175587" y="121289"/>
                      <a:pt x="127699" y="125545"/>
                      <a:pt x="115994" y="145760"/>
                    </a:cubicBezTo>
                    <a:cubicBezTo>
                      <a:pt x="104288" y="163847"/>
                      <a:pt x="69170" y="168102"/>
                      <a:pt x="48951" y="169166"/>
                    </a:cubicBezTo>
                    <a:cubicBezTo>
                      <a:pt x="37246" y="120225"/>
                      <a:pt x="19155" y="65964"/>
                      <a:pt x="0" y="10639"/>
                    </a:cubicBezTo>
                    <a:cubicBezTo>
                      <a:pt x="60657" y="13831"/>
                      <a:pt x="127699" y="12767"/>
                      <a:pt x="185164" y="0"/>
                    </a:cubicBez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FDED9E04-AE8D-CE63-3AC5-378E2FFE4081}"/>
                  </a:ext>
                </a:extLst>
              </p:cNvPr>
              <p:cNvSpPr/>
              <p:nvPr/>
            </p:nvSpPr>
            <p:spPr>
              <a:xfrm>
                <a:off x="18416738" y="5174995"/>
                <a:ext cx="507703" cy="471371"/>
              </a:xfrm>
              <a:custGeom>
                <a:avLst/>
                <a:gdLst>
                  <a:gd name="connsiteX0" fmla="*/ 22347 w 507703"/>
                  <a:gd name="connsiteY0" fmla="*/ 119161 h 471371"/>
                  <a:gd name="connsiteX1" fmla="*/ 9577 w 507703"/>
                  <a:gd name="connsiteY1" fmla="*/ 40430 h 471371"/>
                  <a:gd name="connsiteX2" fmla="*/ 100031 w 507703"/>
                  <a:gd name="connsiteY2" fmla="*/ 28727 h 471371"/>
                  <a:gd name="connsiteX3" fmla="*/ 205383 w 507703"/>
                  <a:gd name="connsiteY3" fmla="*/ 0 h 471371"/>
                  <a:gd name="connsiteX4" fmla="*/ 253270 w 507703"/>
                  <a:gd name="connsiteY4" fmla="*/ 218108 h 471371"/>
                  <a:gd name="connsiteX5" fmla="*/ 481001 w 507703"/>
                  <a:gd name="connsiteY5" fmla="*/ 355356 h 471371"/>
                  <a:gd name="connsiteX6" fmla="*/ 507605 w 507703"/>
                  <a:gd name="connsiteY6" fmla="*/ 421320 h 471371"/>
                  <a:gd name="connsiteX7" fmla="*/ 448012 w 507703"/>
                  <a:gd name="connsiteY7" fmla="*/ 467070 h 471371"/>
                  <a:gd name="connsiteX8" fmla="*/ 261784 w 507703"/>
                  <a:gd name="connsiteY8" fmla="*/ 467070 h 471371"/>
                  <a:gd name="connsiteX9" fmla="*/ 141533 w 507703"/>
                  <a:gd name="connsiteY9" fmla="*/ 408553 h 471371"/>
                  <a:gd name="connsiteX10" fmla="*/ 138341 w 507703"/>
                  <a:gd name="connsiteY10" fmla="*/ 471326 h 471371"/>
                  <a:gd name="connsiteX11" fmla="*/ 0 w 507703"/>
                  <a:gd name="connsiteY11" fmla="*/ 471326 h 471371"/>
                  <a:gd name="connsiteX12" fmla="*/ 0 w 507703"/>
                  <a:gd name="connsiteY12" fmla="*/ 388338 h 471371"/>
                  <a:gd name="connsiteX13" fmla="*/ 23412 w 507703"/>
                  <a:gd name="connsiteY13" fmla="*/ 257474 h 471371"/>
                  <a:gd name="connsiteX14" fmla="*/ 21283 w 507703"/>
                  <a:gd name="connsiteY14" fmla="*/ 119161 h 471371"/>
                  <a:gd name="connsiteX15" fmla="*/ 22347 w 507703"/>
                  <a:gd name="connsiteY15" fmla="*/ 119161 h 471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7703" h="471371">
                    <a:moveTo>
                      <a:pt x="22347" y="119161"/>
                    </a:moveTo>
                    <a:cubicBezTo>
                      <a:pt x="13834" y="87243"/>
                      <a:pt x="9577" y="40430"/>
                      <a:pt x="9577" y="40430"/>
                    </a:cubicBezTo>
                    <a:cubicBezTo>
                      <a:pt x="9577" y="40430"/>
                      <a:pt x="87261" y="45750"/>
                      <a:pt x="100031" y="28727"/>
                    </a:cubicBezTo>
                    <a:cubicBezTo>
                      <a:pt x="113865" y="9576"/>
                      <a:pt x="205383" y="0"/>
                      <a:pt x="205383" y="0"/>
                    </a:cubicBezTo>
                    <a:cubicBezTo>
                      <a:pt x="205383" y="0"/>
                      <a:pt x="208576" y="139376"/>
                      <a:pt x="253270" y="218108"/>
                    </a:cubicBezTo>
                    <a:cubicBezTo>
                      <a:pt x="297965" y="295775"/>
                      <a:pt x="448012" y="317054"/>
                      <a:pt x="481001" y="355356"/>
                    </a:cubicBezTo>
                    <a:cubicBezTo>
                      <a:pt x="501220" y="377699"/>
                      <a:pt x="508669" y="400041"/>
                      <a:pt x="507605" y="421320"/>
                    </a:cubicBezTo>
                    <a:cubicBezTo>
                      <a:pt x="506541" y="442599"/>
                      <a:pt x="460782" y="464942"/>
                      <a:pt x="448012" y="467070"/>
                    </a:cubicBezTo>
                    <a:cubicBezTo>
                      <a:pt x="434178" y="469198"/>
                      <a:pt x="267105" y="475581"/>
                      <a:pt x="261784" y="467070"/>
                    </a:cubicBezTo>
                    <a:cubicBezTo>
                      <a:pt x="226666" y="406425"/>
                      <a:pt x="141533" y="408553"/>
                      <a:pt x="141533" y="408553"/>
                    </a:cubicBezTo>
                    <a:lnTo>
                      <a:pt x="138341" y="471326"/>
                    </a:lnTo>
                    <a:lnTo>
                      <a:pt x="0" y="471326"/>
                    </a:lnTo>
                    <a:lnTo>
                      <a:pt x="0" y="388338"/>
                    </a:lnTo>
                    <a:cubicBezTo>
                      <a:pt x="0" y="325566"/>
                      <a:pt x="23412" y="257474"/>
                      <a:pt x="23412" y="257474"/>
                    </a:cubicBezTo>
                    <a:cubicBezTo>
                      <a:pt x="21283" y="240450"/>
                      <a:pt x="29796" y="151080"/>
                      <a:pt x="21283" y="119161"/>
                    </a:cubicBezTo>
                    <a:lnTo>
                      <a:pt x="22347" y="119161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B8A537A1-2FCD-0D11-1A17-5AE23DDA4AF7}"/>
                  </a:ext>
                </a:extLst>
              </p:cNvPr>
              <p:cNvSpPr/>
              <p:nvPr/>
            </p:nvSpPr>
            <p:spPr>
              <a:xfrm>
                <a:off x="18033640" y="5066474"/>
                <a:ext cx="179843" cy="193636"/>
              </a:xfrm>
              <a:custGeom>
                <a:avLst/>
                <a:gdLst>
                  <a:gd name="connsiteX0" fmla="*/ 178779 w 179843"/>
                  <a:gd name="connsiteY0" fmla="*/ 47877 h 193636"/>
                  <a:gd name="connsiteX1" fmla="*/ 163881 w 179843"/>
                  <a:gd name="connsiteY1" fmla="*/ 193637 h 193636"/>
                  <a:gd name="connsiteX2" fmla="*/ 12770 w 179843"/>
                  <a:gd name="connsiteY2" fmla="*/ 185125 h 193636"/>
                  <a:gd name="connsiteX3" fmla="*/ 0 w 179843"/>
                  <a:gd name="connsiteY3" fmla="*/ 0 h 193636"/>
                  <a:gd name="connsiteX4" fmla="*/ 179843 w 179843"/>
                  <a:gd name="connsiteY4" fmla="*/ 47877 h 193636"/>
                  <a:gd name="connsiteX5" fmla="*/ 179843 w 179843"/>
                  <a:gd name="connsiteY5" fmla="*/ 47877 h 1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843" h="193636">
                    <a:moveTo>
                      <a:pt x="178779" y="47877"/>
                    </a:moveTo>
                    <a:lnTo>
                      <a:pt x="163881" y="193637"/>
                    </a:lnTo>
                    <a:cubicBezTo>
                      <a:pt x="156432" y="188317"/>
                      <a:pt x="112801" y="156399"/>
                      <a:pt x="12770" y="185125"/>
                    </a:cubicBezTo>
                    <a:lnTo>
                      <a:pt x="0" y="0"/>
                    </a:lnTo>
                    <a:cubicBezTo>
                      <a:pt x="39374" y="8511"/>
                      <a:pt x="105352" y="56389"/>
                      <a:pt x="179843" y="47877"/>
                    </a:cubicBezTo>
                    <a:lnTo>
                      <a:pt x="179843" y="47877"/>
                    </a:ln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1606B009-0FFD-6B71-540E-254CB23835DD}"/>
                  </a:ext>
                </a:extLst>
              </p:cNvPr>
              <p:cNvSpPr/>
              <p:nvPr/>
            </p:nvSpPr>
            <p:spPr>
              <a:xfrm>
                <a:off x="17539867" y="3779005"/>
                <a:ext cx="1118854" cy="1385487"/>
              </a:xfrm>
              <a:custGeom>
                <a:avLst/>
                <a:gdLst>
                  <a:gd name="connsiteX0" fmla="*/ 883256 w 1118854"/>
                  <a:gd name="connsiteY0" fmla="*/ 1368328 h 1385487"/>
                  <a:gd name="connsiteX1" fmla="*/ 1090768 w 1118854"/>
                  <a:gd name="connsiteY1" fmla="*/ 1319387 h 1385487"/>
                  <a:gd name="connsiteX2" fmla="*/ 1103537 w 1118854"/>
                  <a:gd name="connsiteY2" fmla="*/ 1303428 h 1385487"/>
                  <a:gd name="connsiteX3" fmla="*/ 1115243 w 1118854"/>
                  <a:gd name="connsiteY3" fmla="*/ 565053 h 1385487"/>
                  <a:gd name="connsiteX4" fmla="*/ 951363 w 1118854"/>
                  <a:gd name="connsiteY4" fmla="*/ 341626 h 1385487"/>
                  <a:gd name="connsiteX5" fmla="*/ 948170 w 1118854"/>
                  <a:gd name="connsiteY5" fmla="*/ 340562 h 1385487"/>
                  <a:gd name="connsiteX6" fmla="*/ 738530 w 1118854"/>
                  <a:gd name="connsiteY6" fmla="*/ 240552 h 1385487"/>
                  <a:gd name="connsiteX7" fmla="*/ 710862 w 1118854"/>
                  <a:gd name="connsiteY7" fmla="*/ 200122 h 1385487"/>
                  <a:gd name="connsiteX8" fmla="*/ 705541 w 1118854"/>
                  <a:gd name="connsiteY8" fmla="*/ 124582 h 1385487"/>
                  <a:gd name="connsiteX9" fmla="*/ 701285 w 1118854"/>
                  <a:gd name="connsiteY9" fmla="*/ 16060 h 1385487"/>
                  <a:gd name="connsiteX10" fmla="*/ 682130 w 1118854"/>
                  <a:gd name="connsiteY10" fmla="*/ 101 h 1385487"/>
                  <a:gd name="connsiteX11" fmla="*/ 164947 w 1118854"/>
                  <a:gd name="connsiteY11" fmla="*/ 61810 h 1385487"/>
                  <a:gd name="connsiteX12" fmla="*/ 151113 w 1118854"/>
                  <a:gd name="connsiteY12" fmla="*/ 82025 h 1385487"/>
                  <a:gd name="connsiteX13" fmla="*/ 155370 w 1118854"/>
                  <a:gd name="connsiteY13" fmla="*/ 99048 h 1385487"/>
                  <a:gd name="connsiteX14" fmla="*/ 92584 w 1118854"/>
                  <a:gd name="connsiteY14" fmla="*/ 116071 h 1385487"/>
                  <a:gd name="connsiteX15" fmla="*/ 67045 w 1118854"/>
                  <a:gd name="connsiteY15" fmla="*/ 246935 h 1385487"/>
                  <a:gd name="connsiteX16" fmla="*/ 106419 w 1118854"/>
                  <a:gd name="connsiteY16" fmla="*/ 638465 h 1385487"/>
                  <a:gd name="connsiteX17" fmla="*/ 397999 w 1118854"/>
                  <a:gd name="connsiteY17" fmla="*/ 679959 h 1385487"/>
                  <a:gd name="connsiteX18" fmla="*/ 397999 w 1118854"/>
                  <a:gd name="connsiteY18" fmla="*/ 676767 h 1385487"/>
                  <a:gd name="connsiteX19" fmla="*/ 465041 w 1118854"/>
                  <a:gd name="connsiteY19" fmla="*/ 1332154 h 1385487"/>
                  <a:gd name="connsiteX20" fmla="*/ 481003 w 1118854"/>
                  <a:gd name="connsiteY20" fmla="*/ 1344921 h 1385487"/>
                  <a:gd name="connsiteX21" fmla="*/ 691707 w 1118854"/>
                  <a:gd name="connsiteY21" fmla="*/ 1350241 h 1385487"/>
                  <a:gd name="connsiteX22" fmla="*/ 708734 w 1118854"/>
                  <a:gd name="connsiteY22" fmla="*/ 1334282 h 1385487"/>
                  <a:gd name="connsiteX23" fmla="*/ 739595 w 1118854"/>
                  <a:gd name="connsiteY23" fmla="*/ 837422 h 1385487"/>
                  <a:gd name="connsiteX24" fmla="*/ 772584 w 1118854"/>
                  <a:gd name="connsiteY24" fmla="*/ 836358 h 1385487"/>
                  <a:gd name="connsiteX25" fmla="*/ 772584 w 1118854"/>
                  <a:gd name="connsiteY25" fmla="*/ 838486 h 1385487"/>
                  <a:gd name="connsiteX26" fmla="*/ 861973 w 1118854"/>
                  <a:gd name="connsiteY26" fmla="*/ 1355561 h 1385487"/>
                  <a:gd name="connsiteX27" fmla="*/ 882192 w 1118854"/>
                  <a:gd name="connsiteY27" fmla="*/ 1368328 h 1385487"/>
                  <a:gd name="connsiteX28" fmla="*/ 882192 w 1118854"/>
                  <a:gd name="connsiteY28" fmla="*/ 1368328 h 138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18854" h="1385487">
                    <a:moveTo>
                      <a:pt x="883256" y="1368328"/>
                    </a:moveTo>
                    <a:lnTo>
                      <a:pt x="1090768" y="1319387"/>
                    </a:lnTo>
                    <a:cubicBezTo>
                      <a:pt x="1098217" y="1317259"/>
                      <a:pt x="1103537" y="1310875"/>
                      <a:pt x="1103537" y="1303428"/>
                    </a:cubicBezTo>
                    <a:cubicBezTo>
                      <a:pt x="1106730" y="1217248"/>
                      <a:pt x="1126949" y="709749"/>
                      <a:pt x="1115243" y="565053"/>
                    </a:cubicBezTo>
                    <a:cubicBezTo>
                      <a:pt x="1102474" y="407590"/>
                      <a:pt x="1025854" y="356521"/>
                      <a:pt x="951363" y="341626"/>
                    </a:cubicBezTo>
                    <a:cubicBezTo>
                      <a:pt x="950298" y="341626"/>
                      <a:pt x="949234" y="341626"/>
                      <a:pt x="948170" y="340562"/>
                    </a:cubicBezTo>
                    <a:lnTo>
                      <a:pt x="738530" y="240552"/>
                    </a:lnTo>
                    <a:cubicBezTo>
                      <a:pt x="722568" y="233104"/>
                      <a:pt x="711926" y="218209"/>
                      <a:pt x="710862" y="200122"/>
                    </a:cubicBezTo>
                    <a:lnTo>
                      <a:pt x="705541" y="124582"/>
                    </a:lnTo>
                    <a:lnTo>
                      <a:pt x="701285" y="16060"/>
                    </a:lnTo>
                    <a:cubicBezTo>
                      <a:pt x="701285" y="6485"/>
                      <a:pt x="692772" y="-963"/>
                      <a:pt x="682130" y="101"/>
                    </a:cubicBezTo>
                    <a:lnTo>
                      <a:pt x="164947" y="61810"/>
                    </a:lnTo>
                    <a:cubicBezTo>
                      <a:pt x="155370" y="62874"/>
                      <a:pt x="147921" y="72449"/>
                      <a:pt x="151113" y="82025"/>
                    </a:cubicBezTo>
                    <a:lnTo>
                      <a:pt x="155370" y="99048"/>
                    </a:lnTo>
                    <a:cubicBezTo>
                      <a:pt x="156434" y="103303"/>
                      <a:pt x="95777" y="111815"/>
                      <a:pt x="92584" y="116071"/>
                    </a:cubicBezTo>
                    <a:lnTo>
                      <a:pt x="67045" y="246935"/>
                    </a:lnTo>
                    <a:cubicBezTo>
                      <a:pt x="-62783" y="468235"/>
                      <a:pt x="21286" y="612931"/>
                      <a:pt x="106419" y="638465"/>
                    </a:cubicBezTo>
                    <a:cubicBezTo>
                      <a:pt x="192616" y="664000"/>
                      <a:pt x="397999" y="679959"/>
                      <a:pt x="397999" y="679959"/>
                    </a:cubicBezTo>
                    <a:lnTo>
                      <a:pt x="397999" y="676767"/>
                    </a:lnTo>
                    <a:cubicBezTo>
                      <a:pt x="394806" y="973606"/>
                      <a:pt x="451207" y="1267254"/>
                      <a:pt x="465041" y="1332154"/>
                    </a:cubicBezTo>
                    <a:cubicBezTo>
                      <a:pt x="466105" y="1339602"/>
                      <a:pt x="473554" y="1344921"/>
                      <a:pt x="481003" y="1344921"/>
                    </a:cubicBezTo>
                    <a:lnTo>
                      <a:pt x="691707" y="1350241"/>
                    </a:lnTo>
                    <a:cubicBezTo>
                      <a:pt x="700220" y="1350241"/>
                      <a:pt x="707670" y="1343857"/>
                      <a:pt x="708734" y="1334282"/>
                    </a:cubicBezTo>
                    <a:lnTo>
                      <a:pt x="739595" y="837422"/>
                    </a:lnTo>
                    <a:cubicBezTo>
                      <a:pt x="740659" y="817207"/>
                      <a:pt x="769391" y="816143"/>
                      <a:pt x="772584" y="836358"/>
                    </a:cubicBezTo>
                    <a:cubicBezTo>
                      <a:pt x="775776" y="856573"/>
                      <a:pt x="772584" y="837422"/>
                      <a:pt x="772584" y="838486"/>
                    </a:cubicBezTo>
                    <a:cubicBezTo>
                      <a:pt x="809829" y="1095959"/>
                      <a:pt x="850267" y="1298108"/>
                      <a:pt x="861973" y="1355561"/>
                    </a:cubicBezTo>
                    <a:cubicBezTo>
                      <a:pt x="873679" y="1413013"/>
                      <a:pt x="872615" y="1370456"/>
                      <a:pt x="882192" y="1368328"/>
                    </a:cubicBezTo>
                    <a:lnTo>
                      <a:pt x="882192" y="1368328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ACB52E0F-9917-08F1-C58A-EB5E97DE7935}"/>
                  </a:ext>
                </a:extLst>
              </p:cNvPr>
              <p:cNvSpPr/>
              <p:nvPr/>
            </p:nvSpPr>
            <p:spPr>
              <a:xfrm>
                <a:off x="17699494" y="2405560"/>
                <a:ext cx="474526" cy="642326"/>
              </a:xfrm>
              <a:custGeom>
                <a:avLst/>
                <a:gdLst>
                  <a:gd name="connsiteX0" fmla="*/ 452269 w 474526"/>
                  <a:gd name="connsiteY0" fmla="*/ 252154 h 642326"/>
                  <a:gd name="connsiteX1" fmla="*/ 471423 w 474526"/>
                  <a:gd name="connsiteY1" fmla="*/ 235131 h 642326"/>
                  <a:gd name="connsiteX2" fmla="*/ 468231 w 474526"/>
                  <a:gd name="connsiteY2" fmla="*/ 208532 h 642326"/>
                  <a:gd name="connsiteX3" fmla="*/ 425664 w 474526"/>
                  <a:gd name="connsiteY3" fmla="*/ 172358 h 642326"/>
                  <a:gd name="connsiteX4" fmla="*/ 416087 w 474526"/>
                  <a:gd name="connsiteY4" fmla="*/ 122353 h 642326"/>
                  <a:gd name="connsiteX5" fmla="*/ 353301 w 474526"/>
                  <a:gd name="connsiteY5" fmla="*/ 0 h 642326"/>
                  <a:gd name="connsiteX6" fmla="*/ 323505 w 474526"/>
                  <a:gd name="connsiteY6" fmla="*/ 9575 h 642326"/>
                  <a:gd name="connsiteX7" fmla="*/ 269233 w 474526"/>
                  <a:gd name="connsiteY7" fmla="*/ 51069 h 642326"/>
                  <a:gd name="connsiteX8" fmla="*/ 229859 w 474526"/>
                  <a:gd name="connsiteY8" fmla="*/ 134056 h 642326"/>
                  <a:gd name="connsiteX9" fmla="*/ 242629 w 474526"/>
                  <a:gd name="connsiteY9" fmla="*/ 194701 h 642326"/>
                  <a:gd name="connsiteX10" fmla="*/ 203255 w 474526"/>
                  <a:gd name="connsiteY10" fmla="*/ 189381 h 642326"/>
                  <a:gd name="connsiteX11" fmla="*/ 147918 w 474526"/>
                  <a:gd name="connsiteY11" fmla="*/ 273433 h 642326"/>
                  <a:gd name="connsiteX12" fmla="*/ 158560 w 474526"/>
                  <a:gd name="connsiteY12" fmla="*/ 308543 h 642326"/>
                  <a:gd name="connsiteX13" fmla="*/ 119186 w 474526"/>
                  <a:gd name="connsiteY13" fmla="*/ 333013 h 642326"/>
                  <a:gd name="connsiteX14" fmla="*/ 112801 w 474526"/>
                  <a:gd name="connsiteY14" fmla="*/ 333013 h 642326"/>
                  <a:gd name="connsiteX15" fmla="*/ 112801 w 474526"/>
                  <a:gd name="connsiteY15" fmla="*/ 335141 h 642326"/>
                  <a:gd name="connsiteX16" fmla="*/ 0 w 474526"/>
                  <a:gd name="connsiteY16" fmla="*/ 585167 h 642326"/>
                  <a:gd name="connsiteX17" fmla="*/ 377777 w 474526"/>
                  <a:gd name="connsiteY17" fmla="*/ 560696 h 642326"/>
                  <a:gd name="connsiteX18" fmla="*/ 309671 w 474526"/>
                  <a:gd name="connsiteY18" fmla="*/ 528778 h 642326"/>
                  <a:gd name="connsiteX19" fmla="*/ 318184 w 474526"/>
                  <a:gd name="connsiteY19" fmla="*/ 375571 h 642326"/>
                  <a:gd name="connsiteX20" fmla="*/ 343724 w 474526"/>
                  <a:gd name="connsiteY20" fmla="*/ 380890 h 642326"/>
                  <a:gd name="connsiteX21" fmla="*/ 411830 w 474526"/>
                  <a:gd name="connsiteY21" fmla="*/ 394722 h 642326"/>
                  <a:gd name="connsiteX22" fmla="*/ 445883 w 474526"/>
                  <a:gd name="connsiteY22" fmla="*/ 365995 h 642326"/>
                  <a:gd name="connsiteX23" fmla="*/ 454397 w 474526"/>
                  <a:gd name="connsiteY23" fmla="*/ 331949 h 642326"/>
                  <a:gd name="connsiteX24" fmla="*/ 469295 w 474526"/>
                  <a:gd name="connsiteY24" fmla="*/ 309607 h 642326"/>
                  <a:gd name="connsiteX25" fmla="*/ 461846 w 474526"/>
                  <a:gd name="connsiteY25" fmla="*/ 297903 h 642326"/>
                  <a:gd name="connsiteX26" fmla="*/ 473552 w 474526"/>
                  <a:gd name="connsiteY26" fmla="*/ 277688 h 642326"/>
                  <a:gd name="connsiteX27" fmla="*/ 451204 w 474526"/>
                  <a:gd name="connsiteY27" fmla="*/ 255346 h 642326"/>
                  <a:gd name="connsiteX28" fmla="*/ 451204 w 474526"/>
                  <a:gd name="connsiteY28" fmla="*/ 252154 h 642326"/>
                  <a:gd name="connsiteX29" fmla="*/ 452269 w 474526"/>
                  <a:gd name="connsiteY29" fmla="*/ 252154 h 642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74526" h="642326">
                    <a:moveTo>
                      <a:pt x="452269" y="252154"/>
                    </a:moveTo>
                    <a:cubicBezTo>
                      <a:pt x="450140" y="239386"/>
                      <a:pt x="466102" y="243642"/>
                      <a:pt x="471423" y="235131"/>
                    </a:cubicBezTo>
                    <a:cubicBezTo>
                      <a:pt x="479937" y="223427"/>
                      <a:pt x="468231" y="208532"/>
                      <a:pt x="468231" y="208532"/>
                    </a:cubicBezTo>
                    <a:lnTo>
                      <a:pt x="425664" y="172358"/>
                    </a:lnTo>
                    <a:cubicBezTo>
                      <a:pt x="425664" y="172358"/>
                      <a:pt x="419279" y="159591"/>
                      <a:pt x="416087" y="122353"/>
                    </a:cubicBezTo>
                    <a:cubicBezTo>
                      <a:pt x="413959" y="89371"/>
                      <a:pt x="412894" y="42558"/>
                      <a:pt x="353301" y="0"/>
                    </a:cubicBezTo>
                    <a:cubicBezTo>
                      <a:pt x="353301" y="0"/>
                      <a:pt x="336275" y="6384"/>
                      <a:pt x="323505" y="9575"/>
                    </a:cubicBezTo>
                    <a:cubicBezTo>
                      <a:pt x="282003" y="18087"/>
                      <a:pt x="292644" y="43622"/>
                      <a:pt x="269233" y="51069"/>
                    </a:cubicBezTo>
                    <a:cubicBezTo>
                      <a:pt x="220281" y="67028"/>
                      <a:pt x="249014" y="97882"/>
                      <a:pt x="229859" y="134056"/>
                    </a:cubicBezTo>
                    <a:cubicBezTo>
                      <a:pt x="217089" y="157463"/>
                      <a:pt x="242629" y="194701"/>
                      <a:pt x="242629" y="194701"/>
                    </a:cubicBezTo>
                    <a:cubicBezTo>
                      <a:pt x="242629" y="194701"/>
                      <a:pt x="228795" y="206404"/>
                      <a:pt x="203255" y="189381"/>
                    </a:cubicBezTo>
                    <a:cubicBezTo>
                      <a:pt x="159624" y="159591"/>
                      <a:pt x="110673" y="220236"/>
                      <a:pt x="147918" y="273433"/>
                    </a:cubicBezTo>
                    <a:cubicBezTo>
                      <a:pt x="158560" y="288328"/>
                      <a:pt x="160688" y="300031"/>
                      <a:pt x="158560" y="308543"/>
                    </a:cubicBezTo>
                    <a:cubicBezTo>
                      <a:pt x="153239" y="329821"/>
                      <a:pt x="119186" y="333013"/>
                      <a:pt x="119186" y="333013"/>
                    </a:cubicBezTo>
                    <a:lnTo>
                      <a:pt x="112801" y="333013"/>
                    </a:lnTo>
                    <a:lnTo>
                      <a:pt x="112801" y="335141"/>
                    </a:lnTo>
                    <a:cubicBezTo>
                      <a:pt x="110673" y="402169"/>
                      <a:pt x="96839" y="539417"/>
                      <a:pt x="0" y="585167"/>
                    </a:cubicBezTo>
                    <a:cubicBezTo>
                      <a:pt x="0" y="585167"/>
                      <a:pt x="221345" y="728799"/>
                      <a:pt x="377777" y="560696"/>
                    </a:cubicBezTo>
                    <a:cubicBezTo>
                      <a:pt x="377777" y="560696"/>
                      <a:pt x="316056" y="547929"/>
                      <a:pt x="309671" y="528778"/>
                    </a:cubicBezTo>
                    <a:lnTo>
                      <a:pt x="318184" y="375571"/>
                    </a:lnTo>
                    <a:lnTo>
                      <a:pt x="343724" y="380890"/>
                    </a:lnTo>
                    <a:lnTo>
                      <a:pt x="411830" y="394722"/>
                    </a:lnTo>
                    <a:cubicBezTo>
                      <a:pt x="411830" y="394722"/>
                      <a:pt x="438434" y="392594"/>
                      <a:pt x="445883" y="365995"/>
                    </a:cubicBezTo>
                    <a:cubicBezTo>
                      <a:pt x="453333" y="339397"/>
                      <a:pt x="454397" y="331949"/>
                      <a:pt x="454397" y="331949"/>
                    </a:cubicBezTo>
                    <a:cubicBezTo>
                      <a:pt x="454397" y="331949"/>
                      <a:pt x="474616" y="329821"/>
                      <a:pt x="469295" y="309607"/>
                    </a:cubicBezTo>
                    <a:lnTo>
                      <a:pt x="461846" y="297903"/>
                    </a:lnTo>
                    <a:cubicBezTo>
                      <a:pt x="461846" y="297903"/>
                      <a:pt x="471423" y="288328"/>
                      <a:pt x="473552" y="277688"/>
                    </a:cubicBezTo>
                    <a:cubicBezTo>
                      <a:pt x="473552" y="277688"/>
                      <a:pt x="453333" y="268113"/>
                      <a:pt x="451204" y="255346"/>
                    </a:cubicBezTo>
                    <a:lnTo>
                      <a:pt x="451204" y="252154"/>
                    </a:lnTo>
                    <a:lnTo>
                      <a:pt x="452269" y="252154"/>
                    </a:ln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2B39705-37C4-A3A0-9B64-433CE6088DBD}"/>
                  </a:ext>
                </a:extLst>
              </p:cNvPr>
              <p:cNvSpPr/>
              <p:nvPr/>
            </p:nvSpPr>
            <p:spPr>
              <a:xfrm>
                <a:off x="17422812" y="3732293"/>
                <a:ext cx="60656" cy="134056"/>
              </a:xfrm>
              <a:custGeom>
                <a:avLst/>
                <a:gdLst>
                  <a:gd name="connsiteX0" fmla="*/ 0 w 60656"/>
                  <a:gd name="connsiteY0" fmla="*/ 100010 h 134056"/>
                  <a:gd name="connsiteX1" fmla="*/ 43631 w 60656"/>
                  <a:gd name="connsiteY1" fmla="*/ 134056 h 134056"/>
                  <a:gd name="connsiteX2" fmla="*/ 60657 w 60656"/>
                  <a:gd name="connsiteY2" fmla="*/ 0 h 134056"/>
                  <a:gd name="connsiteX3" fmla="*/ 0 w 60656"/>
                  <a:gd name="connsiteY3" fmla="*/ 100010 h 134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656" h="134056">
                    <a:moveTo>
                      <a:pt x="0" y="100010"/>
                    </a:moveTo>
                    <a:lnTo>
                      <a:pt x="43631" y="134056"/>
                    </a:lnTo>
                    <a:lnTo>
                      <a:pt x="60657" y="0"/>
                    </a:lnTo>
                    <a:lnTo>
                      <a:pt x="0" y="100010"/>
                    </a:lnTo>
                    <a:close/>
                  </a:path>
                </a:pathLst>
              </a:custGeom>
              <a:noFill/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8CCE90F9-4802-0892-083F-15FCAF450F0B}"/>
                  </a:ext>
                </a:extLst>
              </p:cNvPr>
              <p:cNvSpPr/>
              <p:nvPr/>
            </p:nvSpPr>
            <p:spPr>
              <a:xfrm>
                <a:off x="17670331" y="2324398"/>
                <a:ext cx="383527" cy="413143"/>
              </a:xfrm>
              <a:custGeom>
                <a:avLst/>
                <a:gdLst>
                  <a:gd name="connsiteX0" fmla="*/ 348411 w 383527"/>
                  <a:gd name="connsiteY0" fmla="*/ 39669 h 413143"/>
                  <a:gd name="connsiteX1" fmla="*/ 277112 w 383527"/>
                  <a:gd name="connsiteY1" fmla="*/ 10942 h 413143"/>
                  <a:gd name="connsiteX2" fmla="*/ 205813 w 383527"/>
                  <a:gd name="connsiteY2" fmla="*/ 3495 h 413143"/>
                  <a:gd name="connsiteX3" fmla="*/ 131322 w 383527"/>
                  <a:gd name="connsiteY3" fmla="*/ 21582 h 413143"/>
                  <a:gd name="connsiteX4" fmla="*/ 52574 w 383527"/>
                  <a:gd name="connsiteY4" fmla="*/ 66267 h 413143"/>
                  <a:gd name="connsiteX5" fmla="*/ 16392 w 383527"/>
                  <a:gd name="connsiteY5" fmla="*/ 129040 h 413143"/>
                  <a:gd name="connsiteX6" fmla="*/ 2558 w 383527"/>
                  <a:gd name="connsiteY6" fmla="*/ 215219 h 413143"/>
                  <a:gd name="connsiteX7" fmla="*/ 23842 w 383527"/>
                  <a:gd name="connsiteY7" fmla="*/ 296078 h 413143"/>
                  <a:gd name="connsiteX8" fmla="*/ 68536 w 383527"/>
                  <a:gd name="connsiteY8" fmla="*/ 358851 h 413143"/>
                  <a:gd name="connsiteX9" fmla="*/ 133450 w 383527"/>
                  <a:gd name="connsiteY9" fmla="*/ 413112 h 413143"/>
                  <a:gd name="connsiteX10" fmla="*/ 149413 w 383527"/>
                  <a:gd name="connsiteY10" fmla="*/ 413112 h 413143"/>
                  <a:gd name="connsiteX11" fmla="*/ 188787 w 383527"/>
                  <a:gd name="connsiteY11" fmla="*/ 388641 h 413143"/>
                  <a:gd name="connsiteX12" fmla="*/ 178145 w 383527"/>
                  <a:gd name="connsiteY12" fmla="*/ 353531 h 413143"/>
                  <a:gd name="connsiteX13" fmla="*/ 233481 w 383527"/>
                  <a:gd name="connsiteY13" fmla="*/ 269480 h 413143"/>
                  <a:gd name="connsiteX14" fmla="*/ 272855 w 383527"/>
                  <a:gd name="connsiteY14" fmla="*/ 274799 h 413143"/>
                  <a:gd name="connsiteX15" fmla="*/ 260085 w 383527"/>
                  <a:gd name="connsiteY15" fmla="*/ 214155 h 413143"/>
                  <a:gd name="connsiteX16" fmla="*/ 299459 w 383527"/>
                  <a:gd name="connsiteY16" fmla="*/ 131167 h 413143"/>
                  <a:gd name="connsiteX17" fmla="*/ 353732 w 383527"/>
                  <a:gd name="connsiteY17" fmla="*/ 89674 h 413143"/>
                  <a:gd name="connsiteX18" fmla="*/ 383528 w 383527"/>
                  <a:gd name="connsiteY18" fmla="*/ 80098 h 413143"/>
                  <a:gd name="connsiteX19" fmla="*/ 383528 w 383527"/>
                  <a:gd name="connsiteY19" fmla="*/ 80098 h 413143"/>
                  <a:gd name="connsiteX20" fmla="*/ 348411 w 383527"/>
                  <a:gd name="connsiteY20" fmla="*/ 39669 h 413143"/>
                  <a:gd name="connsiteX21" fmla="*/ 348411 w 383527"/>
                  <a:gd name="connsiteY21" fmla="*/ 39669 h 41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3527" h="413143">
                    <a:moveTo>
                      <a:pt x="348411" y="39669"/>
                    </a:moveTo>
                    <a:cubicBezTo>
                      <a:pt x="318614" y="-3953"/>
                      <a:pt x="301588" y="32221"/>
                      <a:pt x="277112" y="10942"/>
                    </a:cubicBezTo>
                    <a:cubicBezTo>
                      <a:pt x="246251" y="-15656"/>
                      <a:pt x="246251" y="16262"/>
                      <a:pt x="205813" y="3495"/>
                    </a:cubicBezTo>
                    <a:cubicBezTo>
                      <a:pt x="165375" y="-9273"/>
                      <a:pt x="174952" y="19454"/>
                      <a:pt x="131322" y="21582"/>
                    </a:cubicBezTo>
                    <a:cubicBezTo>
                      <a:pt x="74921" y="23710"/>
                      <a:pt x="91948" y="55628"/>
                      <a:pt x="52574" y="66267"/>
                    </a:cubicBezTo>
                    <a:cubicBezTo>
                      <a:pt x="18521" y="74779"/>
                      <a:pt x="31291" y="109889"/>
                      <a:pt x="16392" y="129040"/>
                    </a:cubicBezTo>
                    <a:cubicBezTo>
                      <a:pt x="-14468" y="168405"/>
                      <a:pt x="8943" y="183301"/>
                      <a:pt x="2558" y="215219"/>
                    </a:cubicBezTo>
                    <a:cubicBezTo>
                      <a:pt x="-9147" y="268416"/>
                      <a:pt x="30227" y="256712"/>
                      <a:pt x="23842" y="296078"/>
                    </a:cubicBezTo>
                    <a:cubicBezTo>
                      <a:pt x="18521" y="335444"/>
                      <a:pt x="55766" y="324804"/>
                      <a:pt x="68536" y="358851"/>
                    </a:cubicBezTo>
                    <a:cubicBezTo>
                      <a:pt x="90884" y="416303"/>
                      <a:pt x="133450" y="413112"/>
                      <a:pt x="133450" y="413112"/>
                    </a:cubicBezTo>
                    <a:lnTo>
                      <a:pt x="149413" y="413112"/>
                    </a:lnTo>
                    <a:cubicBezTo>
                      <a:pt x="149413" y="413112"/>
                      <a:pt x="183466" y="409920"/>
                      <a:pt x="188787" y="388641"/>
                    </a:cubicBezTo>
                    <a:cubicBezTo>
                      <a:pt x="190915" y="380129"/>
                      <a:pt x="188787" y="369490"/>
                      <a:pt x="178145" y="353531"/>
                    </a:cubicBezTo>
                    <a:cubicBezTo>
                      <a:pt x="140899" y="299270"/>
                      <a:pt x="189851" y="239689"/>
                      <a:pt x="233481" y="269480"/>
                    </a:cubicBezTo>
                    <a:cubicBezTo>
                      <a:pt x="259021" y="286503"/>
                      <a:pt x="272855" y="274799"/>
                      <a:pt x="272855" y="274799"/>
                    </a:cubicBezTo>
                    <a:cubicBezTo>
                      <a:pt x="272855" y="274799"/>
                      <a:pt x="247316" y="237561"/>
                      <a:pt x="260085" y="214155"/>
                    </a:cubicBezTo>
                    <a:cubicBezTo>
                      <a:pt x="279240" y="177981"/>
                      <a:pt x="251572" y="148191"/>
                      <a:pt x="299459" y="131167"/>
                    </a:cubicBezTo>
                    <a:cubicBezTo>
                      <a:pt x="321807" y="123720"/>
                      <a:pt x="312229" y="99249"/>
                      <a:pt x="353732" y="89674"/>
                    </a:cubicBezTo>
                    <a:cubicBezTo>
                      <a:pt x="366501" y="86482"/>
                      <a:pt x="383528" y="80098"/>
                      <a:pt x="383528" y="80098"/>
                    </a:cubicBezTo>
                    <a:lnTo>
                      <a:pt x="383528" y="80098"/>
                    </a:lnTo>
                    <a:cubicBezTo>
                      <a:pt x="383528" y="43924"/>
                      <a:pt x="355860" y="50308"/>
                      <a:pt x="348411" y="39669"/>
                    </a:cubicBezTo>
                    <a:lnTo>
                      <a:pt x="348411" y="39669"/>
                    </a:lnTo>
                    <a:close/>
                  </a:path>
                </a:pathLst>
              </a:custGeom>
              <a:solidFill>
                <a:srgbClr val="CBCBCB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29019A4-CEBD-C727-B32B-922BF71BEED7}"/>
                  </a:ext>
                </a:extLst>
              </p:cNvPr>
              <p:cNvSpPr/>
              <p:nvPr/>
            </p:nvSpPr>
            <p:spPr>
              <a:xfrm>
                <a:off x="17863375" y="2698144"/>
                <a:ext cx="85132" cy="158526"/>
              </a:xfrm>
              <a:custGeom>
                <a:avLst/>
                <a:gdLst>
                  <a:gd name="connsiteX0" fmla="*/ 84069 w 85132"/>
                  <a:gd name="connsiteY0" fmla="*/ 65964 h 158526"/>
                  <a:gd name="connsiteX1" fmla="*/ 80876 w 85132"/>
                  <a:gd name="connsiteY1" fmla="*/ 47877 h 158526"/>
                  <a:gd name="connsiteX2" fmla="*/ 42566 w 85132"/>
                  <a:gd name="connsiteY2" fmla="*/ 0 h 158526"/>
                  <a:gd name="connsiteX3" fmla="*/ 13834 w 85132"/>
                  <a:gd name="connsiteY3" fmla="*/ 21279 h 158526"/>
                  <a:gd name="connsiteX4" fmla="*/ 3192 w 85132"/>
                  <a:gd name="connsiteY4" fmla="*/ 50005 h 158526"/>
                  <a:gd name="connsiteX5" fmla="*/ 0 w 85132"/>
                  <a:gd name="connsiteY5" fmla="*/ 78731 h 158526"/>
                  <a:gd name="connsiteX6" fmla="*/ 42566 w 85132"/>
                  <a:gd name="connsiteY6" fmla="*/ 158527 h 158526"/>
                  <a:gd name="connsiteX7" fmla="*/ 85133 w 85132"/>
                  <a:gd name="connsiteY7" fmla="*/ 78731 h 158526"/>
                  <a:gd name="connsiteX8" fmla="*/ 85133 w 85132"/>
                  <a:gd name="connsiteY8" fmla="*/ 65964 h 158526"/>
                  <a:gd name="connsiteX9" fmla="*/ 84069 w 85132"/>
                  <a:gd name="connsiteY9" fmla="*/ 65964 h 158526"/>
                  <a:gd name="connsiteX10" fmla="*/ 70235 w 85132"/>
                  <a:gd name="connsiteY10" fmla="*/ 63836 h 158526"/>
                  <a:gd name="connsiteX11" fmla="*/ 42566 w 85132"/>
                  <a:gd name="connsiteY11" fmla="*/ 113842 h 158526"/>
                  <a:gd name="connsiteX12" fmla="*/ 14898 w 85132"/>
                  <a:gd name="connsiteY12" fmla="*/ 61709 h 158526"/>
                  <a:gd name="connsiteX13" fmla="*/ 14898 w 85132"/>
                  <a:gd name="connsiteY13" fmla="*/ 53197 h 158526"/>
                  <a:gd name="connsiteX14" fmla="*/ 22347 w 85132"/>
                  <a:gd name="connsiteY14" fmla="*/ 25534 h 158526"/>
                  <a:gd name="connsiteX15" fmla="*/ 41502 w 85132"/>
                  <a:gd name="connsiteY15" fmla="*/ 9575 h 158526"/>
                  <a:gd name="connsiteX16" fmla="*/ 67042 w 85132"/>
                  <a:gd name="connsiteY16" fmla="*/ 42558 h 158526"/>
                  <a:gd name="connsiteX17" fmla="*/ 69170 w 85132"/>
                  <a:gd name="connsiteY17" fmla="*/ 61709 h 158526"/>
                  <a:gd name="connsiteX18" fmla="*/ 69170 w 85132"/>
                  <a:gd name="connsiteY18" fmla="*/ 63836 h 158526"/>
                  <a:gd name="connsiteX19" fmla="*/ 70235 w 85132"/>
                  <a:gd name="connsiteY19" fmla="*/ 63836 h 15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5132" h="158526">
                    <a:moveTo>
                      <a:pt x="84069" y="65964"/>
                    </a:moveTo>
                    <a:cubicBezTo>
                      <a:pt x="84069" y="59581"/>
                      <a:pt x="83004" y="53197"/>
                      <a:pt x="80876" y="47877"/>
                    </a:cubicBezTo>
                    <a:cubicBezTo>
                      <a:pt x="74491" y="20215"/>
                      <a:pt x="59593" y="0"/>
                      <a:pt x="42566" y="0"/>
                    </a:cubicBezTo>
                    <a:cubicBezTo>
                      <a:pt x="25540" y="0"/>
                      <a:pt x="21283" y="8512"/>
                      <a:pt x="13834" y="21279"/>
                    </a:cubicBezTo>
                    <a:cubicBezTo>
                      <a:pt x="9577" y="29790"/>
                      <a:pt x="5321" y="39366"/>
                      <a:pt x="3192" y="50005"/>
                    </a:cubicBezTo>
                    <a:cubicBezTo>
                      <a:pt x="1064" y="58517"/>
                      <a:pt x="0" y="68092"/>
                      <a:pt x="0" y="78731"/>
                    </a:cubicBezTo>
                    <a:cubicBezTo>
                      <a:pt x="0" y="122353"/>
                      <a:pt x="19155" y="158527"/>
                      <a:pt x="42566" y="158527"/>
                    </a:cubicBezTo>
                    <a:cubicBezTo>
                      <a:pt x="65978" y="158527"/>
                      <a:pt x="85133" y="123417"/>
                      <a:pt x="85133" y="78731"/>
                    </a:cubicBezTo>
                    <a:cubicBezTo>
                      <a:pt x="85133" y="34046"/>
                      <a:pt x="85133" y="70220"/>
                      <a:pt x="85133" y="65964"/>
                    </a:cubicBezTo>
                    <a:lnTo>
                      <a:pt x="84069" y="65964"/>
                    </a:lnTo>
                    <a:close/>
                    <a:moveTo>
                      <a:pt x="70235" y="63836"/>
                    </a:moveTo>
                    <a:cubicBezTo>
                      <a:pt x="70235" y="91499"/>
                      <a:pt x="57465" y="113842"/>
                      <a:pt x="42566" y="113842"/>
                    </a:cubicBezTo>
                    <a:cubicBezTo>
                      <a:pt x="27668" y="113842"/>
                      <a:pt x="14898" y="90435"/>
                      <a:pt x="14898" y="61709"/>
                    </a:cubicBezTo>
                    <a:cubicBezTo>
                      <a:pt x="14898" y="32982"/>
                      <a:pt x="14898" y="56389"/>
                      <a:pt x="14898" y="53197"/>
                    </a:cubicBezTo>
                    <a:cubicBezTo>
                      <a:pt x="14898" y="42558"/>
                      <a:pt x="18091" y="32982"/>
                      <a:pt x="22347" y="25534"/>
                    </a:cubicBezTo>
                    <a:cubicBezTo>
                      <a:pt x="27668" y="15959"/>
                      <a:pt x="34053" y="9575"/>
                      <a:pt x="41502" y="9575"/>
                    </a:cubicBezTo>
                    <a:cubicBezTo>
                      <a:pt x="53208" y="9575"/>
                      <a:pt x="62785" y="23407"/>
                      <a:pt x="67042" y="42558"/>
                    </a:cubicBezTo>
                    <a:cubicBezTo>
                      <a:pt x="68106" y="48941"/>
                      <a:pt x="69170" y="55325"/>
                      <a:pt x="69170" y="61709"/>
                    </a:cubicBezTo>
                    <a:cubicBezTo>
                      <a:pt x="69170" y="68092"/>
                      <a:pt x="69170" y="62772"/>
                      <a:pt x="69170" y="63836"/>
                    </a:cubicBezTo>
                    <a:lnTo>
                      <a:pt x="70235" y="63836"/>
                    </a:lnTo>
                    <a:close/>
                  </a:path>
                </a:pathLst>
              </a:custGeom>
              <a:solidFill>
                <a:srgbClr val="E7FF00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C4E49AE9-D83D-C58B-2F9F-070BBF6070D5}"/>
                  </a:ext>
                </a:extLst>
              </p:cNvPr>
              <p:cNvSpPr/>
              <p:nvPr/>
            </p:nvSpPr>
            <p:spPr>
              <a:xfrm>
                <a:off x="17553704" y="2959873"/>
                <a:ext cx="684867" cy="938394"/>
              </a:xfrm>
              <a:custGeom>
                <a:avLst/>
                <a:gdLst>
                  <a:gd name="connsiteX0" fmla="*/ 505477 w 684867"/>
                  <a:gd name="connsiteY0" fmla="*/ 0 h 938394"/>
                  <a:gd name="connsiteX1" fmla="*/ 170266 w 684867"/>
                  <a:gd name="connsiteY1" fmla="*/ 27662 h 938394"/>
                  <a:gd name="connsiteX2" fmla="*/ 146854 w 684867"/>
                  <a:gd name="connsiteY2" fmla="*/ 107458 h 938394"/>
                  <a:gd name="connsiteX3" fmla="*/ 0 w 684867"/>
                  <a:gd name="connsiteY3" fmla="*/ 923500 h 938394"/>
                  <a:gd name="connsiteX4" fmla="*/ 41502 w 684867"/>
                  <a:gd name="connsiteY4" fmla="*/ 938395 h 938394"/>
                  <a:gd name="connsiteX5" fmla="*/ 229859 w 684867"/>
                  <a:gd name="connsiteY5" fmla="*/ 899029 h 938394"/>
                  <a:gd name="connsiteX6" fmla="*/ 684256 w 684867"/>
                  <a:gd name="connsiteY6" fmla="*/ 842640 h 938394"/>
                  <a:gd name="connsiteX7" fmla="*/ 505477 w 684867"/>
                  <a:gd name="connsiteY7" fmla="*/ 1064 h 938394"/>
                  <a:gd name="connsiteX8" fmla="*/ 505477 w 684867"/>
                  <a:gd name="connsiteY8" fmla="*/ 1064 h 938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4867" h="938394">
                    <a:moveTo>
                      <a:pt x="505477" y="0"/>
                    </a:moveTo>
                    <a:cubicBezTo>
                      <a:pt x="330954" y="132992"/>
                      <a:pt x="170266" y="27662"/>
                      <a:pt x="170266" y="27662"/>
                    </a:cubicBezTo>
                    <a:lnTo>
                      <a:pt x="146854" y="107458"/>
                    </a:lnTo>
                    <a:cubicBezTo>
                      <a:pt x="139405" y="146824"/>
                      <a:pt x="11706" y="872431"/>
                      <a:pt x="0" y="923500"/>
                    </a:cubicBezTo>
                    <a:cubicBezTo>
                      <a:pt x="9577" y="932011"/>
                      <a:pt x="23412" y="937331"/>
                      <a:pt x="41502" y="938395"/>
                    </a:cubicBezTo>
                    <a:cubicBezTo>
                      <a:pt x="128764" y="934139"/>
                      <a:pt x="171330" y="923500"/>
                      <a:pt x="229859" y="899029"/>
                    </a:cubicBezTo>
                    <a:cubicBezTo>
                      <a:pt x="395868" y="828809"/>
                      <a:pt x="684256" y="842640"/>
                      <a:pt x="684256" y="842640"/>
                    </a:cubicBezTo>
                    <a:cubicBezTo>
                      <a:pt x="697026" y="452174"/>
                      <a:pt x="505477" y="1064"/>
                      <a:pt x="505477" y="1064"/>
                    </a:cubicBezTo>
                    <a:lnTo>
                      <a:pt x="505477" y="1064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C84CE530-5EB6-AB0B-BF1C-9AC2406E10EF}"/>
                  </a:ext>
                </a:extLst>
              </p:cNvPr>
              <p:cNvSpPr/>
              <p:nvPr/>
            </p:nvSpPr>
            <p:spPr>
              <a:xfrm>
                <a:off x="18043218" y="2949234"/>
                <a:ext cx="471423" cy="1166078"/>
              </a:xfrm>
              <a:custGeom>
                <a:avLst/>
                <a:gdLst>
                  <a:gd name="connsiteX0" fmla="*/ 366071 w 471423"/>
                  <a:gd name="connsiteY0" fmla="*/ 873495 h 1166078"/>
                  <a:gd name="connsiteX1" fmla="*/ 280939 w 471423"/>
                  <a:gd name="connsiteY1" fmla="*/ 84051 h 1166078"/>
                  <a:gd name="connsiteX2" fmla="*/ 0 w 471423"/>
                  <a:gd name="connsiteY2" fmla="*/ 0 h 1166078"/>
                  <a:gd name="connsiteX3" fmla="*/ 97903 w 471423"/>
                  <a:gd name="connsiteY3" fmla="*/ 300031 h 1166078"/>
                  <a:gd name="connsiteX4" fmla="*/ 186228 w 471423"/>
                  <a:gd name="connsiteY4" fmla="*/ 759653 h 1166078"/>
                  <a:gd name="connsiteX5" fmla="*/ 203255 w 471423"/>
                  <a:gd name="connsiteY5" fmla="*/ 973505 h 1166078"/>
                  <a:gd name="connsiteX6" fmla="*/ 250078 w 471423"/>
                  <a:gd name="connsiteY6" fmla="*/ 1078835 h 1166078"/>
                  <a:gd name="connsiteX7" fmla="*/ 432050 w 471423"/>
                  <a:gd name="connsiteY7" fmla="*/ 1166078 h 1166078"/>
                  <a:gd name="connsiteX8" fmla="*/ 471424 w 471423"/>
                  <a:gd name="connsiteY8" fmla="*/ 1051172 h 1166078"/>
                  <a:gd name="connsiteX9" fmla="*/ 363943 w 471423"/>
                  <a:gd name="connsiteY9" fmla="*/ 875622 h 1166078"/>
                  <a:gd name="connsiteX10" fmla="*/ 366071 w 471423"/>
                  <a:gd name="connsiteY10" fmla="*/ 873495 h 1166078"/>
                  <a:gd name="connsiteX11" fmla="*/ 366071 w 471423"/>
                  <a:gd name="connsiteY11" fmla="*/ 873495 h 1166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1423" h="1166078">
                    <a:moveTo>
                      <a:pt x="366071" y="873495"/>
                    </a:moveTo>
                    <a:cubicBezTo>
                      <a:pt x="383098" y="473453"/>
                      <a:pt x="351173" y="126609"/>
                      <a:pt x="280939" y="84051"/>
                    </a:cubicBezTo>
                    <a:cubicBezTo>
                      <a:pt x="210704" y="41494"/>
                      <a:pt x="0" y="0"/>
                      <a:pt x="0" y="0"/>
                    </a:cubicBezTo>
                    <a:lnTo>
                      <a:pt x="97903" y="300031"/>
                    </a:lnTo>
                    <a:cubicBezTo>
                      <a:pt x="97903" y="300031"/>
                      <a:pt x="157496" y="442599"/>
                      <a:pt x="186228" y="759653"/>
                    </a:cubicBezTo>
                    <a:cubicBezTo>
                      <a:pt x="186228" y="759653"/>
                      <a:pt x="203255" y="941587"/>
                      <a:pt x="203255" y="973505"/>
                    </a:cubicBezTo>
                    <a:cubicBezTo>
                      <a:pt x="203255" y="1052236"/>
                      <a:pt x="222410" y="1062876"/>
                      <a:pt x="250078" y="1078835"/>
                    </a:cubicBezTo>
                    <a:cubicBezTo>
                      <a:pt x="277746" y="1093730"/>
                      <a:pt x="432050" y="1166078"/>
                      <a:pt x="432050" y="1166078"/>
                    </a:cubicBezTo>
                    <a:lnTo>
                      <a:pt x="471424" y="1051172"/>
                    </a:lnTo>
                    <a:cubicBezTo>
                      <a:pt x="471424" y="1051172"/>
                      <a:pt x="430985" y="951162"/>
                      <a:pt x="363943" y="875622"/>
                    </a:cubicBezTo>
                    <a:lnTo>
                      <a:pt x="366071" y="873495"/>
                    </a:lnTo>
                    <a:lnTo>
                      <a:pt x="366071" y="873495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E837C9E0-0B7C-5938-AFDC-C81079158600}"/>
                  </a:ext>
                </a:extLst>
              </p:cNvPr>
              <p:cNvSpPr/>
              <p:nvPr/>
            </p:nvSpPr>
            <p:spPr>
              <a:xfrm>
                <a:off x="17163845" y="2977960"/>
                <a:ext cx="570813" cy="1670385"/>
              </a:xfrm>
              <a:custGeom>
                <a:avLst/>
                <a:gdLst>
                  <a:gd name="connsiteX0" fmla="*/ 555868 w 570813"/>
                  <a:gd name="connsiteY0" fmla="*/ 0 h 1670385"/>
                  <a:gd name="connsiteX1" fmla="*/ 232363 w 570813"/>
                  <a:gd name="connsiteY1" fmla="*/ 163847 h 1670385"/>
                  <a:gd name="connsiteX2" fmla="*/ 1439 w 570813"/>
                  <a:gd name="connsiteY2" fmla="*/ 920308 h 1670385"/>
                  <a:gd name="connsiteX3" fmla="*/ 133395 w 570813"/>
                  <a:gd name="connsiteY3" fmla="*/ 1223531 h 1670385"/>
                  <a:gd name="connsiteX4" fmla="*/ 180219 w 570813"/>
                  <a:gd name="connsiteY4" fmla="*/ 1619316 h 1670385"/>
                  <a:gd name="connsiteX5" fmla="*/ 180219 w 570813"/>
                  <a:gd name="connsiteY5" fmla="*/ 1670385 h 1670385"/>
                  <a:gd name="connsiteX6" fmla="*/ 346228 w 570813"/>
                  <a:gd name="connsiteY6" fmla="*/ 1666130 h 1670385"/>
                  <a:gd name="connsiteX7" fmla="*/ 570766 w 570813"/>
                  <a:gd name="connsiteY7" fmla="*/ 235131 h 1670385"/>
                  <a:gd name="connsiteX8" fmla="*/ 554803 w 570813"/>
                  <a:gd name="connsiteY8" fmla="*/ 0 h 1670385"/>
                  <a:gd name="connsiteX9" fmla="*/ 555868 w 570813"/>
                  <a:gd name="connsiteY9" fmla="*/ 0 h 1670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0813" h="1670385">
                    <a:moveTo>
                      <a:pt x="555868" y="0"/>
                    </a:moveTo>
                    <a:cubicBezTo>
                      <a:pt x="555868" y="0"/>
                      <a:pt x="317495" y="74476"/>
                      <a:pt x="232363" y="163847"/>
                    </a:cubicBezTo>
                    <a:cubicBezTo>
                      <a:pt x="148294" y="253218"/>
                      <a:pt x="21658" y="776676"/>
                      <a:pt x="1439" y="920308"/>
                    </a:cubicBezTo>
                    <a:cubicBezTo>
                      <a:pt x="-16651" y="1049045"/>
                      <a:pt x="141909" y="1228850"/>
                      <a:pt x="133395" y="1223531"/>
                    </a:cubicBezTo>
                    <a:lnTo>
                      <a:pt x="180219" y="1619316"/>
                    </a:lnTo>
                    <a:lnTo>
                      <a:pt x="180219" y="1670385"/>
                    </a:lnTo>
                    <a:lnTo>
                      <a:pt x="346228" y="1666130"/>
                    </a:lnTo>
                    <a:cubicBezTo>
                      <a:pt x="346228" y="1666130"/>
                      <a:pt x="569701" y="344716"/>
                      <a:pt x="570766" y="235131"/>
                    </a:cubicBezTo>
                    <a:cubicBezTo>
                      <a:pt x="571830" y="100010"/>
                      <a:pt x="554803" y="0"/>
                      <a:pt x="554803" y="0"/>
                    </a:cubicBezTo>
                    <a:lnTo>
                      <a:pt x="555868" y="0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40BEE061-017C-B7F9-9749-63BA739D6DF9}"/>
                  </a:ext>
                </a:extLst>
              </p:cNvPr>
              <p:cNvSpPr/>
              <p:nvPr/>
            </p:nvSpPr>
            <p:spPr>
              <a:xfrm>
                <a:off x="17999587" y="5174995"/>
                <a:ext cx="508566" cy="471371"/>
              </a:xfrm>
              <a:custGeom>
                <a:avLst/>
                <a:gdLst>
                  <a:gd name="connsiteX0" fmla="*/ 32989 w 508566"/>
                  <a:gd name="connsiteY0" fmla="*/ 119161 h 471371"/>
                  <a:gd name="connsiteX1" fmla="*/ 24476 w 508566"/>
                  <a:gd name="connsiteY1" fmla="*/ 40430 h 471371"/>
                  <a:gd name="connsiteX2" fmla="*/ 114930 w 508566"/>
                  <a:gd name="connsiteY2" fmla="*/ 28727 h 471371"/>
                  <a:gd name="connsiteX3" fmla="*/ 220282 w 508566"/>
                  <a:gd name="connsiteY3" fmla="*/ 0 h 471371"/>
                  <a:gd name="connsiteX4" fmla="*/ 253271 w 508566"/>
                  <a:gd name="connsiteY4" fmla="*/ 218108 h 471371"/>
                  <a:gd name="connsiteX5" fmla="*/ 481001 w 508566"/>
                  <a:gd name="connsiteY5" fmla="*/ 355356 h 471371"/>
                  <a:gd name="connsiteX6" fmla="*/ 507605 w 508566"/>
                  <a:gd name="connsiteY6" fmla="*/ 421320 h 471371"/>
                  <a:gd name="connsiteX7" fmla="*/ 448012 w 508566"/>
                  <a:gd name="connsiteY7" fmla="*/ 467070 h 471371"/>
                  <a:gd name="connsiteX8" fmla="*/ 261784 w 508566"/>
                  <a:gd name="connsiteY8" fmla="*/ 467070 h 471371"/>
                  <a:gd name="connsiteX9" fmla="*/ 141534 w 508566"/>
                  <a:gd name="connsiteY9" fmla="*/ 408553 h 471371"/>
                  <a:gd name="connsiteX10" fmla="*/ 138341 w 508566"/>
                  <a:gd name="connsiteY10" fmla="*/ 471326 h 471371"/>
                  <a:gd name="connsiteX11" fmla="*/ 0 w 508566"/>
                  <a:gd name="connsiteY11" fmla="*/ 471326 h 471371"/>
                  <a:gd name="connsiteX12" fmla="*/ 0 w 508566"/>
                  <a:gd name="connsiteY12" fmla="*/ 388338 h 471371"/>
                  <a:gd name="connsiteX13" fmla="*/ 23412 w 508566"/>
                  <a:gd name="connsiteY13" fmla="*/ 257474 h 471371"/>
                  <a:gd name="connsiteX14" fmla="*/ 30861 w 508566"/>
                  <a:gd name="connsiteY14" fmla="*/ 119161 h 471371"/>
                  <a:gd name="connsiteX15" fmla="*/ 32989 w 508566"/>
                  <a:gd name="connsiteY15" fmla="*/ 119161 h 471371"/>
                  <a:gd name="connsiteX16" fmla="*/ 32989 w 508566"/>
                  <a:gd name="connsiteY16" fmla="*/ 119161 h 471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08566" h="471371">
                    <a:moveTo>
                      <a:pt x="32989" y="119161"/>
                    </a:moveTo>
                    <a:cubicBezTo>
                      <a:pt x="24476" y="87243"/>
                      <a:pt x="24476" y="40430"/>
                      <a:pt x="24476" y="40430"/>
                    </a:cubicBezTo>
                    <a:cubicBezTo>
                      <a:pt x="24476" y="40430"/>
                      <a:pt x="102160" y="45750"/>
                      <a:pt x="114930" y="28727"/>
                    </a:cubicBezTo>
                    <a:cubicBezTo>
                      <a:pt x="128764" y="9576"/>
                      <a:pt x="220282" y="0"/>
                      <a:pt x="220282" y="0"/>
                    </a:cubicBezTo>
                    <a:cubicBezTo>
                      <a:pt x="220282" y="0"/>
                      <a:pt x="208576" y="139376"/>
                      <a:pt x="253271" y="218108"/>
                    </a:cubicBezTo>
                    <a:cubicBezTo>
                      <a:pt x="297965" y="295775"/>
                      <a:pt x="448012" y="317054"/>
                      <a:pt x="481001" y="355356"/>
                    </a:cubicBezTo>
                    <a:cubicBezTo>
                      <a:pt x="513990" y="393658"/>
                      <a:pt x="508669" y="400041"/>
                      <a:pt x="507605" y="421320"/>
                    </a:cubicBezTo>
                    <a:cubicBezTo>
                      <a:pt x="506541" y="442599"/>
                      <a:pt x="460782" y="464942"/>
                      <a:pt x="448012" y="467070"/>
                    </a:cubicBezTo>
                    <a:cubicBezTo>
                      <a:pt x="434178" y="469198"/>
                      <a:pt x="267105" y="475581"/>
                      <a:pt x="261784" y="467070"/>
                    </a:cubicBezTo>
                    <a:cubicBezTo>
                      <a:pt x="226667" y="406425"/>
                      <a:pt x="141534" y="408553"/>
                      <a:pt x="141534" y="408553"/>
                    </a:cubicBezTo>
                    <a:lnTo>
                      <a:pt x="138341" y="471326"/>
                    </a:lnTo>
                    <a:lnTo>
                      <a:pt x="0" y="471326"/>
                    </a:lnTo>
                    <a:lnTo>
                      <a:pt x="0" y="388338"/>
                    </a:lnTo>
                    <a:cubicBezTo>
                      <a:pt x="0" y="325566"/>
                      <a:pt x="23412" y="257474"/>
                      <a:pt x="23412" y="257474"/>
                    </a:cubicBezTo>
                    <a:cubicBezTo>
                      <a:pt x="21283" y="240450"/>
                      <a:pt x="39374" y="151080"/>
                      <a:pt x="30861" y="119161"/>
                    </a:cubicBezTo>
                    <a:lnTo>
                      <a:pt x="32989" y="119161"/>
                    </a:lnTo>
                    <a:lnTo>
                      <a:pt x="32989" y="119161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48100CC7-FAE3-587C-F23C-7E70F22D4F9D}"/>
                  </a:ext>
                </a:extLst>
              </p:cNvPr>
              <p:cNvSpPr/>
              <p:nvPr/>
            </p:nvSpPr>
            <p:spPr>
              <a:xfrm>
                <a:off x="18476332" y="4004662"/>
                <a:ext cx="209648" cy="305618"/>
              </a:xfrm>
              <a:custGeom>
                <a:avLst/>
                <a:gdLst>
                  <a:gd name="connsiteX0" fmla="*/ 0 w 209648"/>
                  <a:gd name="connsiteY0" fmla="*/ 106394 h 305618"/>
                  <a:gd name="connsiteX1" fmla="*/ 24476 w 209648"/>
                  <a:gd name="connsiteY1" fmla="*/ 125545 h 305618"/>
                  <a:gd name="connsiteX2" fmla="*/ 21283 w 209648"/>
                  <a:gd name="connsiteY2" fmla="*/ 206405 h 305618"/>
                  <a:gd name="connsiteX3" fmla="*/ 51080 w 209648"/>
                  <a:gd name="connsiteY3" fmla="*/ 257474 h 305618"/>
                  <a:gd name="connsiteX4" fmla="*/ 69170 w 209648"/>
                  <a:gd name="connsiteY4" fmla="*/ 209596 h 305618"/>
                  <a:gd name="connsiteX5" fmla="*/ 73427 w 209648"/>
                  <a:gd name="connsiteY5" fmla="*/ 173422 h 305618"/>
                  <a:gd name="connsiteX6" fmla="*/ 129827 w 209648"/>
                  <a:gd name="connsiteY6" fmla="*/ 217044 h 305618"/>
                  <a:gd name="connsiteX7" fmla="*/ 183036 w 209648"/>
                  <a:gd name="connsiteY7" fmla="*/ 305351 h 305618"/>
                  <a:gd name="connsiteX8" fmla="*/ 197934 w 209648"/>
                  <a:gd name="connsiteY8" fmla="*/ 172358 h 305618"/>
                  <a:gd name="connsiteX9" fmla="*/ 105352 w 209648"/>
                  <a:gd name="connsiteY9" fmla="*/ 71284 h 305618"/>
                  <a:gd name="connsiteX10" fmla="*/ 38310 w 209648"/>
                  <a:gd name="connsiteY10" fmla="*/ 0 h 305618"/>
                  <a:gd name="connsiteX11" fmla="*/ 0 w 209648"/>
                  <a:gd name="connsiteY11" fmla="*/ 104266 h 305618"/>
                  <a:gd name="connsiteX12" fmla="*/ 0 w 209648"/>
                  <a:gd name="connsiteY12" fmla="*/ 106394 h 305618"/>
                  <a:gd name="connsiteX13" fmla="*/ 0 w 209648"/>
                  <a:gd name="connsiteY13" fmla="*/ 106394 h 305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9648" h="305618">
                    <a:moveTo>
                      <a:pt x="0" y="106394"/>
                    </a:moveTo>
                    <a:lnTo>
                      <a:pt x="24476" y="125545"/>
                    </a:lnTo>
                    <a:cubicBezTo>
                      <a:pt x="14898" y="155335"/>
                      <a:pt x="13834" y="191509"/>
                      <a:pt x="21283" y="206405"/>
                    </a:cubicBezTo>
                    <a:cubicBezTo>
                      <a:pt x="29796" y="224491"/>
                      <a:pt x="51080" y="257474"/>
                      <a:pt x="51080" y="257474"/>
                    </a:cubicBezTo>
                    <a:cubicBezTo>
                      <a:pt x="51080" y="257474"/>
                      <a:pt x="89389" y="250026"/>
                      <a:pt x="69170" y="209596"/>
                    </a:cubicBezTo>
                    <a:cubicBezTo>
                      <a:pt x="60657" y="193637"/>
                      <a:pt x="73427" y="173422"/>
                      <a:pt x="73427" y="173422"/>
                    </a:cubicBezTo>
                    <a:cubicBezTo>
                      <a:pt x="87261" y="181934"/>
                      <a:pt x="94710" y="186189"/>
                      <a:pt x="129827" y="217044"/>
                    </a:cubicBezTo>
                    <a:cubicBezTo>
                      <a:pt x="150047" y="235131"/>
                      <a:pt x="157496" y="310671"/>
                      <a:pt x="183036" y="305351"/>
                    </a:cubicBezTo>
                    <a:cubicBezTo>
                      <a:pt x="222410" y="296839"/>
                      <a:pt x="209640" y="207468"/>
                      <a:pt x="197934" y="172358"/>
                    </a:cubicBezTo>
                    <a:cubicBezTo>
                      <a:pt x="186228" y="137249"/>
                      <a:pt x="175587" y="111714"/>
                      <a:pt x="105352" y="71284"/>
                    </a:cubicBezTo>
                    <a:cubicBezTo>
                      <a:pt x="76619" y="39366"/>
                      <a:pt x="38310" y="0"/>
                      <a:pt x="38310" y="0"/>
                    </a:cubicBezTo>
                    <a:lnTo>
                      <a:pt x="0" y="104266"/>
                    </a:lnTo>
                    <a:lnTo>
                      <a:pt x="0" y="106394"/>
                    </a:lnTo>
                    <a:lnTo>
                      <a:pt x="0" y="106394"/>
                    </a:ln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BC35974E-9BDA-AD3A-C028-0081AC2D0A4F}"/>
                  </a:ext>
                </a:extLst>
              </p:cNvPr>
              <p:cNvSpPr/>
              <p:nvPr/>
            </p:nvSpPr>
            <p:spPr>
              <a:xfrm>
                <a:off x="18638084" y="4211066"/>
                <a:ext cx="34247" cy="92562"/>
              </a:xfrm>
              <a:custGeom>
                <a:avLst/>
                <a:gdLst>
                  <a:gd name="connsiteX0" fmla="*/ 0 w 34247"/>
                  <a:gd name="connsiteY0" fmla="*/ 0 h 92562"/>
                  <a:gd name="connsiteX1" fmla="*/ 34053 w 34247"/>
                  <a:gd name="connsiteY1" fmla="*/ 92563 h 9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47" h="92562">
                    <a:moveTo>
                      <a:pt x="0" y="0"/>
                    </a:moveTo>
                    <a:cubicBezTo>
                      <a:pt x="0" y="0"/>
                      <a:pt x="37246" y="64900"/>
                      <a:pt x="34053" y="92563"/>
                    </a:cubicBezTo>
                  </a:path>
                </a:pathLst>
              </a:custGeom>
              <a:solidFill>
                <a:srgbClr val="9B5D2D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83B2A341-2BD4-92D5-C813-C0BCCBCD822E}"/>
                  </a:ext>
                </a:extLst>
              </p:cNvPr>
              <p:cNvSpPr/>
              <p:nvPr/>
            </p:nvSpPr>
            <p:spPr>
              <a:xfrm>
                <a:off x="18655111" y="4184468"/>
                <a:ext cx="30860" cy="80859"/>
              </a:xfrm>
              <a:custGeom>
                <a:avLst/>
                <a:gdLst>
                  <a:gd name="connsiteX0" fmla="*/ 0 w 30860"/>
                  <a:gd name="connsiteY0" fmla="*/ 0 h 80859"/>
                  <a:gd name="connsiteX1" fmla="*/ 30861 w 30860"/>
                  <a:gd name="connsiteY1" fmla="*/ 80859 h 8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860" h="80859">
                    <a:moveTo>
                      <a:pt x="0" y="0"/>
                    </a:moveTo>
                    <a:cubicBezTo>
                      <a:pt x="0" y="0"/>
                      <a:pt x="30861" y="51069"/>
                      <a:pt x="30861" y="80859"/>
                    </a:cubicBezTo>
                  </a:path>
                </a:pathLst>
              </a:custGeom>
              <a:solidFill>
                <a:srgbClr val="9B5D2D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0" name="Graphic 8">
              <a:extLst>
                <a:ext uri="{FF2B5EF4-FFF2-40B4-BE49-F238E27FC236}">
                  <a16:creationId xmlns:a16="http://schemas.microsoft.com/office/drawing/2014/main" id="{3A389CED-8C71-5CD5-75DE-41A25F316937}"/>
                </a:ext>
              </a:extLst>
            </p:cNvPr>
            <p:cNvGrpSpPr/>
            <p:nvPr/>
          </p:nvGrpSpPr>
          <p:grpSpPr>
            <a:xfrm>
              <a:off x="16098592" y="2257797"/>
              <a:ext cx="1808041" cy="3430017"/>
              <a:chOff x="16098592" y="2257797"/>
              <a:chExt cx="1808041" cy="3430017"/>
            </a:xfrm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F0DA3AA8-7222-1003-DC0E-40BB25083765}"/>
                  </a:ext>
                </a:extLst>
              </p:cNvPr>
              <p:cNvSpPr/>
              <p:nvPr/>
            </p:nvSpPr>
            <p:spPr>
              <a:xfrm>
                <a:off x="16908822" y="5415446"/>
                <a:ext cx="191549" cy="188152"/>
              </a:xfrm>
              <a:custGeom>
                <a:avLst/>
                <a:gdLst>
                  <a:gd name="connsiteX0" fmla="*/ 2128 w 191549"/>
                  <a:gd name="connsiteY0" fmla="*/ 150016 h 188152"/>
                  <a:gd name="connsiteX1" fmla="*/ 0 w 191549"/>
                  <a:gd name="connsiteY1" fmla="*/ 0 h 188152"/>
                  <a:gd name="connsiteX2" fmla="*/ 168138 w 191549"/>
                  <a:gd name="connsiteY2" fmla="*/ 9575 h 188152"/>
                  <a:gd name="connsiteX3" fmla="*/ 191549 w 191549"/>
                  <a:gd name="connsiteY3" fmla="*/ 124481 h 188152"/>
                  <a:gd name="connsiteX4" fmla="*/ 3193 w 191549"/>
                  <a:gd name="connsiteY4" fmla="*/ 151080 h 188152"/>
                  <a:gd name="connsiteX5" fmla="*/ 3193 w 191549"/>
                  <a:gd name="connsiteY5" fmla="*/ 151080 h 18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1549" h="188152">
                    <a:moveTo>
                      <a:pt x="2128" y="150016"/>
                    </a:moveTo>
                    <a:lnTo>
                      <a:pt x="0" y="0"/>
                    </a:lnTo>
                    <a:lnTo>
                      <a:pt x="168138" y="9575"/>
                    </a:lnTo>
                    <a:lnTo>
                      <a:pt x="191549" y="124481"/>
                    </a:lnTo>
                    <a:cubicBezTo>
                      <a:pt x="191549" y="124481"/>
                      <a:pt x="50016" y="247898"/>
                      <a:pt x="3193" y="151080"/>
                    </a:cubicBezTo>
                    <a:lnTo>
                      <a:pt x="3193" y="151080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1FF2DE37-8C08-A4DA-424E-8914C5F18C42}"/>
                  </a:ext>
                </a:extLst>
              </p:cNvPr>
              <p:cNvSpPr/>
              <p:nvPr/>
            </p:nvSpPr>
            <p:spPr>
              <a:xfrm>
                <a:off x="16888235" y="5484533"/>
                <a:ext cx="312023" cy="203281"/>
              </a:xfrm>
              <a:custGeom>
                <a:avLst/>
                <a:gdLst>
                  <a:gd name="connsiteX0" fmla="*/ 30165 w 312023"/>
                  <a:gd name="connsiteY0" fmla="*/ 51138 h 203281"/>
                  <a:gd name="connsiteX1" fmla="*/ 368 w 312023"/>
                  <a:gd name="connsiteY1" fmla="*/ 203282 h 203281"/>
                  <a:gd name="connsiteX2" fmla="*/ 311103 w 312023"/>
                  <a:gd name="connsiteY2" fmla="*/ 203282 h 203281"/>
                  <a:gd name="connsiteX3" fmla="*/ 270665 w 312023"/>
                  <a:gd name="connsiteY3" fmla="*/ 108591 h 203281"/>
                  <a:gd name="connsiteX4" fmla="*/ 227035 w 312023"/>
                  <a:gd name="connsiteY4" fmla="*/ 45819 h 203281"/>
                  <a:gd name="connsiteX5" fmla="*/ 167442 w 312023"/>
                  <a:gd name="connsiteY5" fmla="*/ 1133 h 203281"/>
                  <a:gd name="connsiteX6" fmla="*/ 30165 w 312023"/>
                  <a:gd name="connsiteY6" fmla="*/ 52202 h 203281"/>
                  <a:gd name="connsiteX7" fmla="*/ 30165 w 312023"/>
                  <a:gd name="connsiteY7" fmla="*/ 52202 h 2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2023" h="203281">
                    <a:moveTo>
                      <a:pt x="30165" y="51138"/>
                    </a:moveTo>
                    <a:cubicBezTo>
                      <a:pt x="30165" y="51138"/>
                      <a:pt x="-3888" y="149021"/>
                      <a:pt x="368" y="203282"/>
                    </a:cubicBezTo>
                    <a:lnTo>
                      <a:pt x="311103" y="203282"/>
                    </a:lnTo>
                    <a:cubicBezTo>
                      <a:pt x="311103" y="203282"/>
                      <a:pt x="321745" y="155404"/>
                      <a:pt x="270665" y="108591"/>
                    </a:cubicBezTo>
                    <a:lnTo>
                      <a:pt x="227035" y="45819"/>
                    </a:lnTo>
                    <a:cubicBezTo>
                      <a:pt x="227035" y="45819"/>
                      <a:pt x="215329" y="-8442"/>
                      <a:pt x="167442" y="1133"/>
                    </a:cubicBezTo>
                    <a:cubicBezTo>
                      <a:pt x="72731" y="20284"/>
                      <a:pt x="102528" y="43691"/>
                      <a:pt x="30165" y="52202"/>
                    </a:cubicBezTo>
                    <a:lnTo>
                      <a:pt x="30165" y="52202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9585BAAE-8601-E173-52F3-6266C1BABF75}"/>
                  </a:ext>
                </a:extLst>
              </p:cNvPr>
              <p:cNvSpPr/>
              <p:nvPr/>
            </p:nvSpPr>
            <p:spPr>
              <a:xfrm>
                <a:off x="17364625" y="5348009"/>
                <a:ext cx="313361" cy="253522"/>
              </a:xfrm>
              <a:custGeom>
                <a:avLst/>
                <a:gdLst>
                  <a:gd name="connsiteX0" fmla="*/ 26263 w 313361"/>
                  <a:gd name="connsiteY0" fmla="*/ 178087 h 253522"/>
                  <a:gd name="connsiteX1" fmla="*/ 2851 w 313361"/>
                  <a:gd name="connsiteY1" fmla="*/ 52542 h 253522"/>
                  <a:gd name="connsiteX2" fmla="*/ 201849 w 313361"/>
                  <a:gd name="connsiteY2" fmla="*/ 409 h 253522"/>
                  <a:gd name="connsiteX3" fmla="*/ 299752 w 313361"/>
                  <a:gd name="connsiteY3" fmla="*/ 192982 h 253522"/>
                  <a:gd name="connsiteX4" fmla="*/ 26263 w 313361"/>
                  <a:gd name="connsiteY4" fmla="*/ 178087 h 253522"/>
                  <a:gd name="connsiteX5" fmla="*/ 26263 w 313361"/>
                  <a:gd name="connsiteY5" fmla="*/ 178087 h 25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361" h="253522">
                    <a:moveTo>
                      <a:pt x="26263" y="178087"/>
                    </a:moveTo>
                    <a:cubicBezTo>
                      <a:pt x="26263" y="178087"/>
                      <a:pt x="32648" y="113187"/>
                      <a:pt x="2851" y="52542"/>
                    </a:cubicBezTo>
                    <a:cubicBezTo>
                      <a:pt x="-28010" y="-8103"/>
                      <a:pt x="201849" y="409"/>
                      <a:pt x="201849" y="409"/>
                    </a:cubicBezTo>
                    <a:cubicBezTo>
                      <a:pt x="201849" y="409"/>
                      <a:pt x="218876" y="145105"/>
                      <a:pt x="299752" y="192982"/>
                    </a:cubicBezTo>
                    <a:cubicBezTo>
                      <a:pt x="379564" y="240859"/>
                      <a:pt x="84791" y="307887"/>
                      <a:pt x="26263" y="178087"/>
                    </a:cubicBezTo>
                    <a:lnTo>
                      <a:pt x="26263" y="178087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9B90E85D-09AD-BEED-1B63-9149947E0EC8}"/>
                  </a:ext>
                </a:extLst>
              </p:cNvPr>
              <p:cNvSpPr/>
              <p:nvPr/>
            </p:nvSpPr>
            <p:spPr>
              <a:xfrm>
                <a:off x="16348036" y="3746124"/>
                <a:ext cx="1268719" cy="1702303"/>
              </a:xfrm>
              <a:custGeom>
                <a:avLst/>
                <a:gdLst>
                  <a:gd name="connsiteX0" fmla="*/ 18064 w 1268719"/>
                  <a:gd name="connsiteY0" fmla="*/ 188317 h 1702303"/>
                  <a:gd name="connsiteX1" fmla="*/ 200036 w 1268719"/>
                  <a:gd name="connsiteY1" fmla="*/ 22343 h 1702303"/>
                  <a:gd name="connsiteX2" fmla="*/ 841725 w 1268719"/>
                  <a:gd name="connsiteY2" fmla="*/ 0 h 1702303"/>
                  <a:gd name="connsiteX3" fmla="*/ 845982 w 1268719"/>
                  <a:gd name="connsiteY3" fmla="*/ 117033 h 1702303"/>
                  <a:gd name="connsiteX4" fmla="*/ 831084 w 1268719"/>
                  <a:gd name="connsiteY4" fmla="*/ 295775 h 1702303"/>
                  <a:gd name="connsiteX5" fmla="*/ 1259940 w 1268719"/>
                  <a:gd name="connsiteY5" fmla="*/ 689433 h 1702303"/>
                  <a:gd name="connsiteX6" fmla="*/ 1247170 w 1268719"/>
                  <a:gd name="connsiteY6" fmla="*/ 1671450 h 1702303"/>
                  <a:gd name="connsiteX7" fmla="*/ 1015183 w 1268719"/>
                  <a:gd name="connsiteY7" fmla="*/ 1702304 h 1702303"/>
                  <a:gd name="connsiteX8" fmla="*/ 892805 w 1268719"/>
                  <a:gd name="connsiteY8" fmla="*/ 832001 h 1702303"/>
                  <a:gd name="connsiteX9" fmla="*/ 781068 w 1268719"/>
                  <a:gd name="connsiteY9" fmla="*/ 792635 h 1702303"/>
                  <a:gd name="connsiteX10" fmla="*/ 775747 w 1268719"/>
                  <a:gd name="connsiteY10" fmla="*/ 1683153 h 1702303"/>
                  <a:gd name="connsiteX11" fmla="*/ 520348 w 1268719"/>
                  <a:gd name="connsiteY11" fmla="*/ 1689536 h 1702303"/>
                  <a:gd name="connsiteX12" fmla="*/ 407547 w 1268719"/>
                  <a:gd name="connsiteY12" fmla="*/ 843704 h 1702303"/>
                  <a:gd name="connsiteX13" fmla="*/ 14872 w 1268719"/>
                  <a:gd name="connsiteY13" fmla="*/ 654323 h 1702303"/>
                  <a:gd name="connsiteX14" fmla="*/ 20193 w 1268719"/>
                  <a:gd name="connsiteY14" fmla="*/ 187253 h 1702303"/>
                  <a:gd name="connsiteX15" fmla="*/ 18064 w 1268719"/>
                  <a:gd name="connsiteY15" fmla="*/ 187253 h 1702303"/>
                  <a:gd name="connsiteX16" fmla="*/ 18064 w 1268719"/>
                  <a:gd name="connsiteY16" fmla="*/ 187253 h 170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68719" h="1702303">
                    <a:moveTo>
                      <a:pt x="18064" y="188317"/>
                    </a:moveTo>
                    <a:cubicBezTo>
                      <a:pt x="18064" y="170230"/>
                      <a:pt x="203228" y="26598"/>
                      <a:pt x="200036" y="22343"/>
                    </a:cubicBezTo>
                    <a:lnTo>
                      <a:pt x="841725" y="0"/>
                    </a:lnTo>
                    <a:lnTo>
                      <a:pt x="845982" y="117033"/>
                    </a:lnTo>
                    <a:lnTo>
                      <a:pt x="831084" y="295775"/>
                    </a:lnTo>
                    <a:cubicBezTo>
                      <a:pt x="831084" y="295775"/>
                      <a:pt x="1222695" y="440471"/>
                      <a:pt x="1259940" y="689433"/>
                    </a:cubicBezTo>
                    <a:cubicBezTo>
                      <a:pt x="1285480" y="860727"/>
                      <a:pt x="1247170" y="1671450"/>
                      <a:pt x="1247170" y="1671450"/>
                    </a:cubicBezTo>
                    <a:lnTo>
                      <a:pt x="1015183" y="1702304"/>
                    </a:lnTo>
                    <a:cubicBezTo>
                      <a:pt x="1015183" y="1702304"/>
                      <a:pt x="878971" y="778804"/>
                      <a:pt x="892805" y="832001"/>
                    </a:cubicBezTo>
                    <a:lnTo>
                      <a:pt x="781068" y="792635"/>
                    </a:lnTo>
                    <a:cubicBezTo>
                      <a:pt x="781068" y="792635"/>
                      <a:pt x="809800" y="1420360"/>
                      <a:pt x="775747" y="1683153"/>
                    </a:cubicBezTo>
                    <a:lnTo>
                      <a:pt x="520348" y="1689536"/>
                    </a:lnTo>
                    <a:lnTo>
                      <a:pt x="407547" y="843704"/>
                    </a:lnTo>
                    <a:cubicBezTo>
                      <a:pt x="407547" y="843704"/>
                      <a:pt x="38283" y="758589"/>
                      <a:pt x="14872" y="654323"/>
                    </a:cubicBezTo>
                    <a:cubicBezTo>
                      <a:pt x="-13861" y="526650"/>
                      <a:pt x="5294" y="286200"/>
                      <a:pt x="20193" y="187253"/>
                    </a:cubicBezTo>
                    <a:lnTo>
                      <a:pt x="18064" y="187253"/>
                    </a:lnTo>
                    <a:lnTo>
                      <a:pt x="18064" y="187253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A8E7AC59-40FE-1F06-D2DE-8F4B56941078}"/>
                  </a:ext>
                </a:extLst>
              </p:cNvPr>
              <p:cNvSpPr/>
              <p:nvPr/>
            </p:nvSpPr>
            <p:spPr>
              <a:xfrm>
                <a:off x="17364178" y="5458003"/>
                <a:ext cx="542456" cy="229811"/>
              </a:xfrm>
              <a:custGeom>
                <a:avLst/>
                <a:gdLst>
                  <a:gd name="connsiteX0" fmla="*/ 536443 w 542456"/>
                  <a:gd name="connsiteY0" fmla="*/ 229811 h 229811"/>
                  <a:gd name="connsiteX1" fmla="*/ 106 w 542456"/>
                  <a:gd name="connsiteY1" fmla="*/ 229811 h 229811"/>
                  <a:gd name="connsiteX2" fmla="*/ 25645 w 542456"/>
                  <a:gd name="connsiteY2" fmla="*/ 68092 h 229811"/>
                  <a:gd name="connsiteX3" fmla="*/ 187398 w 542456"/>
                  <a:gd name="connsiteY3" fmla="*/ 62772 h 229811"/>
                  <a:gd name="connsiteX4" fmla="*/ 241670 w 542456"/>
                  <a:gd name="connsiteY4" fmla="*/ 0 h 229811"/>
                  <a:gd name="connsiteX5" fmla="*/ 383204 w 542456"/>
                  <a:gd name="connsiteY5" fmla="*/ 110650 h 229811"/>
                  <a:gd name="connsiteX6" fmla="*/ 519416 w 542456"/>
                  <a:gd name="connsiteY6" fmla="*/ 147888 h 229811"/>
                  <a:gd name="connsiteX7" fmla="*/ 536443 w 542456"/>
                  <a:gd name="connsiteY7" fmla="*/ 229811 h 229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2456" h="229811">
                    <a:moveTo>
                      <a:pt x="536443" y="229811"/>
                    </a:moveTo>
                    <a:lnTo>
                      <a:pt x="106" y="229811"/>
                    </a:lnTo>
                    <a:cubicBezTo>
                      <a:pt x="106" y="229811"/>
                      <a:pt x="-3087" y="161719"/>
                      <a:pt x="25645" y="68092"/>
                    </a:cubicBezTo>
                    <a:cubicBezTo>
                      <a:pt x="25645" y="68092"/>
                      <a:pt x="127805" y="96819"/>
                      <a:pt x="187398" y="62772"/>
                    </a:cubicBezTo>
                    <a:lnTo>
                      <a:pt x="241670" y="0"/>
                    </a:lnTo>
                    <a:lnTo>
                      <a:pt x="383204" y="110650"/>
                    </a:lnTo>
                    <a:lnTo>
                      <a:pt x="519416" y="147888"/>
                    </a:lnTo>
                    <a:cubicBezTo>
                      <a:pt x="519416" y="147888"/>
                      <a:pt x="556662" y="181934"/>
                      <a:pt x="536443" y="229811"/>
                    </a:cubicBez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7731CEB2-000E-DE1F-90E2-18951D48B44D}"/>
                  </a:ext>
                </a:extLst>
              </p:cNvPr>
              <p:cNvSpPr/>
              <p:nvPr/>
            </p:nvSpPr>
            <p:spPr>
              <a:xfrm>
                <a:off x="16099657" y="2767300"/>
                <a:ext cx="1191199" cy="1296167"/>
              </a:xfrm>
              <a:custGeom>
                <a:avLst/>
                <a:gdLst>
                  <a:gd name="connsiteX0" fmla="*/ 1191200 w 1191199"/>
                  <a:gd name="connsiteY0" fmla="*/ 162783 h 1296167"/>
                  <a:gd name="connsiteX1" fmla="*/ 846411 w 1191199"/>
                  <a:gd name="connsiteY1" fmla="*/ 0 h 1296167"/>
                  <a:gd name="connsiteX2" fmla="*/ 778305 w 1191199"/>
                  <a:gd name="connsiteY2" fmla="*/ 142568 h 1296167"/>
                  <a:gd name="connsiteX3" fmla="*/ 543125 w 1191199"/>
                  <a:gd name="connsiteY3" fmla="*/ 37238 h 1296167"/>
                  <a:gd name="connsiteX4" fmla="*/ 545254 w 1191199"/>
                  <a:gd name="connsiteY4" fmla="*/ 34046 h 1296167"/>
                  <a:gd name="connsiteX5" fmla="*/ 224941 w 1191199"/>
                  <a:gd name="connsiteY5" fmla="*/ 163847 h 1296167"/>
                  <a:gd name="connsiteX6" fmla="*/ 182375 w 1191199"/>
                  <a:gd name="connsiteY6" fmla="*/ 201085 h 1296167"/>
                  <a:gd name="connsiteX7" fmla="*/ 5724 w 1191199"/>
                  <a:gd name="connsiteY7" fmla="*/ 946906 h 1296167"/>
                  <a:gd name="connsiteX8" fmla="*/ 14237 w 1191199"/>
                  <a:gd name="connsiteY8" fmla="*/ 1117137 h 1296167"/>
                  <a:gd name="connsiteX9" fmla="*/ 616553 w 1191199"/>
                  <a:gd name="connsiteY9" fmla="*/ 1289495 h 1296167"/>
                  <a:gd name="connsiteX10" fmla="*/ 629322 w 1191199"/>
                  <a:gd name="connsiteY10" fmla="*/ 1219275 h 1296167"/>
                  <a:gd name="connsiteX11" fmla="*/ 1134799 w 1191199"/>
                  <a:gd name="connsiteY11" fmla="*/ 1258641 h 1296167"/>
                  <a:gd name="connsiteX12" fmla="*/ 1149697 w 1191199"/>
                  <a:gd name="connsiteY12" fmla="*/ 1187357 h 1296167"/>
                  <a:gd name="connsiteX13" fmla="*/ 1184815 w 1191199"/>
                  <a:gd name="connsiteY13" fmla="*/ 455366 h 1296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91199" h="1296167">
                    <a:moveTo>
                      <a:pt x="1191200" y="162783"/>
                    </a:moveTo>
                    <a:cubicBezTo>
                      <a:pt x="1140120" y="127673"/>
                      <a:pt x="1042217" y="46813"/>
                      <a:pt x="846411" y="0"/>
                    </a:cubicBezTo>
                    <a:lnTo>
                      <a:pt x="778305" y="142568"/>
                    </a:lnTo>
                    <a:cubicBezTo>
                      <a:pt x="708070" y="160655"/>
                      <a:pt x="556959" y="65964"/>
                      <a:pt x="543125" y="37238"/>
                    </a:cubicBezTo>
                    <a:lnTo>
                      <a:pt x="545254" y="34046"/>
                    </a:lnTo>
                    <a:cubicBezTo>
                      <a:pt x="415426" y="93627"/>
                      <a:pt x="276021" y="122353"/>
                      <a:pt x="224941" y="163847"/>
                    </a:cubicBezTo>
                    <a:cubicBezTo>
                      <a:pt x="216428" y="171294"/>
                      <a:pt x="191952" y="191509"/>
                      <a:pt x="182375" y="201085"/>
                    </a:cubicBezTo>
                    <a:cubicBezTo>
                      <a:pt x="115333" y="274497"/>
                      <a:pt x="5724" y="579847"/>
                      <a:pt x="5724" y="946906"/>
                    </a:cubicBezTo>
                    <a:cubicBezTo>
                      <a:pt x="403" y="978825"/>
                      <a:pt x="-7046" y="1090538"/>
                      <a:pt x="14237" y="1117137"/>
                    </a:cubicBezTo>
                    <a:cubicBezTo>
                      <a:pt x="125974" y="1258641"/>
                      <a:pt x="571858" y="1317157"/>
                      <a:pt x="616553" y="1289495"/>
                    </a:cubicBezTo>
                    <a:lnTo>
                      <a:pt x="629322" y="1219275"/>
                    </a:lnTo>
                    <a:lnTo>
                      <a:pt x="1134799" y="1258641"/>
                    </a:lnTo>
                    <a:lnTo>
                      <a:pt x="1149697" y="1187357"/>
                    </a:lnTo>
                    <a:cubicBezTo>
                      <a:pt x="1149697" y="1187357"/>
                      <a:pt x="1175237" y="674538"/>
                      <a:pt x="1184815" y="455366"/>
                    </a:cubicBezTo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E6D8A785-A7BE-96AD-D1EE-A7309ED8957E}"/>
                  </a:ext>
                </a:extLst>
              </p:cNvPr>
              <p:cNvSpPr/>
              <p:nvPr/>
            </p:nvSpPr>
            <p:spPr>
              <a:xfrm>
                <a:off x="17050094" y="2640014"/>
                <a:ext cx="65369" cy="65970"/>
              </a:xfrm>
              <a:custGeom>
                <a:avLst/>
                <a:gdLst>
                  <a:gd name="connsiteX0" fmla="*/ 261 w 65369"/>
                  <a:gd name="connsiteY0" fmla="*/ 30468 h 65970"/>
                  <a:gd name="connsiteX1" fmla="*/ 40699 w 65369"/>
                  <a:gd name="connsiteY1" fmla="*/ 65578 h 65970"/>
                  <a:gd name="connsiteX2" fmla="*/ 59854 w 65369"/>
                  <a:gd name="connsiteY2" fmla="*/ 43235 h 65970"/>
                  <a:gd name="connsiteX3" fmla="*/ 44956 w 65369"/>
                  <a:gd name="connsiteY3" fmla="*/ 30468 h 65970"/>
                  <a:gd name="connsiteX4" fmla="*/ 65175 w 65369"/>
                  <a:gd name="connsiteY4" fmla="*/ 677 h 65970"/>
                  <a:gd name="connsiteX5" fmla="*/ 27930 w 65369"/>
                  <a:gd name="connsiteY5" fmla="*/ 5997 h 65970"/>
                  <a:gd name="connsiteX6" fmla="*/ 261 w 65369"/>
                  <a:gd name="connsiteY6" fmla="*/ 30468 h 65970"/>
                  <a:gd name="connsiteX7" fmla="*/ 261 w 65369"/>
                  <a:gd name="connsiteY7" fmla="*/ 30468 h 65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369" h="65970">
                    <a:moveTo>
                      <a:pt x="261" y="30468"/>
                    </a:moveTo>
                    <a:cubicBezTo>
                      <a:pt x="-1867" y="46427"/>
                      <a:pt x="8774" y="53874"/>
                      <a:pt x="40699" y="65578"/>
                    </a:cubicBezTo>
                    <a:cubicBezTo>
                      <a:pt x="44956" y="67705"/>
                      <a:pt x="66239" y="61322"/>
                      <a:pt x="59854" y="43235"/>
                    </a:cubicBezTo>
                    <a:cubicBezTo>
                      <a:pt x="54534" y="27276"/>
                      <a:pt x="36443" y="32596"/>
                      <a:pt x="44956" y="30468"/>
                    </a:cubicBezTo>
                    <a:cubicBezTo>
                      <a:pt x="51341" y="29404"/>
                      <a:pt x="67303" y="25148"/>
                      <a:pt x="65175" y="677"/>
                    </a:cubicBezTo>
                    <a:cubicBezTo>
                      <a:pt x="54534" y="-1451"/>
                      <a:pt x="39635" y="1741"/>
                      <a:pt x="27930" y="5997"/>
                    </a:cubicBezTo>
                    <a:cubicBezTo>
                      <a:pt x="20480" y="9189"/>
                      <a:pt x="1326" y="21956"/>
                      <a:pt x="261" y="30468"/>
                    </a:cubicBezTo>
                    <a:lnTo>
                      <a:pt x="261" y="30468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71E892B5-91A8-6E26-275D-5636931330BD}"/>
                  </a:ext>
                </a:extLst>
              </p:cNvPr>
              <p:cNvSpPr/>
              <p:nvPr/>
            </p:nvSpPr>
            <p:spPr>
              <a:xfrm>
                <a:off x="16891470" y="2336404"/>
                <a:ext cx="249739" cy="309342"/>
              </a:xfrm>
              <a:custGeom>
                <a:avLst/>
                <a:gdLst>
                  <a:gd name="connsiteX0" fmla="*/ 245083 w 249739"/>
                  <a:gd name="connsiteY0" fmla="*/ 237259 h 309342"/>
                  <a:gd name="connsiteX1" fmla="*/ 203581 w 249739"/>
                  <a:gd name="connsiteY1" fmla="*/ 176614 h 309342"/>
                  <a:gd name="connsiteX2" fmla="*/ 187618 w 249739"/>
                  <a:gd name="connsiteY2" fmla="*/ 153207 h 309342"/>
                  <a:gd name="connsiteX3" fmla="*/ 182297 w 249739"/>
                  <a:gd name="connsiteY3" fmla="*/ 78732 h 309342"/>
                  <a:gd name="connsiteX4" fmla="*/ 137603 w 249739"/>
                  <a:gd name="connsiteY4" fmla="*/ 0 h 309342"/>
                  <a:gd name="connsiteX5" fmla="*/ 135474 w 249739"/>
                  <a:gd name="connsiteY5" fmla="*/ 0 h 309342"/>
                  <a:gd name="connsiteX6" fmla="*/ 23737 w 249739"/>
                  <a:gd name="connsiteY6" fmla="*/ 50005 h 309342"/>
                  <a:gd name="connsiteX7" fmla="*/ 31187 w 249739"/>
                  <a:gd name="connsiteY7" fmla="*/ 110650 h 309342"/>
                  <a:gd name="connsiteX8" fmla="*/ 326 w 249739"/>
                  <a:gd name="connsiteY8" fmla="*/ 171294 h 309342"/>
                  <a:gd name="connsiteX9" fmla="*/ 19481 w 249739"/>
                  <a:gd name="connsiteY9" fmla="*/ 257473 h 309342"/>
                  <a:gd name="connsiteX10" fmla="*/ 102485 w 249739"/>
                  <a:gd name="connsiteY10" fmla="*/ 304287 h 309342"/>
                  <a:gd name="connsiteX11" fmla="*/ 201452 w 249739"/>
                  <a:gd name="connsiteY11" fmla="*/ 277688 h 309342"/>
                  <a:gd name="connsiteX12" fmla="*/ 237634 w 249739"/>
                  <a:gd name="connsiteY12" fmla="*/ 262793 h 309342"/>
                  <a:gd name="connsiteX13" fmla="*/ 246147 w 249739"/>
                  <a:gd name="connsiteY13" fmla="*/ 238322 h 309342"/>
                  <a:gd name="connsiteX14" fmla="*/ 246147 w 249739"/>
                  <a:gd name="connsiteY14" fmla="*/ 238322 h 309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9739" h="309342">
                    <a:moveTo>
                      <a:pt x="245083" y="237259"/>
                    </a:moveTo>
                    <a:cubicBezTo>
                      <a:pt x="239762" y="227683"/>
                      <a:pt x="203581" y="176614"/>
                      <a:pt x="203581" y="176614"/>
                    </a:cubicBezTo>
                    <a:cubicBezTo>
                      <a:pt x="198260" y="168103"/>
                      <a:pt x="185490" y="161719"/>
                      <a:pt x="187618" y="153207"/>
                    </a:cubicBezTo>
                    <a:cubicBezTo>
                      <a:pt x="194003" y="128737"/>
                      <a:pt x="192939" y="102138"/>
                      <a:pt x="182297" y="78732"/>
                    </a:cubicBezTo>
                    <a:cubicBezTo>
                      <a:pt x="167399" y="46813"/>
                      <a:pt x="148244" y="14895"/>
                      <a:pt x="137603" y="0"/>
                    </a:cubicBezTo>
                    <a:lnTo>
                      <a:pt x="135474" y="0"/>
                    </a:lnTo>
                    <a:cubicBezTo>
                      <a:pt x="122705" y="2128"/>
                      <a:pt x="30122" y="15959"/>
                      <a:pt x="23737" y="50005"/>
                    </a:cubicBezTo>
                    <a:cubicBezTo>
                      <a:pt x="16288" y="86179"/>
                      <a:pt x="31187" y="110650"/>
                      <a:pt x="31187" y="110650"/>
                    </a:cubicBezTo>
                    <a:cubicBezTo>
                      <a:pt x="31187" y="110650"/>
                      <a:pt x="9903" y="137248"/>
                      <a:pt x="326" y="171294"/>
                    </a:cubicBezTo>
                    <a:cubicBezTo>
                      <a:pt x="-1802" y="211724"/>
                      <a:pt x="6711" y="238322"/>
                      <a:pt x="19481" y="257473"/>
                    </a:cubicBezTo>
                    <a:cubicBezTo>
                      <a:pt x="45021" y="294711"/>
                      <a:pt x="88651" y="296839"/>
                      <a:pt x="102485" y="304287"/>
                    </a:cubicBezTo>
                    <a:cubicBezTo>
                      <a:pt x="123768" y="315990"/>
                      <a:pt x="159950" y="307479"/>
                      <a:pt x="201452" y="277688"/>
                    </a:cubicBezTo>
                    <a:cubicBezTo>
                      <a:pt x="201452" y="277688"/>
                      <a:pt x="221671" y="267049"/>
                      <a:pt x="237634" y="262793"/>
                    </a:cubicBezTo>
                    <a:cubicBezTo>
                      <a:pt x="252532" y="258537"/>
                      <a:pt x="251468" y="247898"/>
                      <a:pt x="246147" y="238322"/>
                    </a:cubicBezTo>
                    <a:lnTo>
                      <a:pt x="246147" y="238322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318F14AD-0BD7-4C75-8852-D3752C023201}"/>
                  </a:ext>
                </a:extLst>
              </p:cNvPr>
              <p:cNvSpPr/>
              <p:nvPr/>
            </p:nvSpPr>
            <p:spPr>
              <a:xfrm>
                <a:off x="16142602" y="3709251"/>
                <a:ext cx="1005096" cy="361611"/>
              </a:xfrm>
              <a:custGeom>
                <a:avLst/>
                <a:gdLst>
                  <a:gd name="connsiteX0" fmla="*/ 965218 w 1005096"/>
                  <a:gd name="connsiteY0" fmla="*/ 247534 h 361611"/>
                  <a:gd name="connsiteX1" fmla="*/ 847096 w 1005096"/>
                  <a:gd name="connsiteY1" fmla="*/ 265621 h 361611"/>
                  <a:gd name="connsiteX2" fmla="*/ 847096 w 1005096"/>
                  <a:gd name="connsiteY2" fmla="*/ 261365 h 361611"/>
                  <a:gd name="connsiteX3" fmla="*/ 1004592 w 1005096"/>
                  <a:gd name="connsiteY3" fmla="*/ 197529 h 361611"/>
                  <a:gd name="connsiteX4" fmla="*/ 954576 w 1005096"/>
                  <a:gd name="connsiteY4" fmla="*/ 187953 h 361611"/>
                  <a:gd name="connsiteX5" fmla="*/ 840711 w 1005096"/>
                  <a:gd name="connsiteY5" fmla="*/ 215615 h 361611"/>
                  <a:gd name="connsiteX6" fmla="*/ 848160 w 1005096"/>
                  <a:gd name="connsiteY6" fmla="*/ 210296 h 361611"/>
                  <a:gd name="connsiteX7" fmla="*/ 951384 w 1005096"/>
                  <a:gd name="connsiteY7" fmla="*/ 156035 h 361611"/>
                  <a:gd name="connsiteX8" fmla="*/ 943935 w 1005096"/>
                  <a:gd name="connsiteY8" fmla="*/ 127309 h 361611"/>
                  <a:gd name="connsiteX9" fmla="*/ 809850 w 1005096"/>
                  <a:gd name="connsiteY9" fmla="*/ 175186 h 361611"/>
                  <a:gd name="connsiteX10" fmla="*/ 743873 w 1005096"/>
                  <a:gd name="connsiteY10" fmla="*/ 180505 h 361611"/>
                  <a:gd name="connsiteX11" fmla="*/ 771541 w 1005096"/>
                  <a:gd name="connsiteY11" fmla="*/ 148587 h 361611"/>
                  <a:gd name="connsiteX12" fmla="*/ 798145 w 1005096"/>
                  <a:gd name="connsiteY12" fmla="*/ 92199 h 361611"/>
                  <a:gd name="connsiteX13" fmla="*/ 774733 w 1005096"/>
                  <a:gd name="connsiteY13" fmla="*/ 90071 h 361611"/>
                  <a:gd name="connsiteX14" fmla="*/ 739616 w 1005096"/>
                  <a:gd name="connsiteY14" fmla="*/ 113477 h 361611"/>
                  <a:gd name="connsiteX15" fmla="*/ 611916 w 1005096"/>
                  <a:gd name="connsiteY15" fmla="*/ 187953 h 361611"/>
                  <a:gd name="connsiteX16" fmla="*/ 253294 w 1005096"/>
                  <a:gd name="connsiteY16" fmla="*/ 31554 h 361611"/>
                  <a:gd name="connsiteX17" fmla="*/ 24 w 1005096"/>
                  <a:gd name="connsiteY17" fmla="*/ 75176 h 361611"/>
                  <a:gd name="connsiteX18" fmla="*/ 138365 w 1005096"/>
                  <a:gd name="connsiteY18" fmla="*/ 175186 h 361611"/>
                  <a:gd name="connsiteX19" fmla="*/ 604468 w 1005096"/>
                  <a:gd name="connsiteY19" fmla="*/ 343288 h 361611"/>
                  <a:gd name="connsiteX20" fmla="*/ 665125 w 1005096"/>
                  <a:gd name="connsiteY20" fmla="*/ 359247 h 361611"/>
                  <a:gd name="connsiteX21" fmla="*/ 821556 w 1005096"/>
                  <a:gd name="connsiteY21" fmla="*/ 359247 h 361611"/>
                  <a:gd name="connsiteX22" fmla="*/ 947127 w 1005096"/>
                  <a:gd name="connsiteY22" fmla="*/ 329457 h 361611"/>
                  <a:gd name="connsiteX23" fmla="*/ 939678 w 1005096"/>
                  <a:gd name="connsiteY23" fmla="*/ 309242 h 361611"/>
                  <a:gd name="connsiteX24" fmla="*/ 838583 w 1005096"/>
                  <a:gd name="connsiteY24" fmla="*/ 317754 h 361611"/>
                  <a:gd name="connsiteX25" fmla="*/ 837519 w 1005096"/>
                  <a:gd name="connsiteY25" fmla="*/ 312434 h 361611"/>
                  <a:gd name="connsiteX26" fmla="*/ 993951 w 1005096"/>
                  <a:gd name="connsiteY26" fmla="*/ 263493 h 361611"/>
                  <a:gd name="connsiteX27" fmla="*/ 967347 w 1005096"/>
                  <a:gd name="connsiteY27" fmla="*/ 248598 h 361611"/>
                  <a:gd name="connsiteX28" fmla="*/ 965218 w 1005096"/>
                  <a:gd name="connsiteY28" fmla="*/ 248598 h 361611"/>
                  <a:gd name="connsiteX29" fmla="*/ 965218 w 1005096"/>
                  <a:gd name="connsiteY29" fmla="*/ 248598 h 361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005096" h="361611">
                    <a:moveTo>
                      <a:pt x="965218" y="247534"/>
                    </a:moveTo>
                    <a:cubicBezTo>
                      <a:pt x="926908" y="260301"/>
                      <a:pt x="847096" y="265621"/>
                      <a:pt x="847096" y="265621"/>
                    </a:cubicBezTo>
                    <a:lnTo>
                      <a:pt x="847096" y="261365"/>
                    </a:lnTo>
                    <a:cubicBezTo>
                      <a:pt x="847096" y="261365"/>
                      <a:pt x="997143" y="229447"/>
                      <a:pt x="1004592" y="197529"/>
                    </a:cubicBezTo>
                    <a:cubicBezTo>
                      <a:pt x="1010977" y="167738"/>
                      <a:pt x="954576" y="187953"/>
                      <a:pt x="954576" y="187953"/>
                    </a:cubicBezTo>
                    <a:cubicBezTo>
                      <a:pt x="954576" y="187953"/>
                      <a:pt x="883278" y="212424"/>
                      <a:pt x="840711" y="215615"/>
                    </a:cubicBezTo>
                    <a:lnTo>
                      <a:pt x="848160" y="210296"/>
                    </a:lnTo>
                    <a:cubicBezTo>
                      <a:pt x="848160" y="210296"/>
                      <a:pt x="937550" y="177314"/>
                      <a:pt x="951384" y="156035"/>
                    </a:cubicBezTo>
                    <a:cubicBezTo>
                      <a:pt x="966282" y="134756"/>
                      <a:pt x="958833" y="123053"/>
                      <a:pt x="943935" y="127309"/>
                    </a:cubicBezTo>
                    <a:cubicBezTo>
                      <a:pt x="929037" y="132628"/>
                      <a:pt x="841775" y="169866"/>
                      <a:pt x="809850" y="175186"/>
                    </a:cubicBezTo>
                    <a:cubicBezTo>
                      <a:pt x="777926" y="180505"/>
                      <a:pt x="759835" y="179441"/>
                      <a:pt x="743873" y="180505"/>
                    </a:cubicBezTo>
                    <a:cubicBezTo>
                      <a:pt x="720461" y="182634"/>
                      <a:pt x="770477" y="148587"/>
                      <a:pt x="771541" y="148587"/>
                    </a:cubicBezTo>
                    <a:cubicBezTo>
                      <a:pt x="816236" y="121989"/>
                      <a:pt x="798145" y="92199"/>
                      <a:pt x="798145" y="92199"/>
                    </a:cubicBezTo>
                    <a:cubicBezTo>
                      <a:pt x="798145" y="92199"/>
                      <a:pt x="789631" y="76239"/>
                      <a:pt x="774733" y="90071"/>
                    </a:cubicBezTo>
                    <a:cubicBezTo>
                      <a:pt x="759835" y="102838"/>
                      <a:pt x="753450" y="107094"/>
                      <a:pt x="739616" y="113477"/>
                    </a:cubicBezTo>
                    <a:cubicBezTo>
                      <a:pt x="723653" y="120925"/>
                      <a:pt x="654483" y="189017"/>
                      <a:pt x="611916" y="187953"/>
                    </a:cubicBezTo>
                    <a:cubicBezTo>
                      <a:pt x="569350" y="186889"/>
                      <a:pt x="337363" y="74112"/>
                      <a:pt x="253294" y="31554"/>
                    </a:cubicBezTo>
                    <a:cubicBezTo>
                      <a:pt x="138365" y="-26963"/>
                      <a:pt x="-2104" y="700"/>
                      <a:pt x="24" y="75176"/>
                    </a:cubicBezTo>
                    <a:cubicBezTo>
                      <a:pt x="24" y="95390"/>
                      <a:pt x="75579" y="144332"/>
                      <a:pt x="138365" y="175186"/>
                    </a:cubicBezTo>
                    <a:lnTo>
                      <a:pt x="604468" y="343288"/>
                    </a:lnTo>
                    <a:cubicBezTo>
                      <a:pt x="635328" y="356056"/>
                      <a:pt x="669381" y="361375"/>
                      <a:pt x="665125" y="359247"/>
                    </a:cubicBezTo>
                    <a:cubicBezTo>
                      <a:pt x="689600" y="364567"/>
                      <a:pt x="821556" y="359247"/>
                      <a:pt x="821556" y="359247"/>
                    </a:cubicBezTo>
                    <a:cubicBezTo>
                      <a:pt x="821556" y="359247"/>
                      <a:pt x="937550" y="351800"/>
                      <a:pt x="947127" y="329457"/>
                    </a:cubicBezTo>
                    <a:cubicBezTo>
                      <a:pt x="956705" y="307114"/>
                      <a:pt x="939678" y="309242"/>
                      <a:pt x="939678" y="309242"/>
                    </a:cubicBezTo>
                    <a:cubicBezTo>
                      <a:pt x="939678" y="309242"/>
                      <a:pt x="846032" y="327329"/>
                      <a:pt x="838583" y="317754"/>
                    </a:cubicBezTo>
                    <a:cubicBezTo>
                      <a:pt x="836455" y="314562"/>
                      <a:pt x="837519" y="312434"/>
                      <a:pt x="837519" y="312434"/>
                    </a:cubicBezTo>
                    <a:cubicBezTo>
                      <a:pt x="837519" y="312434"/>
                      <a:pt x="963090" y="298603"/>
                      <a:pt x="993951" y="263493"/>
                    </a:cubicBezTo>
                    <a:cubicBezTo>
                      <a:pt x="993951" y="263493"/>
                      <a:pt x="1006720" y="234766"/>
                      <a:pt x="967347" y="248598"/>
                    </a:cubicBezTo>
                    <a:lnTo>
                      <a:pt x="965218" y="248598"/>
                    </a:lnTo>
                    <a:lnTo>
                      <a:pt x="965218" y="248598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781AE8B3-5740-A748-0319-661CCD52CB4E}"/>
                  </a:ext>
                </a:extLst>
              </p:cNvPr>
              <p:cNvSpPr/>
              <p:nvPr/>
            </p:nvSpPr>
            <p:spPr>
              <a:xfrm>
                <a:off x="16098592" y="3338635"/>
                <a:ext cx="649541" cy="726959"/>
              </a:xfrm>
              <a:custGeom>
                <a:avLst/>
                <a:gdLst>
                  <a:gd name="connsiteX0" fmla="*/ 5724 w 649541"/>
                  <a:gd name="connsiteY0" fmla="*/ 377699 h 726959"/>
                  <a:gd name="connsiteX1" fmla="*/ 14237 w 649541"/>
                  <a:gd name="connsiteY1" fmla="*/ 547929 h 726959"/>
                  <a:gd name="connsiteX2" fmla="*/ 616553 w 649541"/>
                  <a:gd name="connsiteY2" fmla="*/ 720287 h 726959"/>
                  <a:gd name="connsiteX3" fmla="*/ 649542 w 649541"/>
                  <a:gd name="connsiteY3" fmla="*/ 538353 h 726959"/>
                  <a:gd name="connsiteX4" fmla="*/ 282406 w 649541"/>
                  <a:gd name="connsiteY4" fmla="*/ 355356 h 726959"/>
                  <a:gd name="connsiteX5" fmla="*/ 383501 w 649541"/>
                  <a:gd name="connsiteY5" fmla="*/ 0 h 72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9541" h="726959">
                    <a:moveTo>
                      <a:pt x="5724" y="377699"/>
                    </a:moveTo>
                    <a:cubicBezTo>
                      <a:pt x="403" y="409617"/>
                      <a:pt x="-7046" y="521331"/>
                      <a:pt x="14237" y="547929"/>
                    </a:cubicBezTo>
                    <a:cubicBezTo>
                      <a:pt x="125974" y="689433"/>
                      <a:pt x="571858" y="747950"/>
                      <a:pt x="616553" y="720287"/>
                    </a:cubicBezTo>
                    <a:lnTo>
                      <a:pt x="649542" y="538353"/>
                    </a:lnTo>
                    <a:lnTo>
                      <a:pt x="282406" y="355356"/>
                    </a:lnTo>
                    <a:cubicBezTo>
                      <a:pt x="329229" y="213852"/>
                      <a:pt x="383501" y="0"/>
                      <a:pt x="383501" y="0"/>
                    </a:cubicBezTo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71" name="Graphic 8">
                <a:extLst>
                  <a:ext uri="{FF2B5EF4-FFF2-40B4-BE49-F238E27FC236}">
                    <a16:creationId xmlns:a16="http://schemas.microsoft.com/office/drawing/2014/main" id="{9A33F51E-8B80-D9BB-9F34-1B6926AFD06A}"/>
                  </a:ext>
                </a:extLst>
              </p:cNvPr>
              <p:cNvGrpSpPr/>
              <p:nvPr/>
            </p:nvGrpSpPr>
            <p:grpSpPr>
              <a:xfrm>
                <a:off x="16610851" y="2257797"/>
                <a:ext cx="516534" cy="654348"/>
                <a:chOff x="16610851" y="2257797"/>
                <a:chExt cx="516534" cy="654348"/>
              </a:xfrm>
            </p:grpSpPr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D0D26D23-9357-F988-B9D2-7C6FCEAD2351}"/>
                    </a:ext>
                  </a:extLst>
                </p:cNvPr>
                <p:cNvSpPr/>
                <p:nvPr/>
              </p:nvSpPr>
              <p:spPr>
                <a:xfrm>
                  <a:off x="16641718" y="2504507"/>
                  <a:ext cx="299029" cy="407638"/>
                </a:xfrm>
                <a:custGeom>
                  <a:avLst/>
                  <a:gdLst>
                    <a:gd name="connsiteX0" fmla="*/ 211768 w 299029"/>
                    <a:gd name="connsiteY0" fmla="*/ 189381 h 407638"/>
                    <a:gd name="connsiteX1" fmla="*/ 213896 w 299029"/>
                    <a:gd name="connsiteY1" fmla="*/ 167039 h 407638"/>
                    <a:gd name="connsiteX2" fmla="*/ 217089 w 299029"/>
                    <a:gd name="connsiteY2" fmla="*/ 113842 h 407638"/>
                    <a:gd name="connsiteX3" fmla="*/ 217089 w 299029"/>
                    <a:gd name="connsiteY3" fmla="*/ 97882 h 407638"/>
                    <a:gd name="connsiteX4" fmla="*/ 213896 w 299029"/>
                    <a:gd name="connsiteY4" fmla="*/ 44685 h 407638"/>
                    <a:gd name="connsiteX5" fmla="*/ 164945 w 299029"/>
                    <a:gd name="connsiteY5" fmla="*/ 0 h 407638"/>
                    <a:gd name="connsiteX6" fmla="*/ 110673 w 299029"/>
                    <a:gd name="connsiteY6" fmla="*/ 85115 h 407638"/>
                    <a:gd name="connsiteX7" fmla="*/ 135148 w 299029"/>
                    <a:gd name="connsiteY7" fmla="*/ 123417 h 407638"/>
                    <a:gd name="connsiteX8" fmla="*/ 135148 w 299029"/>
                    <a:gd name="connsiteY8" fmla="*/ 123417 h 407638"/>
                    <a:gd name="connsiteX9" fmla="*/ 141533 w 299029"/>
                    <a:gd name="connsiteY9" fmla="*/ 126609 h 407638"/>
                    <a:gd name="connsiteX10" fmla="*/ 141533 w 299029"/>
                    <a:gd name="connsiteY10" fmla="*/ 126609 h 407638"/>
                    <a:gd name="connsiteX11" fmla="*/ 147918 w 299029"/>
                    <a:gd name="connsiteY11" fmla="*/ 128737 h 407638"/>
                    <a:gd name="connsiteX12" fmla="*/ 100031 w 299029"/>
                    <a:gd name="connsiteY12" fmla="*/ 192573 h 407638"/>
                    <a:gd name="connsiteX13" fmla="*/ 84069 w 299029"/>
                    <a:gd name="connsiteY13" fmla="*/ 188317 h 407638"/>
                    <a:gd name="connsiteX14" fmla="*/ 80876 w 299029"/>
                    <a:gd name="connsiteY14" fmla="*/ 192573 h 407638"/>
                    <a:gd name="connsiteX15" fmla="*/ 80876 w 299029"/>
                    <a:gd name="connsiteY15" fmla="*/ 192573 h 407638"/>
                    <a:gd name="connsiteX16" fmla="*/ 0 w 299029"/>
                    <a:gd name="connsiteY16" fmla="*/ 300031 h 407638"/>
                    <a:gd name="connsiteX17" fmla="*/ 235179 w 299029"/>
                    <a:gd name="connsiteY17" fmla="*/ 405361 h 407638"/>
                    <a:gd name="connsiteX18" fmla="*/ 299029 w 299029"/>
                    <a:gd name="connsiteY18" fmla="*/ 271305 h 407638"/>
                    <a:gd name="connsiteX19" fmla="*/ 211768 w 299029"/>
                    <a:gd name="connsiteY19" fmla="*/ 188317 h 407638"/>
                    <a:gd name="connsiteX20" fmla="*/ 211768 w 299029"/>
                    <a:gd name="connsiteY20" fmla="*/ 188317 h 40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99029" h="407638">
                      <a:moveTo>
                        <a:pt x="211768" y="189381"/>
                      </a:moveTo>
                      <a:cubicBezTo>
                        <a:pt x="211768" y="185125"/>
                        <a:pt x="212832" y="170230"/>
                        <a:pt x="213896" y="167039"/>
                      </a:cubicBezTo>
                      <a:cubicBezTo>
                        <a:pt x="213896" y="161719"/>
                        <a:pt x="217089" y="114906"/>
                        <a:pt x="217089" y="113842"/>
                      </a:cubicBezTo>
                      <a:lnTo>
                        <a:pt x="217089" y="97882"/>
                      </a:lnTo>
                      <a:cubicBezTo>
                        <a:pt x="217089" y="97882"/>
                        <a:pt x="214960" y="57453"/>
                        <a:pt x="213896" y="44685"/>
                      </a:cubicBezTo>
                      <a:cubicBezTo>
                        <a:pt x="210704" y="26598"/>
                        <a:pt x="198998" y="0"/>
                        <a:pt x="164945" y="0"/>
                      </a:cubicBezTo>
                      <a:cubicBezTo>
                        <a:pt x="130892" y="0"/>
                        <a:pt x="98967" y="42558"/>
                        <a:pt x="110673" y="85115"/>
                      </a:cubicBezTo>
                      <a:cubicBezTo>
                        <a:pt x="115994" y="105330"/>
                        <a:pt x="125571" y="115969"/>
                        <a:pt x="135148" y="123417"/>
                      </a:cubicBezTo>
                      <a:lnTo>
                        <a:pt x="135148" y="123417"/>
                      </a:lnTo>
                      <a:cubicBezTo>
                        <a:pt x="137277" y="124481"/>
                        <a:pt x="139405" y="126609"/>
                        <a:pt x="141533" y="126609"/>
                      </a:cubicBezTo>
                      <a:lnTo>
                        <a:pt x="141533" y="126609"/>
                      </a:lnTo>
                      <a:cubicBezTo>
                        <a:pt x="143662" y="126609"/>
                        <a:pt x="145790" y="128737"/>
                        <a:pt x="147918" y="128737"/>
                      </a:cubicBezTo>
                      <a:cubicBezTo>
                        <a:pt x="147918" y="130865"/>
                        <a:pt x="118122" y="190445"/>
                        <a:pt x="100031" y="192573"/>
                      </a:cubicBezTo>
                      <a:cubicBezTo>
                        <a:pt x="94710" y="191509"/>
                        <a:pt x="89389" y="189381"/>
                        <a:pt x="84069" y="188317"/>
                      </a:cubicBezTo>
                      <a:lnTo>
                        <a:pt x="80876" y="192573"/>
                      </a:lnTo>
                      <a:lnTo>
                        <a:pt x="80876" y="192573"/>
                      </a:lnTo>
                      <a:lnTo>
                        <a:pt x="0" y="300031"/>
                      </a:lnTo>
                      <a:cubicBezTo>
                        <a:pt x="13834" y="328757"/>
                        <a:pt x="164945" y="423448"/>
                        <a:pt x="235179" y="405361"/>
                      </a:cubicBezTo>
                      <a:lnTo>
                        <a:pt x="299029" y="271305"/>
                      </a:lnTo>
                      <a:cubicBezTo>
                        <a:pt x="246885" y="254282"/>
                        <a:pt x="212832" y="225555"/>
                        <a:pt x="211768" y="188317"/>
                      </a:cubicBezTo>
                      <a:lnTo>
                        <a:pt x="211768" y="18831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74526ADD-B4A2-9F83-2662-371633078949}"/>
                    </a:ext>
                  </a:extLst>
                </p:cNvPr>
                <p:cNvSpPr/>
                <p:nvPr/>
              </p:nvSpPr>
              <p:spPr>
                <a:xfrm>
                  <a:off x="16610851" y="2257797"/>
                  <a:ext cx="516534" cy="535858"/>
                </a:xfrm>
                <a:custGeom>
                  <a:avLst/>
                  <a:gdLst>
                    <a:gd name="connsiteX0" fmla="*/ 494841 w 516534"/>
                    <a:gd name="connsiteY0" fmla="*/ 348848 h 535858"/>
                    <a:gd name="connsiteX1" fmla="*/ 454403 w 516534"/>
                    <a:gd name="connsiteY1" fmla="*/ 354167 h 535858"/>
                    <a:gd name="connsiteX2" fmla="*/ 383104 w 516534"/>
                    <a:gd name="connsiteY2" fmla="*/ 377574 h 535858"/>
                    <a:gd name="connsiteX3" fmla="*/ 299036 w 516534"/>
                    <a:gd name="connsiteY3" fmla="*/ 336080 h 535858"/>
                    <a:gd name="connsiteX4" fmla="*/ 279881 w 516534"/>
                    <a:gd name="connsiteY4" fmla="*/ 249901 h 535858"/>
                    <a:gd name="connsiteX5" fmla="*/ 310741 w 516534"/>
                    <a:gd name="connsiteY5" fmla="*/ 189257 h 535858"/>
                    <a:gd name="connsiteX6" fmla="*/ 303292 w 516534"/>
                    <a:gd name="connsiteY6" fmla="*/ 128612 h 535858"/>
                    <a:gd name="connsiteX7" fmla="*/ 415029 w 516534"/>
                    <a:gd name="connsiteY7" fmla="*/ 78607 h 535858"/>
                    <a:gd name="connsiteX8" fmla="*/ 415029 w 516534"/>
                    <a:gd name="connsiteY8" fmla="*/ 76479 h 535858"/>
                    <a:gd name="connsiteX9" fmla="*/ 335217 w 516534"/>
                    <a:gd name="connsiteY9" fmla="*/ 2003 h 535858"/>
                    <a:gd name="connsiteX10" fmla="*/ 216031 w 516534"/>
                    <a:gd name="connsiteY10" fmla="*/ 2003 h 535858"/>
                    <a:gd name="connsiteX11" fmla="*/ 3199 w 516534"/>
                    <a:gd name="connsiteY11" fmla="*/ 250965 h 535858"/>
                    <a:gd name="connsiteX12" fmla="*/ 114936 w 516534"/>
                    <a:gd name="connsiteY12" fmla="*/ 437155 h 535858"/>
                    <a:gd name="connsiteX13" fmla="*/ 130898 w 516534"/>
                    <a:gd name="connsiteY13" fmla="*/ 441411 h 535858"/>
                    <a:gd name="connsiteX14" fmla="*/ 178785 w 516534"/>
                    <a:gd name="connsiteY14" fmla="*/ 377574 h 535858"/>
                    <a:gd name="connsiteX15" fmla="*/ 164951 w 516534"/>
                    <a:gd name="connsiteY15" fmla="*/ 371190 h 535858"/>
                    <a:gd name="connsiteX16" fmla="*/ 140476 w 516534"/>
                    <a:gd name="connsiteY16" fmla="*/ 332889 h 535858"/>
                    <a:gd name="connsiteX17" fmla="*/ 194748 w 516534"/>
                    <a:gd name="connsiteY17" fmla="*/ 247773 h 535858"/>
                    <a:gd name="connsiteX18" fmla="*/ 243699 w 516534"/>
                    <a:gd name="connsiteY18" fmla="*/ 292459 h 535858"/>
                    <a:gd name="connsiteX19" fmla="*/ 243699 w 516534"/>
                    <a:gd name="connsiteY19" fmla="*/ 413748 h 535858"/>
                    <a:gd name="connsiteX20" fmla="*/ 241571 w 516534"/>
                    <a:gd name="connsiteY20" fmla="*/ 436091 h 535858"/>
                    <a:gd name="connsiteX21" fmla="*/ 328832 w 516534"/>
                    <a:gd name="connsiteY21" fmla="*/ 519078 h 535858"/>
                    <a:gd name="connsiteX22" fmla="*/ 399067 w 516534"/>
                    <a:gd name="connsiteY22" fmla="*/ 533973 h 535858"/>
                    <a:gd name="connsiteX23" fmla="*/ 477815 w 516534"/>
                    <a:gd name="connsiteY23" fmla="*/ 524398 h 535858"/>
                    <a:gd name="connsiteX24" fmla="*/ 484200 w 516534"/>
                    <a:gd name="connsiteY24" fmla="*/ 453114 h 535858"/>
                    <a:gd name="connsiteX25" fmla="*/ 484200 w 516534"/>
                    <a:gd name="connsiteY25" fmla="*/ 453114 h 535858"/>
                    <a:gd name="connsiteX26" fmla="*/ 439505 w 516534"/>
                    <a:gd name="connsiteY26" fmla="*/ 413748 h 535858"/>
                    <a:gd name="connsiteX27" fmla="*/ 465045 w 516534"/>
                    <a:gd name="connsiteY27" fmla="*/ 393533 h 535858"/>
                    <a:gd name="connsiteX28" fmla="*/ 508675 w 516534"/>
                    <a:gd name="connsiteY28" fmla="*/ 381830 h 535858"/>
                    <a:gd name="connsiteX29" fmla="*/ 494841 w 516534"/>
                    <a:gd name="connsiteY29" fmla="*/ 349912 h 535858"/>
                    <a:gd name="connsiteX30" fmla="*/ 494841 w 516534"/>
                    <a:gd name="connsiteY30" fmla="*/ 349912 h 535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6534" h="535858">
                      <a:moveTo>
                        <a:pt x="494841" y="348848"/>
                      </a:moveTo>
                      <a:cubicBezTo>
                        <a:pt x="494841" y="348848"/>
                        <a:pt x="475686" y="346720"/>
                        <a:pt x="454403" y="354167"/>
                      </a:cubicBezTo>
                      <a:cubicBezTo>
                        <a:pt x="428863" y="362679"/>
                        <a:pt x="400131" y="378638"/>
                        <a:pt x="383104" y="377574"/>
                      </a:cubicBezTo>
                      <a:cubicBezTo>
                        <a:pt x="367142" y="375446"/>
                        <a:pt x="324575" y="373318"/>
                        <a:pt x="299036" y="336080"/>
                      </a:cubicBezTo>
                      <a:cubicBezTo>
                        <a:pt x="286266" y="317993"/>
                        <a:pt x="277752" y="290331"/>
                        <a:pt x="279881" y="249901"/>
                      </a:cubicBezTo>
                      <a:cubicBezTo>
                        <a:pt x="289458" y="214791"/>
                        <a:pt x="310741" y="189257"/>
                        <a:pt x="310741" y="189257"/>
                      </a:cubicBezTo>
                      <a:cubicBezTo>
                        <a:pt x="310741" y="189257"/>
                        <a:pt x="295843" y="164786"/>
                        <a:pt x="303292" y="128612"/>
                      </a:cubicBezTo>
                      <a:cubicBezTo>
                        <a:pt x="309677" y="94566"/>
                        <a:pt x="401195" y="80735"/>
                        <a:pt x="415029" y="78607"/>
                      </a:cubicBezTo>
                      <a:lnTo>
                        <a:pt x="415029" y="76479"/>
                      </a:lnTo>
                      <a:cubicBezTo>
                        <a:pt x="449082" y="31794"/>
                        <a:pt x="351179" y="-9700"/>
                        <a:pt x="335217" y="2003"/>
                      </a:cubicBezTo>
                      <a:cubicBezTo>
                        <a:pt x="291587" y="33922"/>
                        <a:pt x="305421" y="-8636"/>
                        <a:pt x="216031" y="2003"/>
                      </a:cubicBezTo>
                      <a:cubicBezTo>
                        <a:pt x="88332" y="16898"/>
                        <a:pt x="-20213" y="125420"/>
                        <a:pt x="3199" y="250965"/>
                      </a:cubicBezTo>
                      <a:cubicBezTo>
                        <a:pt x="17033" y="329697"/>
                        <a:pt x="40445" y="412684"/>
                        <a:pt x="114936" y="437155"/>
                      </a:cubicBezTo>
                      <a:cubicBezTo>
                        <a:pt x="120257" y="439283"/>
                        <a:pt x="125577" y="440347"/>
                        <a:pt x="130898" y="441411"/>
                      </a:cubicBezTo>
                      <a:cubicBezTo>
                        <a:pt x="148989" y="438219"/>
                        <a:pt x="178785" y="379702"/>
                        <a:pt x="178785" y="377574"/>
                      </a:cubicBezTo>
                      <a:cubicBezTo>
                        <a:pt x="174529" y="376510"/>
                        <a:pt x="169208" y="374382"/>
                        <a:pt x="164951" y="371190"/>
                      </a:cubicBezTo>
                      <a:cubicBezTo>
                        <a:pt x="155374" y="364807"/>
                        <a:pt x="146861" y="353104"/>
                        <a:pt x="140476" y="332889"/>
                      </a:cubicBezTo>
                      <a:cubicBezTo>
                        <a:pt x="128770" y="291395"/>
                        <a:pt x="152181" y="248837"/>
                        <a:pt x="194748" y="247773"/>
                      </a:cubicBezTo>
                      <a:cubicBezTo>
                        <a:pt x="228801" y="247773"/>
                        <a:pt x="240507" y="273308"/>
                        <a:pt x="243699" y="292459"/>
                      </a:cubicBezTo>
                      <a:cubicBezTo>
                        <a:pt x="244763" y="305226"/>
                        <a:pt x="251148" y="386086"/>
                        <a:pt x="243699" y="413748"/>
                      </a:cubicBezTo>
                      <a:cubicBezTo>
                        <a:pt x="243699" y="416940"/>
                        <a:pt x="241571" y="431835"/>
                        <a:pt x="241571" y="436091"/>
                      </a:cubicBezTo>
                      <a:cubicBezTo>
                        <a:pt x="241571" y="473329"/>
                        <a:pt x="276688" y="502055"/>
                        <a:pt x="328832" y="519078"/>
                      </a:cubicBezTo>
                      <a:cubicBezTo>
                        <a:pt x="350115" y="525462"/>
                        <a:pt x="373527" y="530781"/>
                        <a:pt x="399067" y="533973"/>
                      </a:cubicBezTo>
                      <a:cubicBezTo>
                        <a:pt x="461852" y="541421"/>
                        <a:pt x="477815" y="524398"/>
                        <a:pt x="477815" y="524398"/>
                      </a:cubicBezTo>
                      <a:cubicBezTo>
                        <a:pt x="477815" y="524398"/>
                        <a:pt x="506547" y="462689"/>
                        <a:pt x="484200" y="453114"/>
                      </a:cubicBezTo>
                      <a:lnTo>
                        <a:pt x="484200" y="453114"/>
                      </a:lnTo>
                      <a:cubicBezTo>
                        <a:pt x="452275" y="440347"/>
                        <a:pt x="436312" y="429707"/>
                        <a:pt x="439505" y="413748"/>
                      </a:cubicBezTo>
                      <a:cubicBezTo>
                        <a:pt x="440569" y="405237"/>
                        <a:pt x="457596" y="395661"/>
                        <a:pt x="465045" y="393533"/>
                      </a:cubicBezTo>
                      <a:cubicBezTo>
                        <a:pt x="481007" y="388214"/>
                        <a:pt x="496970" y="380766"/>
                        <a:pt x="508675" y="381830"/>
                      </a:cubicBezTo>
                      <a:cubicBezTo>
                        <a:pt x="520381" y="382894"/>
                        <a:pt x="521445" y="363743"/>
                        <a:pt x="494841" y="349912"/>
                      </a:cubicBezTo>
                      <a:lnTo>
                        <a:pt x="494841" y="349912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9A43B35C-AF01-6B6F-6751-83783CEDD469}"/>
                  </a:ext>
                </a:extLst>
              </p:cNvPr>
              <p:cNvSpPr/>
              <p:nvPr/>
            </p:nvSpPr>
            <p:spPr>
              <a:xfrm>
                <a:off x="16842844" y="2445890"/>
                <a:ext cx="254334" cy="145860"/>
              </a:xfrm>
              <a:custGeom>
                <a:avLst/>
                <a:gdLst>
                  <a:gd name="connsiteX0" fmla="*/ 254334 w 254334"/>
                  <a:gd name="connsiteY0" fmla="*/ 46914 h 145860"/>
                  <a:gd name="connsiteX1" fmla="*/ 247949 w 254334"/>
                  <a:gd name="connsiteY1" fmla="*/ 36274 h 145860"/>
                  <a:gd name="connsiteX2" fmla="*/ 225602 w 254334"/>
                  <a:gd name="connsiteY2" fmla="*/ 42658 h 145860"/>
                  <a:gd name="connsiteX3" fmla="*/ 214960 w 254334"/>
                  <a:gd name="connsiteY3" fmla="*/ 20315 h 145860"/>
                  <a:gd name="connsiteX4" fmla="*/ 181972 w 254334"/>
                  <a:gd name="connsiteY4" fmla="*/ 100 h 145860"/>
                  <a:gd name="connsiteX5" fmla="*/ 152175 w 254334"/>
                  <a:gd name="connsiteY5" fmla="*/ 24571 h 145860"/>
                  <a:gd name="connsiteX6" fmla="*/ 150047 w 254334"/>
                  <a:gd name="connsiteY6" fmla="*/ 28827 h 145860"/>
                  <a:gd name="connsiteX7" fmla="*/ 0 w 254334"/>
                  <a:gd name="connsiteY7" fmla="*/ 75640 h 145860"/>
                  <a:gd name="connsiteX8" fmla="*/ 10642 w 254334"/>
                  <a:gd name="connsiteY8" fmla="*/ 94791 h 145860"/>
                  <a:gd name="connsiteX9" fmla="*/ 142598 w 254334"/>
                  <a:gd name="connsiteY9" fmla="*/ 56489 h 145860"/>
                  <a:gd name="connsiteX10" fmla="*/ 142598 w 254334"/>
                  <a:gd name="connsiteY10" fmla="*/ 75640 h 145860"/>
                  <a:gd name="connsiteX11" fmla="*/ 158560 w 254334"/>
                  <a:gd name="connsiteY11" fmla="*/ 125645 h 145860"/>
                  <a:gd name="connsiteX12" fmla="*/ 186228 w 254334"/>
                  <a:gd name="connsiteY12" fmla="*/ 145860 h 145860"/>
                  <a:gd name="connsiteX13" fmla="*/ 191549 w 254334"/>
                  <a:gd name="connsiteY13" fmla="*/ 145860 h 145860"/>
                  <a:gd name="connsiteX14" fmla="*/ 221345 w 254334"/>
                  <a:gd name="connsiteY14" fmla="*/ 121389 h 145860"/>
                  <a:gd name="connsiteX15" fmla="*/ 229859 w 254334"/>
                  <a:gd name="connsiteY15" fmla="*/ 69256 h 145860"/>
                  <a:gd name="connsiteX16" fmla="*/ 228795 w 254334"/>
                  <a:gd name="connsiteY16" fmla="*/ 57553 h 145860"/>
                  <a:gd name="connsiteX17" fmla="*/ 229859 w 254334"/>
                  <a:gd name="connsiteY17" fmla="*/ 57553 h 145860"/>
                  <a:gd name="connsiteX18" fmla="*/ 250078 w 254334"/>
                  <a:gd name="connsiteY18" fmla="*/ 51169 h 145860"/>
                  <a:gd name="connsiteX19" fmla="*/ 254334 w 254334"/>
                  <a:gd name="connsiteY19" fmla="*/ 45850 h 145860"/>
                  <a:gd name="connsiteX20" fmla="*/ 254334 w 254334"/>
                  <a:gd name="connsiteY20" fmla="*/ 45850 h 145860"/>
                  <a:gd name="connsiteX21" fmla="*/ 212832 w 254334"/>
                  <a:gd name="connsiteY21" fmla="*/ 113942 h 145860"/>
                  <a:gd name="connsiteX22" fmla="*/ 192613 w 254334"/>
                  <a:gd name="connsiteY22" fmla="*/ 130965 h 145860"/>
                  <a:gd name="connsiteX23" fmla="*/ 170266 w 254334"/>
                  <a:gd name="connsiteY23" fmla="*/ 117134 h 145860"/>
                  <a:gd name="connsiteX24" fmla="*/ 157496 w 254334"/>
                  <a:gd name="connsiteY24" fmla="*/ 76704 h 145860"/>
                  <a:gd name="connsiteX25" fmla="*/ 164945 w 254334"/>
                  <a:gd name="connsiteY25" fmla="*/ 38402 h 145860"/>
                  <a:gd name="connsiteX26" fmla="*/ 185164 w 254334"/>
                  <a:gd name="connsiteY26" fmla="*/ 21379 h 145860"/>
                  <a:gd name="connsiteX27" fmla="*/ 188356 w 254334"/>
                  <a:gd name="connsiteY27" fmla="*/ 21379 h 145860"/>
                  <a:gd name="connsiteX28" fmla="*/ 206447 w 254334"/>
                  <a:gd name="connsiteY28" fmla="*/ 35210 h 145860"/>
                  <a:gd name="connsiteX29" fmla="*/ 218153 w 254334"/>
                  <a:gd name="connsiteY29" fmla="*/ 72448 h 145860"/>
                  <a:gd name="connsiteX30" fmla="*/ 211768 w 254334"/>
                  <a:gd name="connsiteY30" fmla="*/ 113942 h 145860"/>
                  <a:gd name="connsiteX31" fmla="*/ 212832 w 254334"/>
                  <a:gd name="connsiteY31" fmla="*/ 113942 h 14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4334" h="145860">
                    <a:moveTo>
                      <a:pt x="254334" y="46914"/>
                    </a:moveTo>
                    <a:cubicBezTo>
                      <a:pt x="254334" y="44786"/>
                      <a:pt x="251142" y="35210"/>
                      <a:pt x="247949" y="36274"/>
                    </a:cubicBezTo>
                    <a:cubicBezTo>
                      <a:pt x="247949" y="36274"/>
                      <a:pt x="231987" y="39466"/>
                      <a:pt x="225602" y="42658"/>
                    </a:cubicBezTo>
                    <a:cubicBezTo>
                      <a:pt x="223474" y="34146"/>
                      <a:pt x="219217" y="26699"/>
                      <a:pt x="214960" y="20315"/>
                    </a:cubicBezTo>
                    <a:cubicBezTo>
                      <a:pt x="205383" y="6484"/>
                      <a:pt x="193677" y="-964"/>
                      <a:pt x="181972" y="100"/>
                    </a:cubicBezTo>
                    <a:cubicBezTo>
                      <a:pt x="169202" y="100"/>
                      <a:pt x="158560" y="9676"/>
                      <a:pt x="152175" y="24571"/>
                    </a:cubicBezTo>
                    <a:cubicBezTo>
                      <a:pt x="152175" y="25635"/>
                      <a:pt x="151111" y="27763"/>
                      <a:pt x="150047" y="28827"/>
                    </a:cubicBezTo>
                    <a:lnTo>
                      <a:pt x="0" y="75640"/>
                    </a:lnTo>
                    <a:lnTo>
                      <a:pt x="10642" y="94791"/>
                    </a:lnTo>
                    <a:lnTo>
                      <a:pt x="142598" y="56489"/>
                    </a:lnTo>
                    <a:lnTo>
                      <a:pt x="142598" y="75640"/>
                    </a:lnTo>
                    <a:cubicBezTo>
                      <a:pt x="143662" y="94791"/>
                      <a:pt x="148983" y="112878"/>
                      <a:pt x="158560" y="125645"/>
                    </a:cubicBezTo>
                    <a:cubicBezTo>
                      <a:pt x="166009" y="137348"/>
                      <a:pt x="175587" y="144796"/>
                      <a:pt x="186228" y="145860"/>
                    </a:cubicBezTo>
                    <a:lnTo>
                      <a:pt x="191549" y="145860"/>
                    </a:lnTo>
                    <a:cubicBezTo>
                      <a:pt x="204319" y="145860"/>
                      <a:pt x="214960" y="136285"/>
                      <a:pt x="221345" y="121389"/>
                    </a:cubicBezTo>
                    <a:cubicBezTo>
                      <a:pt x="227730" y="107558"/>
                      <a:pt x="230923" y="88407"/>
                      <a:pt x="229859" y="69256"/>
                    </a:cubicBezTo>
                    <a:cubicBezTo>
                      <a:pt x="229859" y="65001"/>
                      <a:pt x="229859" y="60745"/>
                      <a:pt x="228795" y="57553"/>
                    </a:cubicBezTo>
                    <a:lnTo>
                      <a:pt x="229859" y="57553"/>
                    </a:lnTo>
                    <a:cubicBezTo>
                      <a:pt x="236244" y="54361"/>
                      <a:pt x="250078" y="51169"/>
                      <a:pt x="250078" y="51169"/>
                    </a:cubicBezTo>
                    <a:cubicBezTo>
                      <a:pt x="253270" y="51169"/>
                      <a:pt x="254334" y="47978"/>
                      <a:pt x="254334" y="45850"/>
                    </a:cubicBezTo>
                    <a:lnTo>
                      <a:pt x="254334" y="45850"/>
                    </a:lnTo>
                    <a:close/>
                    <a:moveTo>
                      <a:pt x="212832" y="113942"/>
                    </a:moveTo>
                    <a:cubicBezTo>
                      <a:pt x="207511" y="124581"/>
                      <a:pt x="201126" y="130965"/>
                      <a:pt x="192613" y="130965"/>
                    </a:cubicBezTo>
                    <a:cubicBezTo>
                      <a:pt x="184100" y="130965"/>
                      <a:pt x="177715" y="126709"/>
                      <a:pt x="170266" y="117134"/>
                    </a:cubicBezTo>
                    <a:cubicBezTo>
                      <a:pt x="163881" y="106494"/>
                      <a:pt x="158560" y="92663"/>
                      <a:pt x="157496" y="76704"/>
                    </a:cubicBezTo>
                    <a:cubicBezTo>
                      <a:pt x="157496" y="60745"/>
                      <a:pt x="159624" y="49041"/>
                      <a:pt x="164945" y="38402"/>
                    </a:cubicBezTo>
                    <a:cubicBezTo>
                      <a:pt x="170266" y="27763"/>
                      <a:pt x="176651" y="21379"/>
                      <a:pt x="185164" y="21379"/>
                    </a:cubicBezTo>
                    <a:lnTo>
                      <a:pt x="188356" y="21379"/>
                    </a:lnTo>
                    <a:cubicBezTo>
                      <a:pt x="194741" y="21379"/>
                      <a:pt x="201126" y="26699"/>
                      <a:pt x="206447" y="35210"/>
                    </a:cubicBezTo>
                    <a:cubicBezTo>
                      <a:pt x="212832" y="45850"/>
                      <a:pt x="217089" y="56489"/>
                      <a:pt x="218153" y="72448"/>
                    </a:cubicBezTo>
                    <a:cubicBezTo>
                      <a:pt x="218153" y="88407"/>
                      <a:pt x="217089" y="103302"/>
                      <a:pt x="211768" y="113942"/>
                    </a:cubicBezTo>
                    <a:lnTo>
                      <a:pt x="212832" y="113942"/>
                    </a:lnTo>
                    <a:close/>
                  </a:path>
                </a:pathLst>
              </a:custGeom>
              <a:solidFill>
                <a:srgbClr val="281805"/>
              </a:solidFill>
              <a:ln w="106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6100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F7A05886-92EE-5514-70B5-758DE7F9F04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4" y="-12700"/>
            <a:ext cx="3648079" cy="6884016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0A3D76-AB94-4F36-799C-B4A43450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8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A3D76-AB94-4F36-799C-B4A43450459F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3A9FBCB7-64C8-3334-37BD-F3B8A49DE9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8075" y="12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5CE6E23-185E-6743-91C2-61D59594F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57982" y="1293765"/>
            <a:ext cx="716276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923CF1CE-3D31-7F6E-DCDF-E2F32A2553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8075" y="21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32ED8768-6538-2B1A-5362-29FACA673D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7982" y="2193765"/>
            <a:ext cx="716276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C1E5DC26-4E6F-3BA6-58B6-F8B36941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8075" y="30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26DE173D-E761-A333-0E17-81FA88BE0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57982" y="3093765"/>
            <a:ext cx="716276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CDF225B3-43B7-A7EE-F801-EE1CFF559F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8075" y="39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221CA5C7-1F08-8BBE-8775-34E8EE29D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7981" y="3993765"/>
            <a:ext cx="716276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97DE4764-8675-CC7C-7D0D-87C75EAE0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48075" y="48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F590146E-A290-D74E-2524-F9FEB48C32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57980" y="4893765"/>
            <a:ext cx="716276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53B440B1-4AF1-02C4-D21D-AF9D0377BB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48075" y="57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F425F257-B79D-5713-0549-ACA5273F15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7980" y="5793765"/>
            <a:ext cx="716276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C1602382-22BB-1E2D-EC89-BC09E05B4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159E32D-5C8A-D3EB-196F-55944097E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DBB51045-3C2C-A734-23E7-C3E75F164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8075" y="596235"/>
            <a:ext cx="7993063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</a:t>
            </a:r>
          </a:p>
        </p:txBody>
      </p:sp>
      <p:grpSp>
        <p:nvGrpSpPr>
          <p:cNvPr id="95" name="Graphic 6">
            <a:extLst>
              <a:ext uri="{FF2B5EF4-FFF2-40B4-BE49-F238E27FC236}">
                <a16:creationId xmlns:a16="http://schemas.microsoft.com/office/drawing/2014/main" id="{C47FE3D1-E2A1-948C-72CF-F8F3FD42AFA3}"/>
              </a:ext>
            </a:extLst>
          </p:cNvPr>
          <p:cNvGrpSpPr/>
          <p:nvPr/>
        </p:nvGrpSpPr>
        <p:grpSpPr>
          <a:xfrm flipH="1">
            <a:off x="-1409039" y="968342"/>
            <a:ext cx="4274730" cy="4921315"/>
            <a:chOff x="-9291728" y="2405438"/>
            <a:chExt cx="2953726" cy="3400500"/>
          </a:xfrm>
        </p:grpSpPr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E2BCF55F-89A2-A8DE-8E0E-8BC8158F3A18}"/>
                </a:ext>
              </a:extLst>
            </p:cNvPr>
            <p:cNvSpPr/>
            <p:nvPr/>
          </p:nvSpPr>
          <p:spPr>
            <a:xfrm>
              <a:off x="-8300192" y="5624427"/>
              <a:ext cx="147544" cy="60667"/>
            </a:xfrm>
            <a:custGeom>
              <a:avLst/>
              <a:gdLst>
                <a:gd name="connsiteX0" fmla="*/ 9661 w 147544"/>
                <a:gd name="connsiteY0" fmla="*/ 60667 h 60667"/>
                <a:gd name="connsiteX1" fmla="*/ 147545 w 147544"/>
                <a:gd name="connsiteY1" fmla="*/ 60667 h 60667"/>
                <a:gd name="connsiteX2" fmla="*/ 142275 w 147544"/>
                <a:gd name="connsiteY2" fmla="*/ 0 h 60667"/>
                <a:gd name="connsiteX3" fmla="*/ 0 w 147544"/>
                <a:gd name="connsiteY3" fmla="*/ 0 h 60667"/>
                <a:gd name="connsiteX4" fmla="*/ 9661 w 147544"/>
                <a:gd name="connsiteY4" fmla="*/ 60667 h 6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544" h="60667">
                  <a:moveTo>
                    <a:pt x="9661" y="60667"/>
                  </a:moveTo>
                  <a:cubicBezTo>
                    <a:pt x="69381" y="53633"/>
                    <a:pt x="143153" y="60667"/>
                    <a:pt x="147545" y="60667"/>
                  </a:cubicBezTo>
                  <a:lnTo>
                    <a:pt x="142275" y="0"/>
                  </a:lnTo>
                  <a:lnTo>
                    <a:pt x="0" y="0"/>
                  </a:lnTo>
                  <a:lnTo>
                    <a:pt x="9661" y="60667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EADB41F4-11E8-02BE-055F-725431A12F44}"/>
                </a:ext>
              </a:extLst>
            </p:cNvPr>
            <p:cNvSpPr/>
            <p:nvPr/>
          </p:nvSpPr>
          <p:spPr>
            <a:xfrm>
              <a:off x="-8861389" y="5624427"/>
              <a:ext cx="147544" cy="91440"/>
            </a:xfrm>
            <a:custGeom>
              <a:avLst/>
              <a:gdLst>
                <a:gd name="connsiteX0" fmla="*/ 0 w 147544"/>
                <a:gd name="connsiteY0" fmla="*/ 51875 h 91440"/>
                <a:gd name="connsiteX1" fmla="*/ 145788 w 147544"/>
                <a:gd name="connsiteY1" fmla="*/ 91440 h 91440"/>
                <a:gd name="connsiteX2" fmla="*/ 147545 w 147544"/>
                <a:gd name="connsiteY2" fmla="*/ 0 h 91440"/>
                <a:gd name="connsiteX3" fmla="*/ 5269 w 147544"/>
                <a:gd name="connsiteY3" fmla="*/ 0 h 91440"/>
                <a:gd name="connsiteX4" fmla="*/ 0 w 147544"/>
                <a:gd name="connsiteY4" fmla="*/ 51875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544" h="91440">
                  <a:moveTo>
                    <a:pt x="0" y="51875"/>
                  </a:moveTo>
                  <a:cubicBezTo>
                    <a:pt x="7026" y="48358"/>
                    <a:pt x="88702" y="83527"/>
                    <a:pt x="145788" y="91440"/>
                  </a:cubicBezTo>
                  <a:lnTo>
                    <a:pt x="147545" y="0"/>
                  </a:lnTo>
                  <a:lnTo>
                    <a:pt x="5269" y="0"/>
                  </a:lnTo>
                  <a:lnTo>
                    <a:pt x="0" y="51875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85092CB2-9509-3A6C-3F13-B07651B36B67}"/>
                </a:ext>
              </a:extLst>
            </p:cNvPr>
            <p:cNvSpPr/>
            <p:nvPr/>
          </p:nvSpPr>
          <p:spPr>
            <a:xfrm>
              <a:off x="-8995978" y="5666818"/>
              <a:ext cx="310676" cy="134333"/>
            </a:xfrm>
            <a:custGeom>
              <a:avLst/>
              <a:gdLst>
                <a:gd name="connsiteX0" fmla="*/ 282134 w 310676"/>
                <a:gd name="connsiteY0" fmla="*/ 23551 h 134333"/>
                <a:gd name="connsiteX1" fmla="*/ 131076 w 310676"/>
                <a:gd name="connsiteY1" fmla="*/ 1570 h 134333"/>
                <a:gd name="connsiteX2" fmla="*/ 36226 w 310676"/>
                <a:gd name="connsiteY2" fmla="*/ 56082 h 134333"/>
                <a:gd name="connsiteX3" fmla="*/ 218 w 310676"/>
                <a:gd name="connsiteY3" fmla="*/ 134334 h 134333"/>
                <a:gd name="connsiteX4" fmla="*/ 309359 w 310676"/>
                <a:gd name="connsiteY4" fmla="*/ 134334 h 134333"/>
                <a:gd name="connsiteX5" fmla="*/ 282134 w 310676"/>
                <a:gd name="connsiteY5" fmla="*/ 22672 h 134333"/>
                <a:gd name="connsiteX6" fmla="*/ 282134 w 310676"/>
                <a:gd name="connsiteY6" fmla="*/ 22672 h 13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676" h="134333">
                  <a:moveTo>
                    <a:pt x="282134" y="23551"/>
                  </a:moveTo>
                  <a:cubicBezTo>
                    <a:pt x="176745" y="37618"/>
                    <a:pt x="234709" y="-8981"/>
                    <a:pt x="131076" y="1570"/>
                  </a:cubicBezTo>
                  <a:cubicBezTo>
                    <a:pt x="117024" y="5966"/>
                    <a:pt x="97703" y="43773"/>
                    <a:pt x="36226" y="56082"/>
                  </a:cubicBezTo>
                  <a:cubicBezTo>
                    <a:pt x="-5052" y="63995"/>
                    <a:pt x="218" y="134334"/>
                    <a:pt x="218" y="134334"/>
                  </a:cubicBezTo>
                  <a:lnTo>
                    <a:pt x="309359" y="134334"/>
                  </a:lnTo>
                  <a:cubicBezTo>
                    <a:pt x="316385" y="93010"/>
                    <a:pt x="293551" y="35860"/>
                    <a:pt x="282134" y="22672"/>
                  </a:cubicBezTo>
                  <a:lnTo>
                    <a:pt x="282134" y="22672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B9874C77-1707-9A1E-A7E2-301119210B84}"/>
                </a:ext>
              </a:extLst>
            </p:cNvPr>
            <p:cNvSpPr/>
            <p:nvPr/>
          </p:nvSpPr>
          <p:spPr>
            <a:xfrm>
              <a:off x="-8311648" y="5657922"/>
              <a:ext cx="241960" cy="148016"/>
            </a:xfrm>
            <a:custGeom>
              <a:avLst/>
              <a:gdLst>
                <a:gd name="connsiteX0" fmla="*/ 917 w 241960"/>
                <a:gd name="connsiteY0" fmla="*/ 125645 h 148016"/>
                <a:gd name="connsiteX1" fmla="*/ 7065 w 241960"/>
                <a:gd name="connsiteY1" fmla="*/ 64978 h 148016"/>
                <a:gd name="connsiteX2" fmla="*/ 20239 w 241960"/>
                <a:gd name="connsiteY2" fmla="*/ 28930 h 148016"/>
                <a:gd name="connsiteX3" fmla="*/ 68542 w 241960"/>
                <a:gd name="connsiteY3" fmla="*/ 13983 h 148016"/>
                <a:gd name="connsiteX4" fmla="*/ 172175 w 241960"/>
                <a:gd name="connsiteY4" fmla="*/ 19258 h 148016"/>
                <a:gd name="connsiteX5" fmla="*/ 238043 w 241960"/>
                <a:gd name="connsiteY5" fmla="*/ 99268 h 148016"/>
                <a:gd name="connsiteX6" fmla="*/ 216965 w 241960"/>
                <a:gd name="connsiteY6" fmla="*/ 147626 h 148016"/>
                <a:gd name="connsiteX7" fmla="*/ 24630 w 241960"/>
                <a:gd name="connsiteY7" fmla="*/ 147626 h 148016"/>
                <a:gd name="connsiteX8" fmla="*/ 39 w 241960"/>
                <a:gd name="connsiteY8" fmla="*/ 124766 h 148016"/>
                <a:gd name="connsiteX9" fmla="*/ 917 w 241960"/>
                <a:gd name="connsiteY9" fmla="*/ 124766 h 14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960" h="148016">
                  <a:moveTo>
                    <a:pt x="917" y="125645"/>
                  </a:moveTo>
                  <a:cubicBezTo>
                    <a:pt x="917" y="125645"/>
                    <a:pt x="917" y="83442"/>
                    <a:pt x="7065" y="64978"/>
                  </a:cubicBezTo>
                  <a:cubicBezTo>
                    <a:pt x="13213" y="46515"/>
                    <a:pt x="20239" y="28930"/>
                    <a:pt x="20239" y="28930"/>
                  </a:cubicBezTo>
                  <a:cubicBezTo>
                    <a:pt x="25508" y="24534"/>
                    <a:pt x="29021" y="35085"/>
                    <a:pt x="68542" y="13983"/>
                  </a:cubicBezTo>
                  <a:cubicBezTo>
                    <a:pt x="134410" y="-20307"/>
                    <a:pt x="172175" y="19258"/>
                    <a:pt x="172175" y="19258"/>
                  </a:cubicBezTo>
                  <a:cubicBezTo>
                    <a:pt x="196766" y="48273"/>
                    <a:pt x="234530" y="89597"/>
                    <a:pt x="238043" y="99268"/>
                  </a:cubicBezTo>
                  <a:cubicBezTo>
                    <a:pt x="250338" y="129162"/>
                    <a:pt x="231017" y="146747"/>
                    <a:pt x="216965" y="147626"/>
                  </a:cubicBezTo>
                  <a:cubicBezTo>
                    <a:pt x="202913" y="148505"/>
                    <a:pt x="36047" y="147626"/>
                    <a:pt x="24630" y="147626"/>
                  </a:cubicBezTo>
                  <a:cubicBezTo>
                    <a:pt x="13213" y="147626"/>
                    <a:pt x="-839" y="130921"/>
                    <a:pt x="39" y="124766"/>
                  </a:cubicBezTo>
                  <a:lnTo>
                    <a:pt x="917" y="124766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55280779-E709-18B6-21C6-144C60B7E63C}"/>
                </a:ext>
              </a:extLst>
            </p:cNvPr>
            <p:cNvSpPr/>
            <p:nvPr/>
          </p:nvSpPr>
          <p:spPr>
            <a:xfrm>
              <a:off x="-7981919" y="4211763"/>
              <a:ext cx="180568" cy="386710"/>
            </a:xfrm>
            <a:custGeom>
              <a:avLst/>
              <a:gdLst>
                <a:gd name="connsiteX0" fmla="*/ 118213 w 180568"/>
                <a:gd name="connsiteY0" fmla="*/ 352311 h 386710"/>
                <a:gd name="connsiteX1" fmla="*/ 118213 w 180568"/>
                <a:gd name="connsiteY1" fmla="*/ 267905 h 386710"/>
                <a:gd name="connsiteX2" fmla="*/ 118213 w 180568"/>
                <a:gd name="connsiteY2" fmla="*/ 267905 h 386710"/>
                <a:gd name="connsiteX3" fmla="*/ 90988 w 180568"/>
                <a:gd name="connsiteY3" fmla="*/ 385722 h 386710"/>
                <a:gd name="connsiteX4" fmla="*/ 76058 w 180568"/>
                <a:gd name="connsiteY4" fmla="*/ 351432 h 386710"/>
                <a:gd name="connsiteX5" fmla="*/ 79570 w 180568"/>
                <a:gd name="connsiteY5" fmla="*/ 274939 h 386710"/>
                <a:gd name="connsiteX6" fmla="*/ 79570 w 180568"/>
                <a:gd name="connsiteY6" fmla="*/ 274939 h 386710"/>
                <a:gd name="connsiteX7" fmla="*/ 54980 w 180568"/>
                <a:gd name="connsiteY7" fmla="*/ 354070 h 386710"/>
                <a:gd name="connsiteX8" fmla="*/ 32146 w 180568"/>
                <a:gd name="connsiteY8" fmla="*/ 351432 h 386710"/>
                <a:gd name="connsiteX9" fmla="*/ 50589 w 180568"/>
                <a:gd name="connsiteY9" fmla="*/ 252958 h 386710"/>
                <a:gd name="connsiteX10" fmla="*/ 47954 w 180568"/>
                <a:gd name="connsiteY10" fmla="*/ 201963 h 386710"/>
                <a:gd name="connsiteX11" fmla="*/ 42685 w 180568"/>
                <a:gd name="connsiteY11" fmla="*/ 211634 h 386710"/>
                <a:gd name="connsiteX12" fmla="*/ 6676 w 180568"/>
                <a:gd name="connsiteY12" fmla="*/ 256475 h 386710"/>
                <a:gd name="connsiteX13" fmla="*/ 2285 w 180568"/>
                <a:gd name="connsiteY13" fmla="*/ 240649 h 386710"/>
                <a:gd name="connsiteX14" fmla="*/ 10190 w 180568"/>
                <a:gd name="connsiteY14" fmla="*/ 184378 h 386710"/>
                <a:gd name="connsiteX15" fmla="*/ 37415 w 180568"/>
                <a:gd name="connsiteY15" fmla="*/ 114040 h 386710"/>
                <a:gd name="connsiteX16" fmla="*/ 26876 w 180568"/>
                <a:gd name="connsiteY16" fmla="*/ 47218 h 386710"/>
                <a:gd name="connsiteX17" fmla="*/ 103283 w 180568"/>
                <a:gd name="connsiteY17" fmla="*/ 11170 h 386710"/>
                <a:gd name="connsiteX18" fmla="*/ 144561 w 180568"/>
                <a:gd name="connsiteY18" fmla="*/ 92059 h 386710"/>
                <a:gd name="connsiteX19" fmla="*/ 162125 w 180568"/>
                <a:gd name="connsiteY19" fmla="*/ 132504 h 386710"/>
                <a:gd name="connsiteX20" fmla="*/ 178812 w 180568"/>
                <a:gd name="connsiteY20" fmla="*/ 241528 h 386710"/>
                <a:gd name="connsiteX21" fmla="*/ 171786 w 180568"/>
                <a:gd name="connsiteY21" fmla="*/ 332089 h 386710"/>
                <a:gd name="connsiteX22" fmla="*/ 156856 w 180568"/>
                <a:gd name="connsiteY22" fmla="*/ 328572 h 386710"/>
                <a:gd name="connsiteX23" fmla="*/ 151586 w 180568"/>
                <a:gd name="connsiteY23" fmla="*/ 257354 h 386710"/>
                <a:gd name="connsiteX24" fmla="*/ 134022 w 180568"/>
                <a:gd name="connsiteY24" fmla="*/ 370775 h 386710"/>
                <a:gd name="connsiteX25" fmla="*/ 117335 w 180568"/>
                <a:gd name="connsiteY25" fmla="*/ 354070 h 386710"/>
                <a:gd name="connsiteX26" fmla="*/ 117335 w 180568"/>
                <a:gd name="connsiteY26" fmla="*/ 352311 h 3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0568" h="386710">
                  <a:moveTo>
                    <a:pt x="118213" y="352311"/>
                  </a:moveTo>
                  <a:cubicBezTo>
                    <a:pt x="123483" y="324176"/>
                    <a:pt x="118213" y="267905"/>
                    <a:pt x="118213" y="267905"/>
                  </a:cubicBezTo>
                  <a:lnTo>
                    <a:pt x="118213" y="267905"/>
                  </a:lnTo>
                  <a:cubicBezTo>
                    <a:pt x="118213" y="267905"/>
                    <a:pt x="112066" y="377809"/>
                    <a:pt x="90988" y="385722"/>
                  </a:cubicBezTo>
                  <a:cubicBezTo>
                    <a:pt x="69910" y="393635"/>
                    <a:pt x="76058" y="351432"/>
                    <a:pt x="76058" y="351432"/>
                  </a:cubicBezTo>
                  <a:cubicBezTo>
                    <a:pt x="76058" y="351432"/>
                    <a:pt x="82206" y="304833"/>
                    <a:pt x="79570" y="274939"/>
                  </a:cubicBezTo>
                  <a:lnTo>
                    <a:pt x="79570" y="274939"/>
                  </a:lnTo>
                  <a:cubicBezTo>
                    <a:pt x="79570" y="274939"/>
                    <a:pt x="68153" y="340881"/>
                    <a:pt x="54980" y="354070"/>
                  </a:cubicBezTo>
                  <a:cubicBezTo>
                    <a:pt x="41806" y="366379"/>
                    <a:pt x="30389" y="361983"/>
                    <a:pt x="32146" y="351432"/>
                  </a:cubicBezTo>
                  <a:cubicBezTo>
                    <a:pt x="33902" y="340881"/>
                    <a:pt x="50589" y="275818"/>
                    <a:pt x="50589" y="252958"/>
                  </a:cubicBezTo>
                  <a:cubicBezTo>
                    <a:pt x="50589" y="230098"/>
                    <a:pt x="48832" y="213393"/>
                    <a:pt x="47954" y="201963"/>
                  </a:cubicBezTo>
                  <a:cubicBezTo>
                    <a:pt x="47954" y="185258"/>
                    <a:pt x="42685" y="210755"/>
                    <a:pt x="42685" y="211634"/>
                  </a:cubicBezTo>
                  <a:cubicBezTo>
                    <a:pt x="40928" y="277577"/>
                    <a:pt x="6676" y="256475"/>
                    <a:pt x="6676" y="256475"/>
                  </a:cubicBezTo>
                  <a:cubicBezTo>
                    <a:pt x="6676" y="256475"/>
                    <a:pt x="-4741" y="252079"/>
                    <a:pt x="2285" y="240649"/>
                  </a:cubicBezTo>
                  <a:cubicBezTo>
                    <a:pt x="9311" y="229219"/>
                    <a:pt x="7555" y="194929"/>
                    <a:pt x="10190" y="184378"/>
                  </a:cubicBezTo>
                  <a:cubicBezTo>
                    <a:pt x="13702" y="172069"/>
                    <a:pt x="42685" y="143934"/>
                    <a:pt x="37415" y="114040"/>
                  </a:cubicBezTo>
                  <a:cubicBezTo>
                    <a:pt x="33902" y="95576"/>
                    <a:pt x="40050" y="95576"/>
                    <a:pt x="26876" y="47218"/>
                  </a:cubicBezTo>
                  <a:cubicBezTo>
                    <a:pt x="13702" y="-1139"/>
                    <a:pt x="61128" y="-10811"/>
                    <a:pt x="103283" y="11170"/>
                  </a:cubicBezTo>
                  <a:cubicBezTo>
                    <a:pt x="139291" y="30513"/>
                    <a:pt x="144561" y="92059"/>
                    <a:pt x="144561" y="92059"/>
                  </a:cubicBezTo>
                  <a:cubicBezTo>
                    <a:pt x="156856" y="112281"/>
                    <a:pt x="163882" y="135141"/>
                    <a:pt x="162125" y="132504"/>
                  </a:cubicBezTo>
                  <a:cubicBezTo>
                    <a:pt x="168273" y="149209"/>
                    <a:pt x="178812" y="241528"/>
                    <a:pt x="178812" y="241528"/>
                  </a:cubicBezTo>
                  <a:cubicBezTo>
                    <a:pt x="178812" y="241528"/>
                    <a:pt x="185838" y="323297"/>
                    <a:pt x="171786" y="332089"/>
                  </a:cubicBezTo>
                  <a:cubicBezTo>
                    <a:pt x="156856" y="340881"/>
                    <a:pt x="156856" y="328572"/>
                    <a:pt x="156856" y="328572"/>
                  </a:cubicBezTo>
                  <a:lnTo>
                    <a:pt x="151586" y="257354"/>
                  </a:lnTo>
                  <a:cubicBezTo>
                    <a:pt x="151586" y="257354"/>
                    <a:pt x="155100" y="345277"/>
                    <a:pt x="134022" y="370775"/>
                  </a:cubicBezTo>
                  <a:cubicBezTo>
                    <a:pt x="134022" y="370775"/>
                    <a:pt x="112066" y="382205"/>
                    <a:pt x="117335" y="354070"/>
                  </a:cubicBezTo>
                  <a:lnTo>
                    <a:pt x="117335" y="352311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1725BC74-FC94-463D-35EA-2D40C9E4E09D}"/>
                </a:ext>
              </a:extLst>
            </p:cNvPr>
            <p:cNvSpPr/>
            <p:nvPr/>
          </p:nvSpPr>
          <p:spPr>
            <a:xfrm>
              <a:off x="-8939042" y="4057638"/>
              <a:ext cx="864133" cy="1569426"/>
            </a:xfrm>
            <a:custGeom>
              <a:avLst/>
              <a:gdLst>
                <a:gd name="connsiteX0" fmla="*/ 14419 w 864133"/>
                <a:gd name="connsiteY0" fmla="*/ 879 h 1569426"/>
                <a:gd name="connsiteX1" fmla="*/ 845236 w 864133"/>
                <a:gd name="connsiteY1" fmla="*/ 40445 h 1569426"/>
                <a:gd name="connsiteX2" fmla="*/ 845236 w 864133"/>
                <a:gd name="connsiteY2" fmla="*/ 1569427 h 1569426"/>
                <a:gd name="connsiteX3" fmla="*/ 576494 w 864133"/>
                <a:gd name="connsiteY3" fmla="*/ 1569427 h 1569426"/>
                <a:gd name="connsiteX4" fmla="*/ 439488 w 864133"/>
                <a:gd name="connsiteY4" fmla="*/ 451045 h 1569426"/>
                <a:gd name="connsiteX5" fmla="*/ 297213 w 864133"/>
                <a:gd name="connsiteY5" fmla="*/ 1569427 h 1569426"/>
                <a:gd name="connsiteX6" fmla="*/ 26714 w 864133"/>
                <a:gd name="connsiteY6" fmla="*/ 1569427 h 1569426"/>
                <a:gd name="connsiteX7" fmla="*/ 14419 w 864133"/>
                <a:gd name="connsiteY7" fmla="*/ 0 h 1569426"/>
                <a:gd name="connsiteX8" fmla="*/ 14419 w 864133"/>
                <a:gd name="connsiteY8" fmla="*/ 0 h 156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4133" h="1569426">
                  <a:moveTo>
                    <a:pt x="14419" y="879"/>
                  </a:moveTo>
                  <a:lnTo>
                    <a:pt x="845236" y="40445"/>
                  </a:lnTo>
                  <a:cubicBezTo>
                    <a:pt x="861923" y="451925"/>
                    <a:pt x="877732" y="962758"/>
                    <a:pt x="845236" y="1569427"/>
                  </a:cubicBezTo>
                  <a:lnTo>
                    <a:pt x="576494" y="1569427"/>
                  </a:lnTo>
                  <a:lnTo>
                    <a:pt x="439488" y="451045"/>
                  </a:lnTo>
                  <a:lnTo>
                    <a:pt x="297213" y="1569427"/>
                  </a:lnTo>
                  <a:lnTo>
                    <a:pt x="26714" y="1569427"/>
                  </a:lnTo>
                  <a:cubicBezTo>
                    <a:pt x="-25102" y="1132449"/>
                    <a:pt x="14419" y="0"/>
                    <a:pt x="14419" y="0"/>
                  </a:cubicBezTo>
                  <a:lnTo>
                    <a:pt x="14419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E14218DD-E027-2B46-2C2C-4120A1E0A702}"/>
                </a:ext>
              </a:extLst>
            </p:cNvPr>
            <p:cNvSpPr/>
            <p:nvPr/>
          </p:nvSpPr>
          <p:spPr>
            <a:xfrm>
              <a:off x="-8904423" y="4180730"/>
              <a:ext cx="98363" cy="225083"/>
            </a:xfrm>
            <a:custGeom>
              <a:avLst/>
              <a:gdLst>
                <a:gd name="connsiteX0" fmla="*/ 0 w 98363"/>
                <a:gd name="connsiteY0" fmla="*/ 225083 h 225083"/>
                <a:gd name="connsiteX1" fmla="*/ 98363 w 98363"/>
                <a:gd name="connsiteY1" fmla="*/ 0 h 22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363" h="225083">
                  <a:moveTo>
                    <a:pt x="0" y="225083"/>
                  </a:moveTo>
                  <a:lnTo>
                    <a:pt x="98363" y="0"/>
                  </a:lnTo>
                </a:path>
              </a:pathLst>
            </a:custGeom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F692729-9D6D-4310-4515-085F964038E2}"/>
                </a:ext>
              </a:extLst>
            </p:cNvPr>
            <p:cNvSpPr/>
            <p:nvPr/>
          </p:nvSpPr>
          <p:spPr>
            <a:xfrm>
              <a:off x="-8927257" y="4199194"/>
              <a:ext cx="93093" cy="169691"/>
            </a:xfrm>
            <a:custGeom>
              <a:avLst/>
              <a:gdLst>
                <a:gd name="connsiteX0" fmla="*/ 45668 w 93093"/>
                <a:gd name="connsiteY0" fmla="*/ 0 h 169691"/>
                <a:gd name="connsiteX1" fmla="*/ 93093 w 93093"/>
                <a:gd name="connsiteY1" fmla="*/ 40444 h 169691"/>
                <a:gd name="connsiteX2" fmla="*/ 38642 w 93093"/>
                <a:gd name="connsiteY2" fmla="*/ 169691 h 169691"/>
                <a:gd name="connsiteX3" fmla="*/ 0 w 93093"/>
                <a:gd name="connsiteY3" fmla="*/ 133643 h 169691"/>
                <a:gd name="connsiteX4" fmla="*/ 45668 w 93093"/>
                <a:gd name="connsiteY4" fmla="*/ 0 h 16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093" h="169691">
                  <a:moveTo>
                    <a:pt x="45668" y="0"/>
                  </a:moveTo>
                  <a:cubicBezTo>
                    <a:pt x="58842" y="5275"/>
                    <a:pt x="83433" y="35169"/>
                    <a:pt x="93093" y="40444"/>
                  </a:cubicBezTo>
                  <a:lnTo>
                    <a:pt x="38642" y="169691"/>
                  </a:lnTo>
                  <a:lnTo>
                    <a:pt x="0" y="133643"/>
                  </a:lnTo>
                  <a:lnTo>
                    <a:pt x="45668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6F1665A4-A005-6014-8AC9-A982EBF87588}"/>
                </a:ext>
              </a:extLst>
            </p:cNvPr>
            <p:cNvSpPr/>
            <p:nvPr/>
          </p:nvSpPr>
          <p:spPr>
            <a:xfrm>
              <a:off x="-7966460" y="4261619"/>
              <a:ext cx="152814" cy="58908"/>
            </a:xfrm>
            <a:custGeom>
              <a:avLst/>
              <a:gdLst>
                <a:gd name="connsiteX0" fmla="*/ 151058 w 152814"/>
                <a:gd name="connsiteY0" fmla="*/ 0 h 58908"/>
                <a:gd name="connsiteX1" fmla="*/ 151058 w 152814"/>
                <a:gd name="connsiteY1" fmla="*/ 45720 h 58908"/>
                <a:gd name="connsiteX2" fmla="*/ 2635 w 152814"/>
                <a:gd name="connsiteY2" fmla="*/ 58909 h 58908"/>
                <a:gd name="connsiteX3" fmla="*/ 0 w 152814"/>
                <a:gd name="connsiteY3" fmla="*/ 10551 h 58908"/>
                <a:gd name="connsiteX4" fmla="*/ 152814 w 152814"/>
                <a:gd name="connsiteY4" fmla="*/ 0 h 58908"/>
                <a:gd name="connsiteX5" fmla="*/ 151936 w 152814"/>
                <a:gd name="connsiteY5" fmla="*/ 0 h 5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814" h="58908">
                  <a:moveTo>
                    <a:pt x="151058" y="0"/>
                  </a:moveTo>
                  <a:cubicBezTo>
                    <a:pt x="148423" y="15826"/>
                    <a:pt x="152814" y="34290"/>
                    <a:pt x="151058" y="45720"/>
                  </a:cubicBezTo>
                  <a:lnTo>
                    <a:pt x="2635" y="58909"/>
                  </a:lnTo>
                  <a:cubicBezTo>
                    <a:pt x="2635" y="58909"/>
                    <a:pt x="2635" y="34290"/>
                    <a:pt x="0" y="10551"/>
                  </a:cubicBezTo>
                  <a:lnTo>
                    <a:pt x="152814" y="0"/>
                  </a:lnTo>
                  <a:lnTo>
                    <a:pt x="151936" y="0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EEFAE4BC-5588-828A-3609-3826605DACC9}"/>
                </a:ext>
              </a:extLst>
            </p:cNvPr>
            <p:cNvSpPr/>
            <p:nvPr/>
          </p:nvSpPr>
          <p:spPr>
            <a:xfrm>
              <a:off x="-8642707" y="2929585"/>
              <a:ext cx="253812" cy="564466"/>
            </a:xfrm>
            <a:custGeom>
              <a:avLst/>
              <a:gdLst>
                <a:gd name="connsiteX0" fmla="*/ 10539 w 253812"/>
                <a:gd name="connsiteY0" fmla="*/ 3517 h 564466"/>
                <a:gd name="connsiteX1" fmla="*/ 157206 w 253812"/>
                <a:gd name="connsiteY1" fmla="*/ 30773 h 564466"/>
                <a:gd name="connsiteX2" fmla="*/ 223952 w 253812"/>
                <a:gd name="connsiteY2" fmla="*/ 0 h 564466"/>
                <a:gd name="connsiteX3" fmla="*/ 253812 w 253812"/>
                <a:gd name="connsiteY3" fmla="*/ 7913 h 564466"/>
                <a:gd name="connsiteX4" fmla="*/ 144032 w 253812"/>
                <a:gd name="connsiteY4" fmla="*/ 564466 h 564466"/>
                <a:gd name="connsiteX5" fmla="*/ 0 w 253812"/>
                <a:gd name="connsiteY5" fmla="*/ 15826 h 564466"/>
                <a:gd name="connsiteX6" fmla="*/ 10539 w 253812"/>
                <a:gd name="connsiteY6" fmla="*/ 3517 h 56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812" h="564466">
                  <a:moveTo>
                    <a:pt x="10539" y="3517"/>
                  </a:moveTo>
                  <a:lnTo>
                    <a:pt x="157206" y="30773"/>
                  </a:lnTo>
                  <a:lnTo>
                    <a:pt x="223952" y="0"/>
                  </a:lnTo>
                  <a:cubicBezTo>
                    <a:pt x="225708" y="0"/>
                    <a:pt x="253812" y="7913"/>
                    <a:pt x="253812" y="7913"/>
                  </a:cubicBezTo>
                  <a:lnTo>
                    <a:pt x="144032" y="564466"/>
                  </a:lnTo>
                  <a:lnTo>
                    <a:pt x="0" y="15826"/>
                  </a:lnTo>
                  <a:lnTo>
                    <a:pt x="10539" y="3517"/>
                  </a:lnTo>
                  <a:close/>
                </a:path>
              </a:pathLst>
            </a:custGeom>
            <a:solidFill>
              <a:srgbClr val="FFFFFF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7777A077-B22C-2B6F-9F17-DA11D3257AD9}"/>
                </a:ext>
              </a:extLst>
            </p:cNvPr>
            <p:cNvSpPr/>
            <p:nvPr/>
          </p:nvSpPr>
          <p:spPr>
            <a:xfrm>
              <a:off x="-8638315" y="2640303"/>
              <a:ext cx="253812" cy="362257"/>
            </a:xfrm>
            <a:custGeom>
              <a:avLst/>
              <a:gdLst>
                <a:gd name="connsiteX0" fmla="*/ 207266 w 253812"/>
                <a:gd name="connsiteY0" fmla="*/ 167069 h 362257"/>
                <a:gd name="connsiteX1" fmla="*/ 144032 w 253812"/>
                <a:gd name="connsiteY1" fmla="*/ 104643 h 362257"/>
                <a:gd name="connsiteX2" fmla="*/ 165988 w 253812"/>
                <a:gd name="connsiteY2" fmla="*/ 75629 h 362257"/>
                <a:gd name="connsiteX3" fmla="*/ 126467 w 253812"/>
                <a:gd name="connsiteY3" fmla="*/ 15 h 362257"/>
                <a:gd name="connsiteX4" fmla="*/ 85190 w 253812"/>
                <a:gd name="connsiteY4" fmla="*/ 41339 h 362257"/>
                <a:gd name="connsiteX5" fmla="*/ 92215 w 253812"/>
                <a:gd name="connsiteY5" fmla="*/ 167948 h 362257"/>
                <a:gd name="connsiteX6" fmla="*/ 0 w 253812"/>
                <a:gd name="connsiteY6" fmla="*/ 251475 h 362257"/>
                <a:gd name="connsiteX7" fmla="*/ 3513 w 253812"/>
                <a:gd name="connsiteY7" fmla="*/ 300712 h 362257"/>
                <a:gd name="connsiteX8" fmla="*/ 110659 w 253812"/>
                <a:gd name="connsiteY8" fmla="*/ 362258 h 362257"/>
                <a:gd name="connsiteX9" fmla="*/ 253812 w 253812"/>
                <a:gd name="connsiteY9" fmla="*/ 292798 h 362257"/>
                <a:gd name="connsiteX10" fmla="*/ 206387 w 253812"/>
                <a:gd name="connsiteY10" fmla="*/ 167069 h 362257"/>
                <a:gd name="connsiteX11" fmla="*/ 207266 w 253812"/>
                <a:gd name="connsiteY11" fmla="*/ 167069 h 36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812" h="362257">
                  <a:moveTo>
                    <a:pt x="207266" y="167069"/>
                  </a:moveTo>
                  <a:cubicBezTo>
                    <a:pt x="204630" y="167069"/>
                    <a:pt x="144910" y="108160"/>
                    <a:pt x="144032" y="104643"/>
                  </a:cubicBezTo>
                  <a:cubicBezTo>
                    <a:pt x="153692" y="99368"/>
                    <a:pt x="162475" y="90575"/>
                    <a:pt x="165988" y="75629"/>
                  </a:cubicBezTo>
                  <a:cubicBezTo>
                    <a:pt x="173014" y="37822"/>
                    <a:pt x="163353" y="-865"/>
                    <a:pt x="126467" y="15"/>
                  </a:cubicBezTo>
                  <a:cubicBezTo>
                    <a:pt x="95729" y="1773"/>
                    <a:pt x="87824" y="24633"/>
                    <a:pt x="85190" y="41339"/>
                  </a:cubicBezTo>
                  <a:cubicBezTo>
                    <a:pt x="85190" y="60682"/>
                    <a:pt x="92215" y="167948"/>
                    <a:pt x="92215" y="167948"/>
                  </a:cubicBezTo>
                  <a:cubicBezTo>
                    <a:pt x="79920" y="199600"/>
                    <a:pt x="37764" y="204875"/>
                    <a:pt x="0" y="251475"/>
                  </a:cubicBezTo>
                  <a:lnTo>
                    <a:pt x="3513" y="300712"/>
                  </a:lnTo>
                  <a:lnTo>
                    <a:pt x="110659" y="362258"/>
                  </a:lnTo>
                  <a:lnTo>
                    <a:pt x="253812" y="292798"/>
                  </a:lnTo>
                  <a:cubicBezTo>
                    <a:pt x="247665" y="276972"/>
                    <a:pt x="211657" y="183774"/>
                    <a:pt x="206387" y="167069"/>
                  </a:cubicBezTo>
                  <a:lnTo>
                    <a:pt x="207266" y="167069"/>
                  </a:lnTo>
                  <a:close/>
                </a:path>
              </a:pathLst>
            </a:custGeom>
            <a:solidFill>
              <a:srgbClr val="DE9C74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7" name="Graphic 6">
              <a:extLst>
                <a:ext uri="{FF2B5EF4-FFF2-40B4-BE49-F238E27FC236}">
                  <a16:creationId xmlns:a16="http://schemas.microsoft.com/office/drawing/2014/main" id="{61CE84F4-D918-1CC2-D48A-A2FF7269192D}"/>
                </a:ext>
              </a:extLst>
            </p:cNvPr>
            <p:cNvGrpSpPr/>
            <p:nvPr/>
          </p:nvGrpSpPr>
          <p:grpSpPr>
            <a:xfrm>
              <a:off x="-8804027" y="2405438"/>
              <a:ext cx="896444" cy="500660"/>
              <a:chOff x="-8804027" y="2405438"/>
              <a:chExt cx="896444" cy="500660"/>
            </a:xfrm>
          </p:grpSpPr>
          <p:sp>
            <p:nvSpPr>
              <p:cNvPr id="108" name="Freeform 107">
                <a:extLst>
                  <a:ext uri="{FF2B5EF4-FFF2-40B4-BE49-F238E27FC236}">
                    <a16:creationId xmlns:a16="http://schemas.microsoft.com/office/drawing/2014/main" id="{8F022049-CB15-A203-C478-039E08AF3220}"/>
                  </a:ext>
                </a:extLst>
              </p:cNvPr>
              <p:cNvSpPr/>
              <p:nvPr/>
            </p:nvSpPr>
            <p:spPr>
              <a:xfrm>
                <a:off x="-8779712" y="2778357"/>
                <a:ext cx="60251" cy="53633"/>
              </a:xfrm>
              <a:custGeom>
                <a:avLst/>
                <a:gdLst>
                  <a:gd name="connsiteX0" fmla="*/ 59720 w 60251"/>
                  <a:gd name="connsiteY0" fmla="*/ 16705 h 53633"/>
                  <a:gd name="connsiteX1" fmla="*/ 33373 w 60251"/>
                  <a:gd name="connsiteY1" fmla="*/ 2638 h 53633"/>
                  <a:gd name="connsiteX2" fmla="*/ 0 w 60251"/>
                  <a:gd name="connsiteY2" fmla="*/ 0 h 53633"/>
                  <a:gd name="connsiteX3" fmla="*/ 19321 w 60251"/>
                  <a:gd name="connsiteY3" fmla="*/ 14947 h 53633"/>
                  <a:gd name="connsiteX4" fmla="*/ 7904 w 60251"/>
                  <a:gd name="connsiteY4" fmla="*/ 30773 h 53633"/>
                  <a:gd name="connsiteX5" fmla="*/ 21956 w 60251"/>
                  <a:gd name="connsiteY5" fmla="*/ 53633 h 53633"/>
                  <a:gd name="connsiteX6" fmla="*/ 59720 w 60251"/>
                  <a:gd name="connsiteY6" fmla="*/ 16705 h 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251" h="53633">
                    <a:moveTo>
                      <a:pt x="59720" y="16705"/>
                    </a:moveTo>
                    <a:cubicBezTo>
                      <a:pt x="57964" y="9672"/>
                      <a:pt x="41278" y="2638"/>
                      <a:pt x="33373" y="2638"/>
                    </a:cubicBezTo>
                    <a:cubicBezTo>
                      <a:pt x="20199" y="2638"/>
                      <a:pt x="7904" y="1759"/>
                      <a:pt x="0" y="0"/>
                    </a:cubicBezTo>
                    <a:cubicBezTo>
                      <a:pt x="1757" y="8792"/>
                      <a:pt x="14052" y="14068"/>
                      <a:pt x="19321" y="14947"/>
                    </a:cubicBezTo>
                    <a:cubicBezTo>
                      <a:pt x="27225" y="16705"/>
                      <a:pt x="10539" y="15826"/>
                      <a:pt x="7904" y="30773"/>
                    </a:cubicBezTo>
                    <a:cubicBezTo>
                      <a:pt x="5269" y="45720"/>
                      <a:pt x="21956" y="53633"/>
                      <a:pt x="21956" y="53633"/>
                    </a:cubicBezTo>
                    <a:cubicBezTo>
                      <a:pt x="49181" y="41324"/>
                      <a:pt x="63234" y="30773"/>
                      <a:pt x="59720" y="16705"/>
                    </a:cubicBezTo>
                    <a:close/>
                  </a:path>
                </a:pathLst>
              </a:custGeom>
              <a:solidFill>
                <a:srgbClr val="DE9C74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" name="Freeform 108">
                <a:extLst>
                  <a:ext uri="{FF2B5EF4-FFF2-40B4-BE49-F238E27FC236}">
                    <a16:creationId xmlns:a16="http://schemas.microsoft.com/office/drawing/2014/main" id="{CDEE67A5-012A-2E98-88BB-4F956615A1E7}"/>
                  </a:ext>
                </a:extLst>
              </p:cNvPr>
              <p:cNvSpPr/>
              <p:nvPr/>
            </p:nvSpPr>
            <p:spPr>
              <a:xfrm>
                <a:off x="-8788532" y="2405438"/>
                <a:ext cx="445358" cy="500660"/>
              </a:xfrm>
              <a:custGeom>
                <a:avLst/>
                <a:gdLst>
                  <a:gd name="connsiteX0" fmla="*/ 250336 w 445358"/>
                  <a:gd name="connsiteY0" fmla="*/ 16831 h 500660"/>
                  <a:gd name="connsiteX1" fmla="*/ 80836 w 445358"/>
                  <a:gd name="connsiteY1" fmla="*/ 1004 h 500660"/>
                  <a:gd name="connsiteX2" fmla="*/ 74688 w 445358"/>
                  <a:gd name="connsiteY2" fmla="*/ 91565 h 500660"/>
                  <a:gd name="connsiteX3" fmla="*/ 74688 w 445358"/>
                  <a:gd name="connsiteY3" fmla="*/ 93324 h 500660"/>
                  <a:gd name="connsiteX4" fmla="*/ 175686 w 445358"/>
                  <a:gd name="connsiteY4" fmla="*/ 132889 h 500660"/>
                  <a:gd name="connsiteX5" fmla="*/ 171294 w 445358"/>
                  <a:gd name="connsiteY5" fmla="*/ 187401 h 500660"/>
                  <a:gd name="connsiteX6" fmla="*/ 201154 w 445358"/>
                  <a:gd name="connsiteY6" fmla="*/ 240155 h 500660"/>
                  <a:gd name="connsiteX7" fmla="*/ 187981 w 445358"/>
                  <a:gd name="connsiteY7" fmla="*/ 316648 h 500660"/>
                  <a:gd name="connsiteX8" fmla="*/ 116843 w 445358"/>
                  <a:gd name="connsiteY8" fmla="*/ 361489 h 500660"/>
                  <a:gd name="connsiteX9" fmla="*/ 15845 w 445358"/>
                  <a:gd name="connsiteY9" fmla="*/ 336871 h 500660"/>
                  <a:gd name="connsiteX10" fmla="*/ 15845 w 445358"/>
                  <a:gd name="connsiteY10" fmla="*/ 336871 h 500660"/>
                  <a:gd name="connsiteX11" fmla="*/ 7941 w 445358"/>
                  <a:gd name="connsiteY11" fmla="*/ 367644 h 500660"/>
                  <a:gd name="connsiteX12" fmla="*/ 46584 w 445358"/>
                  <a:gd name="connsiteY12" fmla="*/ 377315 h 500660"/>
                  <a:gd name="connsiteX13" fmla="*/ 68540 w 445358"/>
                  <a:gd name="connsiteY13" fmla="*/ 391383 h 500660"/>
                  <a:gd name="connsiteX14" fmla="*/ 30776 w 445358"/>
                  <a:gd name="connsiteY14" fmla="*/ 429190 h 500660"/>
                  <a:gd name="connsiteX15" fmla="*/ 30776 w 445358"/>
                  <a:gd name="connsiteY15" fmla="*/ 429190 h 500660"/>
                  <a:gd name="connsiteX16" fmla="*/ 39558 w 445358"/>
                  <a:gd name="connsiteY16" fmla="*/ 492494 h 500660"/>
                  <a:gd name="connsiteX17" fmla="*/ 109818 w 445358"/>
                  <a:gd name="connsiteY17" fmla="*/ 497770 h 500660"/>
                  <a:gd name="connsiteX18" fmla="*/ 152851 w 445358"/>
                  <a:gd name="connsiteY18" fmla="*/ 488098 h 500660"/>
                  <a:gd name="connsiteX19" fmla="*/ 231893 w 445358"/>
                  <a:gd name="connsiteY19" fmla="*/ 436224 h 500660"/>
                  <a:gd name="connsiteX20" fmla="*/ 244189 w 445358"/>
                  <a:gd name="connsiteY20" fmla="*/ 404571 h 500660"/>
                  <a:gd name="connsiteX21" fmla="*/ 238919 w 445358"/>
                  <a:gd name="connsiteY21" fmla="*/ 366764 h 500660"/>
                  <a:gd name="connsiteX22" fmla="*/ 237163 w 445358"/>
                  <a:gd name="connsiteY22" fmla="*/ 277962 h 500660"/>
                  <a:gd name="connsiteX23" fmla="*/ 278440 w 445358"/>
                  <a:gd name="connsiteY23" fmla="*/ 236638 h 500660"/>
                  <a:gd name="connsiteX24" fmla="*/ 317961 w 445358"/>
                  <a:gd name="connsiteY24" fmla="*/ 312252 h 500660"/>
                  <a:gd name="connsiteX25" fmla="*/ 296005 w 445358"/>
                  <a:gd name="connsiteY25" fmla="*/ 341267 h 500660"/>
                  <a:gd name="connsiteX26" fmla="*/ 298640 w 445358"/>
                  <a:gd name="connsiteY26" fmla="*/ 353576 h 500660"/>
                  <a:gd name="connsiteX27" fmla="*/ 342552 w 445358"/>
                  <a:gd name="connsiteY27" fmla="*/ 404571 h 500660"/>
                  <a:gd name="connsiteX28" fmla="*/ 372412 w 445358"/>
                  <a:gd name="connsiteY28" fmla="*/ 392262 h 500660"/>
                  <a:gd name="connsiteX29" fmla="*/ 384707 w 445358"/>
                  <a:gd name="connsiteY29" fmla="*/ 383470 h 500660"/>
                  <a:gd name="connsiteX30" fmla="*/ 441793 w 445358"/>
                  <a:gd name="connsiteY30" fmla="*/ 265653 h 500660"/>
                  <a:gd name="connsiteX31" fmla="*/ 251214 w 445358"/>
                  <a:gd name="connsiteY31" fmla="*/ 17710 h 500660"/>
                  <a:gd name="connsiteX32" fmla="*/ 249458 w 445358"/>
                  <a:gd name="connsiteY32" fmla="*/ 17710 h 5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45358" h="500660">
                    <a:moveTo>
                      <a:pt x="250336" y="16831"/>
                    </a:moveTo>
                    <a:cubicBezTo>
                      <a:pt x="169538" y="10676"/>
                      <a:pt x="121235" y="27381"/>
                      <a:pt x="80836" y="1004"/>
                    </a:cubicBezTo>
                    <a:cubicBezTo>
                      <a:pt x="66783" y="-8667"/>
                      <a:pt x="43071" y="53758"/>
                      <a:pt x="74688" y="91565"/>
                    </a:cubicBezTo>
                    <a:cubicBezTo>
                      <a:pt x="74688" y="91565"/>
                      <a:pt x="74688" y="91565"/>
                      <a:pt x="74688" y="93324"/>
                    </a:cubicBezTo>
                    <a:cubicBezTo>
                      <a:pt x="86105" y="93324"/>
                      <a:pt x="167781" y="102995"/>
                      <a:pt x="175686" y="132889"/>
                    </a:cubicBezTo>
                    <a:cubicBezTo>
                      <a:pt x="183590" y="164541"/>
                      <a:pt x="171294" y="187401"/>
                      <a:pt x="171294" y="187401"/>
                    </a:cubicBezTo>
                    <a:cubicBezTo>
                      <a:pt x="171294" y="187401"/>
                      <a:pt x="190616" y="204107"/>
                      <a:pt x="201154" y="240155"/>
                    </a:cubicBezTo>
                    <a:cubicBezTo>
                      <a:pt x="204668" y="276204"/>
                      <a:pt x="198520" y="299943"/>
                      <a:pt x="187981" y="316648"/>
                    </a:cubicBezTo>
                    <a:cubicBezTo>
                      <a:pt x="166903" y="350059"/>
                      <a:pt x="128260" y="354455"/>
                      <a:pt x="116843" y="361489"/>
                    </a:cubicBezTo>
                    <a:cubicBezTo>
                      <a:pt x="98400" y="372919"/>
                      <a:pt x="36045" y="323682"/>
                      <a:pt x="15845" y="336871"/>
                    </a:cubicBezTo>
                    <a:lnTo>
                      <a:pt x="15845" y="336871"/>
                    </a:lnTo>
                    <a:cubicBezTo>
                      <a:pt x="-6111" y="343904"/>
                      <a:pt x="-1719" y="365885"/>
                      <a:pt x="7941" y="367644"/>
                    </a:cubicBezTo>
                    <a:cubicBezTo>
                      <a:pt x="7941" y="367644"/>
                      <a:pt x="33410" y="379074"/>
                      <a:pt x="46584" y="377315"/>
                    </a:cubicBezTo>
                    <a:cubicBezTo>
                      <a:pt x="55366" y="375557"/>
                      <a:pt x="65905" y="382590"/>
                      <a:pt x="68540" y="391383"/>
                    </a:cubicBezTo>
                    <a:cubicBezTo>
                      <a:pt x="72053" y="405451"/>
                      <a:pt x="58001" y="416001"/>
                      <a:pt x="30776" y="429190"/>
                    </a:cubicBezTo>
                    <a:lnTo>
                      <a:pt x="30776" y="429190"/>
                    </a:lnTo>
                    <a:cubicBezTo>
                      <a:pt x="11454" y="438861"/>
                      <a:pt x="39558" y="492494"/>
                      <a:pt x="39558" y="492494"/>
                    </a:cubicBezTo>
                    <a:cubicBezTo>
                      <a:pt x="39558" y="492494"/>
                      <a:pt x="53610" y="506562"/>
                      <a:pt x="109818" y="497770"/>
                    </a:cubicBezTo>
                    <a:cubicBezTo>
                      <a:pt x="124748" y="495132"/>
                      <a:pt x="138799" y="491615"/>
                      <a:pt x="152851" y="488098"/>
                    </a:cubicBezTo>
                    <a:cubicBezTo>
                      <a:pt x="152851" y="488098"/>
                      <a:pt x="217841" y="458204"/>
                      <a:pt x="231893" y="436224"/>
                    </a:cubicBezTo>
                    <a:cubicBezTo>
                      <a:pt x="236284" y="426552"/>
                      <a:pt x="241554" y="418639"/>
                      <a:pt x="244189" y="404571"/>
                    </a:cubicBezTo>
                    <a:cubicBezTo>
                      <a:pt x="244189" y="401054"/>
                      <a:pt x="239797" y="372919"/>
                      <a:pt x="238919" y="366764"/>
                    </a:cubicBezTo>
                    <a:cubicBezTo>
                      <a:pt x="235406" y="333354"/>
                      <a:pt x="236284" y="297305"/>
                      <a:pt x="237163" y="277962"/>
                    </a:cubicBezTo>
                    <a:cubicBezTo>
                      <a:pt x="239797" y="261257"/>
                      <a:pt x="247702" y="238397"/>
                      <a:pt x="278440" y="236638"/>
                    </a:cubicBezTo>
                    <a:cubicBezTo>
                      <a:pt x="315326" y="234880"/>
                      <a:pt x="325865" y="274445"/>
                      <a:pt x="317961" y="312252"/>
                    </a:cubicBezTo>
                    <a:cubicBezTo>
                      <a:pt x="315326" y="328078"/>
                      <a:pt x="305666" y="336871"/>
                      <a:pt x="296005" y="341267"/>
                    </a:cubicBezTo>
                    <a:cubicBezTo>
                      <a:pt x="296005" y="344784"/>
                      <a:pt x="297761" y="349180"/>
                      <a:pt x="298640" y="353576"/>
                    </a:cubicBezTo>
                    <a:cubicBezTo>
                      <a:pt x="298640" y="354455"/>
                      <a:pt x="326744" y="402813"/>
                      <a:pt x="342552" y="404571"/>
                    </a:cubicBezTo>
                    <a:cubicBezTo>
                      <a:pt x="358360" y="404571"/>
                      <a:pt x="365386" y="394900"/>
                      <a:pt x="372412" y="392262"/>
                    </a:cubicBezTo>
                    <a:cubicBezTo>
                      <a:pt x="375047" y="390504"/>
                      <a:pt x="383829" y="384349"/>
                      <a:pt x="384707" y="383470"/>
                    </a:cubicBezTo>
                    <a:cubicBezTo>
                      <a:pt x="418080" y="357093"/>
                      <a:pt x="433011" y="312252"/>
                      <a:pt x="441793" y="265653"/>
                    </a:cubicBezTo>
                    <a:cubicBezTo>
                      <a:pt x="464627" y="143440"/>
                      <a:pt x="375047" y="27381"/>
                      <a:pt x="251214" y="17710"/>
                    </a:cubicBezTo>
                    <a:lnTo>
                      <a:pt x="249458" y="17710"/>
                    </a:lnTo>
                    <a:close/>
                  </a:path>
                </a:pathLst>
              </a:custGeom>
              <a:solidFill>
                <a:srgbClr val="DEDDDC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" name="Freeform 109">
                <a:extLst>
                  <a:ext uri="{FF2B5EF4-FFF2-40B4-BE49-F238E27FC236}">
                    <a16:creationId xmlns:a16="http://schemas.microsoft.com/office/drawing/2014/main" id="{BA2F7653-2190-E886-CFF3-32186F4EADE0}"/>
                  </a:ext>
                </a:extLst>
              </p:cNvPr>
              <p:cNvSpPr/>
              <p:nvPr/>
            </p:nvSpPr>
            <p:spPr>
              <a:xfrm>
                <a:off x="-8804027" y="2497883"/>
                <a:ext cx="217642" cy="270128"/>
              </a:xfrm>
              <a:custGeom>
                <a:avLst/>
                <a:gdLst>
                  <a:gd name="connsiteX0" fmla="*/ 216650 w 217642"/>
                  <a:gd name="connsiteY0" fmla="*/ 146832 h 270128"/>
                  <a:gd name="connsiteX1" fmla="*/ 186790 w 217642"/>
                  <a:gd name="connsiteY1" fmla="*/ 94078 h 270128"/>
                  <a:gd name="connsiteX2" fmla="*/ 191181 w 217642"/>
                  <a:gd name="connsiteY2" fmla="*/ 39565 h 270128"/>
                  <a:gd name="connsiteX3" fmla="*/ 90183 w 217642"/>
                  <a:gd name="connsiteY3" fmla="*/ 0 h 270128"/>
                  <a:gd name="connsiteX4" fmla="*/ 88427 w 217642"/>
                  <a:gd name="connsiteY4" fmla="*/ 0 h 270128"/>
                  <a:gd name="connsiteX5" fmla="*/ 46271 w 217642"/>
                  <a:gd name="connsiteY5" fmla="*/ 88802 h 270128"/>
                  <a:gd name="connsiteX6" fmla="*/ 50662 w 217642"/>
                  <a:gd name="connsiteY6" fmla="*/ 137160 h 270128"/>
                  <a:gd name="connsiteX7" fmla="*/ 37489 w 217642"/>
                  <a:gd name="connsiteY7" fmla="*/ 160020 h 270128"/>
                  <a:gd name="connsiteX8" fmla="*/ 602 w 217642"/>
                  <a:gd name="connsiteY8" fmla="*/ 218049 h 270128"/>
                  <a:gd name="connsiteX9" fmla="*/ 11141 w 217642"/>
                  <a:gd name="connsiteY9" fmla="*/ 237392 h 270128"/>
                  <a:gd name="connsiteX10" fmla="*/ 132339 w 217642"/>
                  <a:gd name="connsiteY10" fmla="*/ 268165 h 270128"/>
                  <a:gd name="connsiteX11" fmla="*/ 203476 w 217642"/>
                  <a:gd name="connsiteY11" fmla="*/ 223325 h 270128"/>
                  <a:gd name="connsiteX12" fmla="*/ 216650 w 217642"/>
                  <a:gd name="connsiteY12" fmla="*/ 146832 h 270128"/>
                  <a:gd name="connsiteX13" fmla="*/ 216650 w 217642"/>
                  <a:gd name="connsiteY13" fmla="*/ 146832 h 270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7642" h="270128">
                    <a:moveTo>
                      <a:pt x="216650" y="146832"/>
                    </a:moveTo>
                    <a:cubicBezTo>
                      <a:pt x="206989" y="116938"/>
                      <a:pt x="186790" y="94078"/>
                      <a:pt x="186790" y="94078"/>
                    </a:cubicBezTo>
                    <a:cubicBezTo>
                      <a:pt x="186790" y="94078"/>
                      <a:pt x="199085" y="72097"/>
                      <a:pt x="191181" y="39565"/>
                    </a:cubicBezTo>
                    <a:cubicBezTo>
                      <a:pt x="184155" y="9672"/>
                      <a:pt x="102478" y="1759"/>
                      <a:pt x="90183" y="0"/>
                    </a:cubicBezTo>
                    <a:lnTo>
                      <a:pt x="88427" y="0"/>
                    </a:lnTo>
                    <a:cubicBezTo>
                      <a:pt x="78766" y="16705"/>
                      <a:pt x="57688" y="55392"/>
                      <a:pt x="46271" y="88802"/>
                    </a:cubicBezTo>
                    <a:cubicBezTo>
                      <a:pt x="41001" y="104628"/>
                      <a:pt x="44514" y="121334"/>
                      <a:pt x="50662" y="137160"/>
                    </a:cubicBezTo>
                    <a:cubicBezTo>
                      <a:pt x="56810" y="152986"/>
                      <a:pt x="41880" y="152107"/>
                      <a:pt x="37489" y="160020"/>
                    </a:cubicBezTo>
                    <a:lnTo>
                      <a:pt x="602" y="218049"/>
                    </a:lnTo>
                    <a:cubicBezTo>
                      <a:pt x="602" y="218049"/>
                      <a:pt x="-3789" y="238272"/>
                      <a:pt x="11141" y="237392"/>
                    </a:cubicBezTo>
                    <a:cubicBezTo>
                      <a:pt x="26072" y="237392"/>
                      <a:pt x="113896" y="279595"/>
                      <a:pt x="132339" y="268165"/>
                    </a:cubicBezTo>
                    <a:cubicBezTo>
                      <a:pt x="143756" y="261132"/>
                      <a:pt x="182399" y="257615"/>
                      <a:pt x="203476" y="223325"/>
                    </a:cubicBezTo>
                    <a:cubicBezTo>
                      <a:pt x="214015" y="206619"/>
                      <a:pt x="220163" y="182001"/>
                      <a:pt x="216650" y="146832"/>
                    </a:cubicBezTo>
                    <a:lnTo>
                      <a:pt x="216650" y="146832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6CA4BECD-AB5D-EB81-9589-E3317BE11082}"/>
                </a:ext>
              </a:extLst>
            </p:cNvPr>
            <p:cNvSpPr/>
            <p:nvPr/>
          </p:nvSpPr>
          <p:spPr>
            <a:xfrm>
              <a:off x="-9289971" y="2933981"/>
              <a:ext cx="1516724" cy="1346102"/>
            </a:xfrm>
            <a:custGeom>
              <a:avLst/>
              <a:gdLst>
                <a:gd name="connsiteX0" fmla="*/ 349541 w 1516724"/>
                <a:gd name="connsiteY0" fmla="*/ 654148 h 1346102"/>
                <a:gd name="connsiteX1" fmla="*/ 345149 w 1516724"/>
                <a:gd name="connsiteY1" fmla="*/ 805375 h 1346102"/>
                <a:gd name="connsiteX2" fmla="*/ 340758 w 1516724"/>
                <a:gd name="connsiteY2" fmla="*/ 1253783 h 1346102"/>
                <a:gd name="connsiteX3" fmla="*/ 753532 w 1516724"/>
                <a:gd name="connsiteY3" fmla="*/ 1269609 h 1346102"/>
                <a:gd name="connsiteX4" fmla="*/ 783392 w 1516724"/>
                <a:gd name="connsiteY4" fmla="*/ 1219493 h 1346102"/>
                <a:gd name="connsiteX5" fmla="*/ 822035 w 1516724"/>
                <a:gd name="connsiteY5" fmla="*/ 1272247 h 1346102"/>
                <a:gd name="connsiteX6" fmla="*/ 1222514 w 1516724"/>
                <a:gd name="connsiteY6" fmla="*/ 1287194 h 1346102"/>
                <a:gd name="connsiteX7" fmla="*/ 1208462 w 1516724"/>
                <a:gd name="connsiteY7" fmla="*/ 867801 h 1346102"/>
                <a:gd name="connsiteX8" fmla="*/ 1182993 w 1516724"/>
                <a:gd name="connsiteY8" fmla="*/ 659423 h 1346102"/>
                <a:gd name="connsiteX9" fmla="*/ 1219879 w 1516724"/>
                <a:gd name="connsiteY9" fmla="*/ 859888 h 1346102"/>
                <a:gd name="connsiteX10" fmla="*/ 1311216 w 1516724"/>
                <a:gd name="connsiteY10" fmla="*/ 1346102 h 1346102"/>
                <a:gd name="connsiteX11" fmla="*/ 1516725 w 1516724"/>
                <a:gd name="connsiteY11" fmla="*/ 1337310 h 1346102"/>
                <a:gd name="connsiteX12" fmla="*/ 1459639 w 1516724"/>
                <a:gd name="connsiteY12" fmla="*/ 726244 h 1346102"/>
                <a:gd name="connsiteX13" fmla="*/ 1283990 w 1516724"/>
                <a:gd name="connsiteY13" fmla="*/ 144194 h 1346102"/>
                <a:gd name="connsiteX14" fmla="*/ 1214610 w 1516724"/>
                <a:gd name="connsiteY14" fmla="*/ 76493 h 1346102"/>
                <a:gd name="connsiteX15" fmla="*/ 994170 w 1516724"/>
                <a:gd name="connsiteY15" fmla="*/ 13188 h 1346102"/>
                <a:gd name="connsiteX16" fmla="*/ 908103 w 1516724"/>
                <a:gd name="connsiteY16" fmla="*/ 0 h 1346102"/>
                <a:gd name="connsiteX17" fmla="*/ 784271 w 1516724"/>
                <a:gd name="connsiteY17" fmla="*/ 555674 h 1346102"/>
                <a:gd name="connsiteX18" fmla="*/ 647265 w 1516724"/>
                <a:gd name="connsiteY18" fmla="*/ 4396 h 1346102"/>
                <a:gd name="connsiteX19" fmla="*/ 329341 w 1516724"/>
                <a:gd name="connsiteY19" fmla="*/ 88802 h 1346102"/>
                <a:gd name="connsiteX20" fmla="*/ 5270 w 1516724"/>
                <a:gd name="connsiteY20" fmla="*/ 729761 h 1346102"/>
                <a:gd name="connsiteX21" fmla="*/ 0 w 1516724"/>
                <a:gd name="connsiteY21" fmla="*/ 766689 h 134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16724" h="1346102">
                  <a:moveTo>
                    <a:pt x="349541" y="654148"/>
                  </a:moveTo>
                  <a:lnTo>
                    <a:pt x="345149" y="805375"/>
                  </a:lnTo>
                  <a:cubicBezTo>
                    <a:pt x="324071" y="962758"/>
                    <a:pt x="323193" y="1152671"/>
                    <a:pt x="340758" y="1253783"/>
                  </a:cubicBezTo>
                  <a:lnTo>
                    <a:pt x="753532" y="1269609"/>
                  </a:lnTo>
                  <a:lnTo>
                    <a:pt x="783392" y="1219493"/>
                  </a:lnTo>
                  <a:lnTo>
                    <a:pt x="822035" y="1272247"/>
                  </a:lnTo>
                  <a:lnTo>
                    <a:pt x="1222514" y="1287194"/>
                  </a:lnTo>
                  <a:lnTo>
                    <a:pt x="1208462" y="867801"/>
                  </a:lnTo>
                  <a:lnTo>
                    <a:pt x="1182993" y="659423"/>
                  </a:lnTo>
                  <a:lnTo>
                    <a:pt x="1219879" y="859888"/>
                  </a:lnTo>
                  <a:cubicBezTo>
                    <a:pt x="1243592" y="1108710"/>
                    <a:pt x="1311216" y="1346102"/>
                    <a:pt x="1311216" y="1346102"/>
                  </a:cubicBezTo>
                  <a:lnTo>
                    <a:pt x="1516725" y="1337310"/>
                  </a:lnTo>
                  <a:cubicBezTo>
                    <a:pt x="1516725" y="1337310"/>
                    <a:pt x="1486865" y="1076178"/>
                    <a:pt x="1459639" y="726244"/>
                  </a:cubicBezTo>
                  <a:cubicBezTo>
                    <a:pt x="1431535" y="376311"/>
                    <a:pt x="1283990" y="144194"/>
                    <a:pt x="1283990" y="144194"/>
                  </a:cubicBezTo>
                  <a:cubicBezTo>
                    <a:pt x="1283990" y="144194"/>
                    <a:pt x="1261156" y="90561"/>
                    <a:pt x="1214610" y="76493"/>
                  </a:cubicBezTo>
                  <a:cubicBezTo>
                    <a:pt x="1181236" y="60667"/>
                    <a:pt x="1087264" y="32532"/>
                    <a:pt x="994170" y="13188"/>
                  </a:cubicBezTo>
                  <a:cubicBezTo>
                    <a:pt x="967823" y="7913"/>
                    <a:pt x="938841" y="2638"/>
                    <a:pt x="908103" y="0"/>
                  </a:cubicBezTo>
                  <a:cubicBezTo>
                    <a:pt x="903712" y="0"/>
                    <a:pt x="784271" y="555674"/>
                    <a:pt x="784271" y="555674"/>
                  </a:cubicBezTo>
                  <a:lnTo>
                    <a:pt x="647265" y="4396"/>
                  </a:lnTo>
                  <a:cubicBezTo>
                    <a:pt x="556806" y="17585"/>
                    <a:pt x="432974" y="43962"/>
                    <a:pt x="329341" y="88802"/>
                  </a:cubicBezTo>
                  <a:cubicBezTo>
                    <a:pt x="329341" y="88802"/>
                    <a:pt x="199361" y="283992"/>
                    <a:pt x="5270" y="729761"/>
                  </a:cubicBezTo>
                  <a:cubicBezTo>
                    <a:pt x="5270" y="731520"/>
                    <a:pt x="0" y="763172"/>
                    <a:pt x="0" y="766689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44CE408B-9CC9-5001-6E33-A93158960B14}"/>
                </a:ext>
              </a:extLst>
            </p:cNvPr>
            <p:cNvSpPr/>
            <p:nvPr/>
          </p:nvSpPr>
          <p:spPr>
            <a:xfrm>
              <a:off x="-9291728" y="3588129"/>
              <a:ext cx="420678" cy="768447"/>
            </a:xfrm>
            <a:custGeom>
              <a:avLst/>
              <a:gdLst>
                <a:gd name="connsiteX0" fmla="*/ 351297 w 420678"/>
                <a:gd name="connsiteY0" fmla="*/ 0 h 768447"/>
                <a:gd name="connsiteX1" fmla="*/ 274012 w 420678"/>
                <a:gd name="connsiteY1" fmla="*/ 162658 h 768447"/>
                <a:gd name="connsiteX2" fmla="*/ 420678 w 420678"/>
                <a:gd name="connsiteY2" fmla="*/ 575896 h 768447"/>
                <a:gd name="connsiteX3" fmla="*/ 359201 w 420678"/>
                <a:gd name="connsiteY3" fmla="*/ 768448 h 768447"/>
                <a:gd name="connsiteX4" fmla="*/ 0 w 420678"/>
                <a:gd name="connsiteY4" fmla="*/ 85285 h 76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0678" h="768447">
                  <a:moveTo>
                    <a:pt x="351297" y="0"/>
                  </a:moveTo>
                  <a:cubicBezTo>
                    <a:pt x="319680" y="46599"/>
                    <a:pt x="303872" y="127488"/>
                    <a:pt x="274012" y="162658"/>
                  </a:cubicBezTo>
                  <a:cubicBezTo>
                    <a:pt x="279281" y="288388"/>
                    <a:pt x="343393" y="429944"/>
                    <a:pt x="420678" y="575896"/>
                  </a:cubicBezTo>
                  <a:cubicBezTo>
                    <a:pt x="390818" y="677008"/>
                    <a:pt x="374131" y="697230"/>
                    <a:pt x="359201" y="768448"/>
                  </a:cubicBezTo>
                  <a:cubicBezTo>
                    <a:pt x="2635" y="439615"/>
                    <a:pt x="2635" y="156503"/>
                    <a:pt x="0" y="85285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2DF17E33-2AB0-BE26-7226-38D79C903319}"/>
                </a:ext>
              </a:extLst>
            </p:cNvPr>
            <p:cNvSpPr/>
            <p:nvPr/>
          </p:nvSpPr>
          <p:spPr>
            <a:xfrm>
              <a:off x="-8507457" y="2940136"/>
              <a:ext cx="244151" cy="548639"/>
            </a:xfrm>
            <a:custGeom>
              <a:avLst/>
              <a:gdLst>
                <a:gd name="connsiteX0" fmla="*/ 0 w 244151"/>
                <a:gd name="connsiteY0" fmla="*/ 548640 h 548639"/>
                <a:gd name="connsiteX1" fmla="*/ 207265 w 244151"/>
                <a:gd name="connsiteY1" fmla="*/ 151228 h 548639"/>
                <a:gd name="connsiteX2" fmla="*/ 176527 w 244151"/>
                <a:gd name="connsiteY2" fmla="*/ 117817 h 548639"/>
                <a:gd name="connsiteX3" fmla="*/ 244151 w 244151"/>
                <a:gd name="connsiteY3" fmla="*/ 106387 h 548639"/>
                <a:gd name="connsiteX4" fmla="*/ 185309 w 244151"/>
                <a:gd name="connsiteY4" fmla="*/ 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51" h="548639">
                  <a:moveTo>
                    <a:pt x="0" y="548640"/>
                  </a:moveTo>
                  <a:lnTo>
                    <a:pt x="207265" y="151228"/>
                  </a:lnTo>
                  <a:lnTo>
                    <a:pt x="176527" y="117817"/>
                  </a:lnTo>
                  <a:lnTo>
                    <a:pt x="244151" y="106387"/>
                  </a:lnTo>
                  <a:lnTo>
                    <a:pt x="185309" y="0"/>
                  </a:lnTo>
                </a:path>
              </a:pathLst>
            </a:custGeom>
            <a:noFill/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49D5E40E-12AA-6AF7-AEEF-E60ADD7470AE}"/>
                </a:ext>
              </a:extLst>
            </p:cNvPr>
            <p:cNvSpPr/>
            <p:nvPr/>
          </p:nvSpPr>
          <p:spPr>
            <a:xfrm>
              <a:off x="-8743705" y="2944532"/>
              <a:ext cx="236247" cy="1208942"/>
            </a:xfrm>
            <a:custGeom>
              <a:avLst/>
              <a:gdLst>
                <a:gd name="connsiteX0" fmla="*/ 56208 w 236247"/>
                <a:gd name="connsiteY0" fmla="*/ 0 h 1208942"/>
                <a:gd name="connsiteX1" fmla="*/ 0 w 236247"/>
                <a:gd name="connsiteY1" fmla="*/ 101991 h 1208942"/>
                <a:gd name="connsiteX2" fmla="*/ 67625 w 236247"/>
                <a:gd name="connsiteY2" fmla="*/ 113421 h 1208942"/>
                <a:gd name="connsiteX3" fmla="*/ 36886 w 236247"/>
                <a:gd name="connsiteY3" fmla="*/ 146831 h 1208942"/>
                <a:gd name="connsiteX4" fmla="*/ 236247 w 236247"/>
                <a:gd name="connsiteY4" fmla="*/ 547761 h 1208942"/>
                <a:gd name="connsiteX5" fmla="*/ 236247 w 236247"/>
                <a:gd name="connsiteY5" fmla="*/ 1208942 h 1208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247" h="1208942">
                  <a:moveTo>
                    <a:pt x="56208" y="0"/>
                  </a:moveTo>
                  <a:lnTo>
                    <a:pt x="0" y="101991"/>
                  </a:lnTo>
                  <a:lnTo>
                    <a:pt x="67625" y="113421"/>
                  </a:lnTo>
                  <a:lnTo>
                    <a:pt x="36886" y="146831"/>
                  </a:lnTo>
                  <a:lnTo>
                    <a:pt x="236247" y="547761"/>
                  </a:lnTo>
                  <a:lnTo>
                    <a:pt x="236247" y="1208942"/>
                  </a:lnTo>
                </a:path>
              </a:pathLst>
            </a:custGeom>
            <a:noFill/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52388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7537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798983"/>
            <a:ext cx="5545138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075636"/>
            <a:ext cx="5545138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596235"/>
            <a:ext cx="5545137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E9A298C-07CA-F134-C3C8-D3F72B21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9" name="footnotes">
            <a:extLst>
              <a:ext uri="{FF2B5EF4-FFF2-40B4-BE49-F238E27FC236}">
                <a16:creationId xmlns:a16="http://schemas.microsoft.com/office/drawing/2014/main" id="{07A7F6E9-1BEA-8C95-8A28-731013871F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DF0B514-35E3-A49C-6843-A20134B59A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4750" y="1003085"/>
            <a:ext cx="4615031" cy="461503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86F3A0CA-C609-156E-73D6-BFA86EB70D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-1337470" y="526821"/>
            <a:ext cx="8250013" cy="5804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826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798983"/>
            <a:ext cx="5545138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075636"/>
            <a:ext cx="5545138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596235"/>
            <a:ext cx="5545137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E9A298C-07CA-F134-C3C8-D3F72B21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9" name="footnotes">
            <a:extLst>
              <a:ext uri="{FF2B5EF4-FFF2-40B4-BE49-F238E27FC236}">
                <a16:creationId xmlns:a16="http://schemas.microsoft.com/office/drawing/2014/main" id="{07A7F6E9-1BEA-8C95-8A28-731013871F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0F50EF4-E1A4-37F2-ECDC-5E62C1054A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2483" y="361297"/>
            <a:ext cx="4957395" cy="4957395"/>
          </a:xfrm>
          <a:prstGeom prst="rect">
            <a:avLst/>
          </a:prstGeom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5DEEC82-212D-BD2E-2459-E1E7DC6E3757}"/>
              </a:ext>
            </a:extLst>
          </p:cNvPr>
          <p:cNvGrpSpPr/>
          <p:nvPr userDrawn="1"/>
        </p:nvGrpSpPr>
        <p:grpSpPr>
          <a:xfrm flipH="1">
            <a:off x="541041" y="1318598"/>
            <a:ext cx="4578868" cy="4487869"/>
            <a:chOff x="421405" y="-3684236"/>
            <a:chExt cx="3739328" cy="3665014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BBD1C27-2FF7-B41F-8750-0E4423288A19}"/>
                </a:ext>
              </a:extLst>
            </p:cNvPr>
            <p:cNvSpPr/>
            <p:nvPr/>
          </p:nvSpPr>
          <p:spPr>
            <a:xfrm>
              <a:off x="421405" y="-439923"/>
              <a:ext cx="3739328" cy="45719"/>
            </a:xfrm>
            <a:custGeom>
              <a:avLst/>
              <a:gdLst>
                <a:gd name="connsiteX0" fmla="*/ 0 w 5964109"/>
                <a:gd name="connsiteY0" fmla="*/ 0 h 8792"/>
                <a:gd name="connsiteX1" fmla="*/ 5964109 w 5964109"/>
                <a:gd name="connsiteY1" fmla="*/ 0 h 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64109" h="8792">
                  <a:moveTo>
                    <a:pt x="0" y="0"/>
                  </a:moveTo>
                  <a:lnTo>
                    <a:pt x="5964109" y="0"/>
                  </a:lnTo>
                </a:path>
              </a:pathLst>
            </a:custGeom>
            <a:ln w="1317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0" name="Graphic 9">
              <a:extLst>
                <a:ext uri="{FF2B5EF4-FFF2-40B4-BE49-F238E27FC236}">
                  <a16:creationId xmlns:a16="http://schemas.microsoft.com/office/drawing/2014/main" id="{AF96A6AB-8661-42C2-B967-C70B960459B9}"/>
                </a:ext>
              </a:extLst>
            </p:cNvPr>
            <p:cNvGrpSpPr/>
            <p:nvPr/>
          </p:nvGrpSpPr>
          <p:grpSpPr>
            <a:xfrm>
              <a:off x="2220365" y="-3684236"/>
              <a:ext cx="1564725" cy="3665014"/>
              <a:chOff x="2220365" y="-3684236"/>
              <a:chExt cx="1564725" cy="3665014"/>
            </a:xfrm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C7702BCC-9379-00EA-F0E3-CDB8E8862E60}"/>
                  </a:ext>
                </a:extLst>
              </p:cNvPr>
              <p:cNvSpPr/>
              <p:nvPr/>
            </p:nvSpPr>
            <p:spPr>
              <a:xfrm>
                <a:off x="2661568" y="-3684236"/>
                <a:ext cx="553182" cy="552571"/>
              </a:xfrm>
              <a:custGeom>
                <a:avLst/>
                <a:gdLst>
                  <a:gd name="connsiteX0" fmla="*/ 522741 w 553182"/>
                  <a:gd name="connsiteY0" fmla="*/ 139580 h 552571"/>
                  <a:gd name="connsiteX1" fmla="*/ 394518 w 553182"/>
                  <a:gd name="connsiteY1" fmla="*/ 519408 h 552571"/>
                  <a:gd name="connsiteX2" fmla="*/ 104700 w 553182"/>
                  <a:gd name="connsiteY2" fmla="*/ 445552 h 552571"/>
                  <a:gd name="connsiteX3" fmla="*/ 63423 w 553182"/>
                  <a:gd name="connsiteY3" fmla="*/ 76275 h 552571"/>
                  <a:gd name="connsiteX4" fmla="*/ 522741 w 553182"/>
                  <a:gd name="connsiteY4" fmla="*/ 139580 h 55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182" h="552571">
                    <a:moveTo>
                      <a:pt x="522741" y="139580"/>
                    </a:moveTo>
                    <a:cubicBezTo>
                      <a:pt x="602661" y="338286"/>
                      <a:pt x="513080" y="473688"/>
                      <a:pt x="394518" y="519408"/>
                    </a:cubicBezTo>
                    <a:cubicBezTo>
                      <a:pt x="257513" y="573041"/>
                      <a:pt x="200427" y="570403"/>
                      <a:pt x="104700" y="445552"/>
                    </a:cubicBezTo>
                    <a:cubicBezTo>
                      <a:pt x="8094" y="320702"/>
                      <a:pt x="-52505" y="165957"/>
                      <a:pt x="63423" y="76275"/>
                    </a:cubicBezTo>
                    <a:cubicBezTo>
                      <a:pt x="179350" y="-13406"/>
                      <a:pt x="442821" y="-58247"/>
                      <a:pt x="522741" y="139580"/>
                    </a:cubicBezTo>
                    <a:close/>
                  </a:path>
                </a:pathLst>
              </a:custGeom>
              <a:solidFill>
                <a:srgbClr val="CBCBCB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72" name="Graphic 9">
                <a:extLst>
                  <a:ext uri="{FF2B5EF4-FFF2-40B4-BE49-F238E27FC236}">
                    <a16:creationId xmlns:a16="http://schemas.microsoft.com/office/drawing/2014/main" id="{62A1ED42-A28C-0016-7E92-EEC7FD74D07A}"/>
                  </a:ext>
                </a:extLst>
              </p:cNvPr>
              <p:cNvGrpSpPr/>
              <p:nvPr/>
            </p:nvGrpSpPr>
            <p:grpSpPr>
              <a:xfrm>
                <a:off x="2220365" y="-3478714"/>
                <a:ext cx="1564725" cy="3459492"/>
                <a:chOff x="2220365" y="-3478714"/>
                <a:chExt cx="1564725" cy="3459492"/>
              </a:xfrm>
            </p:grpSpPr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80D7655D-2EEB-AC3B-9B19-0181C31D5C41}"/>
                    </a:ext>
                  </a:extLst>
                </p:cNvPr>
                <p:cNvSpPr/>
                <p:nvPr/>
              </p:nvSpPr>
              <p:spPr>
                <a:xfrm>
                  <a:off x="2651219" y="-3478714"/>
                  <a:ext cx="384668" cy="529318"/>
                </a:xfrm>
                <a:custGeom>
                  <a:avLst/>
                  <a:gdLst>
                    <a:gd name="connsiteX0" fmla="*/ 0 w 384668"/>
                    <a:gd name="connsiteY0" fmla="*/ 225083 h 529318"/>
                    <a:gd name="connsiteX1" fmla="*/ 8782 w 384668"/>
                    <a:gd name="connsiteY1" fmla="*/ 241788 h 529318"/>
                    <a:gd name="connsiteX2" fmla="*/ 2635 w 384668"/>
                    <a:gd name="connsiteY2" fmla="*/ 250581 h 529318"/>
                    <a:gd name="connsiteX3" fmla="*/ 14930 w 384668"/>
                    <a:gd name="connsiteY3" fmla="*/ 269045 h 529318"/>
                    <a:gd name="connsiteX4" fmla="*/ 21956 w 384668"/>
                    <a:gd name="connsiteY4" fmla="*/ 296301 h 529318"/>
                    <a:gd name="connsiteX5" fmla="*/ 49182 w 384668"/>
                    <a:gd name="connsiteY5" fmla="*/ 320040 h 529318"/>
                    <a:gd name="connsiteX6" fmla="*/ 104510 w 384668"/>
                    <a:gd name="connsiteY6" fmla="*/ 308610 h 529318"/>
                    <a:gd name="connsiteX7" fmla="*/ 125588 w 384668"/>
                    <a:gd name="connsiteY7" fmla="*/ 304214 h 529318"/>
                    <a:gd name="connsiteX8" fmla="*/ 132614 w 384668"/>
                    <a:gd name="connsiteY8" fmla="*/ 429065 h 529318"/>
                    <a:gd name="connsiteX9" fmla="*/ 90459 w 384668"/>
                    <a:gd name="connsiteY9" fmla="*/ 465992 h 529318"/>
                    <a:gd name="connsiteX10" fmla="*/ 384668 w 384668"/>
                    <a:gd name="connsiteY10" fmla="*/ 474785 h 529318"/>
                    <a:gd name="connsiteX11" fmla="*/ 292453 w 384668"/>
                    <a:gd name="connsiteY11" fmla="*/ 271682 h 529318"/>
                    <a:gd name="connsiteX12" fmla="*/ 292453 w 384668"/>
                    <a:gd name="connsiteY12" fmla="*/ 269924 h 529318"/>
                    <a:gd name="connsiteX13" fmla="*/ 287184 w 384668"/>
                    <a:gd name="connsiteY13" fmla="*/ 269924 h 529318"/>
                    <a:gd name="connsiteX14" fmla="*/ 254689 w 384668"/>
                    <a:gd name="connsiteY14" fmla="*/ 249702 h 529318"/>
                    <a:gd name="connsiteX15" fmla="*/ 263471 w 384668"/>
                    <a:gd name="connsiteY15" fmla="*/ 221566 h 529318"/>
                    <a:gd name="connsiteX16" fmla="*/ 218681 w 384668"/>
                    <a:gd name="connsiteY16" fmla="*/ 152986 h 529318"/>
                    <a:gd name="connsiteX17" fmla="*/ 187065 w 384668"/>
                    <a:gd name="connsiteY17" fmla="*/ 157382 h 529318"/>
                    <a:gd name="connsiteX18" fmla="*/ 197603 w 384668"/>
                    <a:gd name="connsiteY18" fmla="*/ 108145 h 529318"/>
                    <a:gd name="connsiteX19" fmla="*/ 165987 w 384668"/>
                    <a:gd name="connsiteY19" fmla="*/ 41324 h 529318"/>
                    <a:gd name="connsiteX20" fmla="*/ 122075 w 384668"/>
                    <a:gd name="connsiteY20" fmla="*/ 7913 h 529318"/>
                    <a:gd name="connsiteX21" fmla="*/ 97485 w 384668"/>
                    <a:gd name="connsiteY21" fmla="*/ 0 h 529318"/>
                    <a:gd name="connsiteX22" fmla="*/ 46547 w 384668"/>
                    <a:gd name="connsiteY22" fmla="*/ 99353 h 529318"/>
                    <a:gd name="connsiteX23" fmla="*/ 39521 w 384668"/>
                    <a:gd name="connsiteY23" fmla="*/ 139798 h 529318"/>
                    <a:gd name="connsiteX24" fmla="*/ 5270 w 384668"/>
                    <a:gd name="connsiteY24" fmla="*/ 168812 h 529318"/>
                    <a:gd name="connsiteX25" fmla="*/ 2635 w 384668"/>
                    <a:gd name="connsiteY25" fmla="*/ 189914 h 529318"/>
                    <a:gd name="connsiteX26" fmla="*/ 18443 w 384668"/>
                    <a:gd name="connsiteY26" fmla="*/ 203982 h 529318"/>
                    <a:gd name="connsiteX27" fmla="*/ 0 w 384668"/>
                    <a:gd name="connsiteY27" fmla="*/ 222445 h 529318"/>
                    <a:gd name="connsiteX28" fmla="*/ 0 w 384668"/>
                    <a:gd name="connsiteY28" fmla="*/ 225083 h 529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84668" h="529318">
                      <a:moveTo>
                        <a:pt x="0" y="225083"/>
                      </a:moveTo>
                      <a:cubicBezTo>
                        <a:pt x="1757" y="233875"/>
                        <a:pt x="8782" y="241788"/>
                        <a:pt x="8782" y="241788"/>
                      </a:cubicBezTo>
                      <a:lnTo>
                        <a:pt x="2635" y="250581"/>
                      </a:lnTo>
                      <a:cubicBezTo>
                        <a:pt x="-1756" y="267286"/>
                        <a:pt x="14930" y="269045"/>
                        <a:pt x="14930" y="269045"/>
                      </a:cubicBezTo>
                      <a:cubicBezTo>
                        <a:pt x="14930" y="269045"/>
                        <a:pt x="16687" y="275199"/>
                        <a:pt x="21956" y="296301"/>
                      </a:cubicBezTo>
                      <a:cubicBezTo>
                        <a:pt x="27226" y="317402"/>
                        <a:pt x="49182" y="320040"/>
                        <a:pt x="49182" y="320040"/>
                      </a:cubicBezTo>
                      <a:lnTo>
                        <a:pt x="104510" y="308610"/>
                      </a:lnTo>
                      <a:lnTo>
                        <a:pt x="125588" y="304214"/>
                      </a:lnTo>
                      <a:lnTo>
                        <a:pt x="132614" y="429065"/>
                      </a:lnTo>
                      <a:cubicBezTo>
                        <a:pt x="127344" y="451925"/>
                        <a:pt x="90459" y="465992"/>
                        <a:pt x="90459" y="465992"/>
                      </a:cubicBezTo>
                      <a:cubicBezTo>
                        <a:pt x="217803" y="603152"/>
                        <a:pt x="384668" y="474785"/>
                        <a:pt x="384668" y="474785"/>
                      </a:cubicBezTo>
                      <a:cubicBezTo>
                        <a:pt x="305627" y="437857"/>
                        <a:pt x="294210" y="325315"/>
                        <a:pt x="292453" y="271682"/>
                      </a:cubicBezTo>
                      <a:lnTo>
                        <a:pt x="292453" y="269924"/>
                      </a:lnTo>
                      <a:lnTo>
                        <a:pt x="287184" y="269924"/>
                      </a:lnTo>
                      <a:cubicBezTo>
                        <a:pt x="287184" y="269924"/>
                        <a:pt x="259080" y="267286"/>
                        <a:pt x="254689" y="249702"/>
                      </a:cubicBezTo>
                      <a:cubicBezTo>
                        <a:pt x="252933" y="242668"/>
                        <a:pt x="254689" y="233875"/>
                        <a:pt x="263471" y="221566"/>
                      </a:cubicBezTo>
                      <a:cubicBezTo>
                        <a:pt x="294210" y="177605"/>
                        <a:pt x="253811" y="128368"/>
                        <a:pt x="218681" y="152986"/>
                      </a:cubicBezTo>
                      <a:cubicBezTo>
                        <a:pt x="198482" y="167054"/>
                        <a:pt x="187065" y="157382"/>
                        <a:pt x="187065" y="157382"/>
                      </a:cubicBezTo>
                      <a:cubicBezTo>
                        <a:pt x="187065" y="157382"/>
                        <a:pt x="207264" y="126609"/>
                        <a:pt x="197603" y="108145"/>
                      </a:cubicBezTo>
                      <a:cubicBezTo>
                        <a:pt x="181795" y="79131"/>
                        <a:pt x="204630" y="54512"/>
                        <a:pt x="165987" y="41324"/>
                      </a:cubicBezTo>
                      <a:cubicBezTo>
                        <a:pt x="147544" y="35169"/>
                        <a:pt x="155448" y="14947"/>
                        <a:pt x="122075" y="7913"/>
                      </a:cubicBezTo>
                      <a:cubicBezTo>
                        <a:pt x="111536" y="5275"/>
                        <a:pt x="97485" y="0"/>
                        <a:pt x="97485" y="0"/>
                      </a:cubicBezTo>
                      <a:cubicBezTo>
                        <a:pt x="49182" y="35169"/>
                        <a:pt x="48303" y="72976"/>
                        <a:pt x="46547" y="99353"/>
                      </a:cubicBezTo>
                      <a:cubicBezTo>
                        <a:pt x="44790" y="130126"/>
                        <a:pt x="39521" y="139798"/>
                        <a:pt x="39521" y="139798"/>
                      </a:cubicBezTo>
                      <a:lnTo>
                        <a:pt x="5270" y="168812"/>
                      </a:lnTo>
                      <a:cubicBezTo>
                        <a:pt x="5270" y="168812"/>
                        <a:pt x="-3513" y="180242"/>
                        <a:pt x="2635" y="189914"/>
                      </a:cubicBezTo>
                      <a:cubicBezTo>
                        <a:pt x="7904" y="197827"/>
                        <a:pt x="20200" y="193431"/>
                        <a:pt x="18443" y="203982"/>
                      </a:cubicBezTo>
                      <a:cubicBezTo>
                        <a:pt x="16687" y="214532"/>
                        <a:pt x="0" y="222445"/>
                        <a:pt x="0" y="222445"/>
                      </a:cubicBezTo>
                      <a:lnTo>
                        <a:pt x="0" y="225083"/>
                      </a:ln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C522C1AF-CFF1-B4C0-558A-FC86A599FED5}"/>
                    </a:ext>
                  </a:extLst>
                </p:cNvPr>
                <p:cNvSpPr/>
                <p:nvPr/>
              </p:nvSpPr>
              <p:spPr>
                <a:xfrm>
                  <a:off x="2559004" y="-543842"/>
                  <a:ext cx="166865" cy="142435"/>
                </a:xfrm>
                <a:custGeom>
                  <a:avLst/>
                  <a:gdLst>
                    <a:gd name="connsiteX0" fmla="*/ 10539 w 166865"/>
                    <a:gd name="connsiteY0" fmla="*/ 0 h 142435"/>
                    <a:gd name="connsiteX1" fmla="*/ 0 w 166865"/>
                    <a:gd name="connsiteY1" fmla="*/ 101112 h 142435"/>
                    <a:gd name="connsiteX2" fmla="*/ 68503 w 166865"/>
                    <a:gd name="connsiteY2" fmla="*/ 123092 h 142435"/>
                    <a:gd name="connsiteX3" fmla="*/ 125588 w 166865"/>
                    <a:gd name="connsiteY3" fmla="*/ 142435 h 142435"/>
                    <a:gd name="connsiteX4" fmla="*/ 166865 w 166865"/>
                    <a:gd name="connsiteY4" fmla="*/ 8792 h 142435"/>
                    <a:gd name="connsiteX5" fmla="*/ 10539 w 166865"/>
                    <a:gd name="connsiteY5" fmla="*/ 0 h 142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6865" h="142435">
                      <a:moveTo>
                        <a:pt x="10539" y="0"/>
                      </a:moveTo>
                      <a:cubicBezTo>
                        <a:pt x="7026" y="36049"/>
                        <a:pt x="3513" y="70338"/>
                        <a:pt x="0" y="101112"/>
                      </a:cubicBezTo>
                      <a:cubicBezTo>
                        <a:pt x="17565" y="101991"/>
                        <a:pt x="57964" y="105508"/>
                        <a:pt x="68503" y="123092"/>
                      </a:cubicBezTo>
                      <a:cubicBezTo>
                        <a:pt x="78163" y="138918"/>
                        <a:pt x="108024" y="141556"/>
                        <a:pt x="125588" y="142435"/>
                      </a:cubicBezTo>
                      <a:cubicBezTo>
                        <a:pt x="136127" y="101112"/>
                        <a:pt x="150179" y="55391"/>
                        <a:pt x="166865" y="8792"/>
                      </a:cubicBezTo>
                      <a:cubicBezTo>
                        <a:pt x="115927" y="11430"/>
                        <a:pt x="58842" y="10551"/>
                        <a:pt x="10539" y="0"/>
                      </a:cubicBez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3959433E-C706-6678-20E9-54B2617F09B7}"/>
                    </a:ext>
                  </a:extLst>
                </p:cNvPr>
                <p:cNvSpPr/>
                <p:nvPr/>
              </p:nvSpPr>
              <p:spPr>
                <a:xfrm>
                  <a:off x="2291069" y="-453281"/>
                  <a:ext cx="426896" cy="398715"/>
                </a:xfrm>
                <a:custGeom>
                  <a:avLst/>
                  <a:gdLst>
                    <a:gd name="connsiteX0" fmla="*/ 409332 w 426896"/>
                    <a:gd name="connsiteY0" fmla="*/ 101112 h 398715"/>
                    <a:gd name="connsiteX1" fmla="*/ 419871 w 426896"/>
                    <a:gd name="connsiteY1" fmla="*/ 34290 h 398715"/>
                    <a:gd name="connsiteX2" fmla="*/ 344342 w 426896"/>
                    <a:gd name="connsiteY2" fmla="*/ 23739 h 398715"/>
                    <a:gd name="connsiteX3" fmla="*/ 255640 w 426896"/>
                    <a:gd name="connsiteY3" fmla="*/ 0 h 398715"/>
                    <a:gd name="connsiteX4" fmla="*/ 215241 w 426896"/>
                    <a:gd name="connsiteY4" fmla="*/ 183759 h 398715"/>
                    <a:gd name="connsiteX5" fmla="*/ 22907 w 426896"/>
                    <a:gd name="connsiteY5" fmla="*/ 299818 h 398715"/>
                    <a:gd name="connsiteX6" fmla="*/ 73 w 426896"/>
                    <a:gd name="connsiteY6" fmla="*/ 356088 h 398715"/>
                    <a:gd name="connsiteX7" fmla="*/ 51011 w 426896"/>
                    <a:gd name="connsiteY7" fmla="*/ 394775 h 398715"/>
                    <a:gd name="connsiteX8" fmla="*/ 207337 w 426896"/>
                    <a:gd name="connsiteY8" fmla="*/ 394775 h 398715"/>
                    <a:gd name="connsiteX9" fmla="*/ 308334 w 426896"/>
                    <a:gd name="connsiteY9" fmla="*/ 345538 h 398715"/>
                    <a:gd name="connsiteX10" fmla="*/ 310969 w 426896"/>
                    <a:gd name="connsiteY10" fmla="*/ 398292 h 398715"/>
                    <a:gd name="connsiteX11" fmla="*/ 426897 w 426896"/>
                    <a:gd name="connsiteY11" fmla="*/ 398292 h 398715"/>
                    <a:gd name="connsiteX12" fmla="*/ 426897 w 426896"/>
                    <a:gd name="connsiteY12" fmla="*/ 327953 h 398715"/>
                    <a:gd name="connsiteX13" fmla="*/ 406697 w 426896"/>
                    <a:gd name="connsiteY13" fmla="*/ 218049 h 398715"/>
                    <a:gd name="connsiteX14" fmla="*/ 408453 w 426896"/>
                    <a:gd name="connsiteY14" fmla="*/ 101991 h 398715"/>
                    <a:gd name="connsiteX15" fmla="*/ 408453 w 426896"/>
                    <a:gd name="connsiteY15" fmla="*/ 101991 h 398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426896" h="398715">
                      <a:moveTo>
                        <a:pt x="409332" y="101112"/>
                      </a:moveTo>
                      <a:cubicBezTo>
                        <a:pt x="416358" y="74735"/>
                        <a:pt x="419871" y="34290"/>
                        <a:pt x="419871" y="34290"/>
                      </a:cubicBezTo>
                      <a:cubicBezTo>
                        <a:pt x="419871" y="34290"/>
                        <a:pt x="354881" y="38686"/>
                        <a:pt x="344342" y="23739"/>
                      </a:cubicBezTo>
                      <a:cubicBezTo>
                        <a:pt x="332925" y="7034"/>
                        <a:pt x="255640" y="0"/>
                        <a:pt x="255640" y="0"/>
                      </a:cubicBezTo>
                      <a:cubicBezTo>
                        <a:pt x="255640" y="0"/>
                        <a:pt x="253006" y="117817"/>
                        <a:pt x="215241" y="183759"/>
                      </a:cubicBezTo>
                      <a:cubicBezTo>
                        <a:pt x="177477" y="249702"/>
                        <a:pt x="51889" y="267286"/>
                        <a:pt x="22907" y="299818"/>
                      </a:cubicBezTo>
                      <a:cubicBezTo>
                        <a:pt x="6221" y="319161"/>
                        <a:pt x="-805" y="337625"/>
                        <a:pt x="73" y="356088"/>
                      </a:cubicBezTo>
                      <a:cubicBezTo>
                        <a:pt x="73" y="373673"/>
                        <a:pt x="38716" y="393016"/>
                        <a:pt x="51011" y="394775"/>
                      </a:cubicBezTo>
                      <a:cubicBezTo>
                        <a:pt x="62428" y="396533"/>
                        <a:pt x="203824" y="402688"/>
                        <a:pt x="207337" y="394775"/>
                      </a:cubicBezTo>
                      <a:cubicBezTo>
                        <a:pt x="237197" y="343779"/>
                        <a:pt x="308334" y="345538"/>
                        <a:pt x="308334" y="345538"/>
                      </a:cubicBezTo>
                      <a:lnTo>
                        <a:pt x="310969" y="398292"/>
                      </a:lnTo>
                      <a:lnTo>
                        <a:pt x="426897" y="398292"/>
                      </a:lnTo>
                      <a:lnTo>
                        <a:pt x="426897" y="327953"/>
                      </a:lnTo>
                      <a:cubicBezTo>
                        <a:pt x="426897" y="275199"/>
                        <a:pt x="406697" y="218049"/>
                        <a:pt x="406697" y="218049"/>
                      </a:cubicBezTo>
                      <a:cubicBezTo>
                        <a:pt x="408453" y="203982"/>
                        <a:pt x="401427" y="128368"/>
                        <a:pt x="408453" y="101991"/>
                      </a:cubicBezTo>
                      <a:lnTo>
                        <a:pt x="408453" y="101991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751B8B19-90D5-5BD8-9762-28FA90CB15A8}"/>
                    </a:ext>
                  </a:extLst>
                </p:cNvPr>
                <p:cNvSpPr/>
                <p:nvPr/>
              </p:nvSpPr>
              <p:spPr>
                <a:xfrm>
                  <a:off x="2494015" y="-2376158"/>
                  <a:ext cx="797439" cy="1864088"/>
                </a:xfrm>
                <a:custGeom>
                  <a:avLst/>
                  <a:gdLst>
                    <a:gd name="connsiteX0" fmla="*/ 795683 w 797439"/>
                    <a:gd name="connsiteY0" fmla="*/ 722727 h 1864088"/>
                    <a:gd name="connsiteX1" fmla="*/ 722789 w 797439"/>
                    <a:gd name="connsiteY1" fmla="*/ 722727 h 1864088"/>
                    <a:gd name="connsiteX2" fmla="*/ 650774 w 797439"/>
                    <a:gd name="connsiteY2" fmla="*/ 0 h 1864088"/>
                    <a:gd name="connsiteX3" fmla="*/ 477761 w 797439"/>
                    <a:gd name="connsiteY3" fmla="*/ 2638 h 1864088"/>
                    <a:gd name="connsiteX4" fmla="*/ 303870 w 797439"/>
                    <a:gd name="connsiteY4" fmla="*/ 43962 h 1864088"/>
                    <a:gd name="connsiteX5" fmla="*/ 111536 w 797439"/>
                    <a:gd name="connsiteY5" fmla="*/ 72097 h 1864088"/>
                    <a:gd name="connsiteX6" fmla="*/ 53572 w 797439"/>
                    <a:gd name="connsiteY6" fmla="*/ 757897 h 1864088"/>
                    <a:gd name="connsiteX7" fmla="*/ 0 w 797439"/>
                    <a:gd name="connsiteY7" fmla="*/ 1822645 h 1864088"/>
                    <a:gd name="connsiteX8" fmla="*/ 34251 w 797439"/>
                    <a:gd name="connsiteY8" fmla="*/ 1832317 h 1864088"/>
                    <a:gd name="connsiteX9" fmla="*/ 190578 w 797439"/>
                    <a:gd name="connsiteY9" fmla="*/ 1841109 h 1864088"/>
                    <a:gd name="connsiteX10" fmla="*/ 326704 w 797439"/>
                    <a:gd name="connsiteY10" fmla="*/ 1826162 h 1864088"/>
                    <a:gd name="connsiteX11" fmla="*/ 432971 w 797439"/>
                    <a:gd name="connsiteY11" fmla="*/ 753501 h 1864088"/>
                    <a:gd name="connsiteX12" fmla="*/ 482152 w 797439"/>
                    <a:gd name="connsiteY12" fmla="*/ 1841988 h 1864088"/>
                    <a:gd name="connsiteX13" fmla="*/ 578758 w 797439"/>
                    <a:gd name="connsiteY13" fmla="*/ 1859573 h 1864088"/>
                    <a:gd name="connsiteX14" fmla="*/ 720155 w 797439"/>
                    <a:gd name="connsiteY14" fmla="*/ 1856935 h 1864088"/>
                    <a:gd name="connsiteX15" fmla="*/ 797439 w 797439"/>
                    <a:gd name="connsiteY15" fmla="*/ 1819128 h 1864088"/>
                    <a:gd name="connsiteX16" fmla="*/ 794805 w 797439"/>
                    <a:gd name="connsiteY16" fmla="*/ 723607 h 1864088"/>
                    <a:gd name="connsiteX17" fmla="*/ 795683 w 797439"/>
                    <a:gd name="connsiteY17" fmla="*/ 723607 h 1864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97439" h="1864088">
                      <a:moveTo>
                        <a:pt x="795683" y="722727"/>
                      </a:moveTo>
                      <a:lnTo>
                        <a:pt x="722789" y="722727"/>
                      </a:lnTo>
                      <a:cubicBezTo>
                        <a:pt x="722789" y="722727"/>
                        <a:pt x="654287" y="266407"/>
                        <a:pt x="650774" y="0"/>
                      </a:cubicBezTo>
                      <a:lnTo>
                        <a:pt x="477761" y="2638"/>
                      </a:lnTo>
                      <a:cubicBezTo>
                        <a:pt x="459318" y="11430"/>
                        <a:pt x="350416" y="27256"/>
                        <a:pt x="303870" y="43962"/>
                      </a:cubicBezTo>
                      <a:cubicBezTo>
                        <a:pt x="257323" y="60667"/>
                        <a:pt x="148422" y="72097"/>
                        <a:pt x="111536" y="72097"/>
                      </a:cubicBezTo>
                      <a:lnTo>
                        <a:pt x="53572" y="757897"/>
                      </a:lnTo>
                      <a:lnTo>
                        <a:pt x="0" y="1822645"/>
                      </a:lnTo>
                      <a:cubicBezTo>
                        <a:pt x="10539" y="1826162"/>
                        <a:pt x="21956" y="1829679"/>
                        <a:pt x="34251" y="1832317"/>
                      </a:cubicBezTo>
                      <a:cubicBezTo>
                        <a:pt x="82554" y="1842868"/>
                        <a:pt x="139639" y="1843747"/>
                        <a:pt x="190578" y="1841109"/>
                      </a:cubicBezTo>
                      <a:cubicBezTo>
                        <a:pt x="265228" y="1837592"/>
                        <a:pt x="326704" y="1826162"/>
                        <a:pt x="326704" y="1826162"/>
                      </a:cubicBezTo>
                      <a:lnTo>
                        <a:pt x="432971" y="753501"/>
                      </a:lnTo>
                      <a:lnTo>
                        <a:pt x="482152" y="1841988"/>
                      </a:lnTo>
                      <a:cubicBezTo>
                        <a:pt x="518160" y="1850781"/>
                        <a:pt x="549776" y="1856056"/>
                        <a:pt x="578758" y="1859573"/>
                      </a:cubicBezTo>
                      <a:cubicBezTo>
                        <a:pt x="641113" y="1867486"/>
                        <a:pt x="686782" y="1863969"/>
                        <a:pt x="720155" y="1856935"/>
                      </a:cubicBezTo>
                      <a:cubicBezTo>
                        <a:pt x="778997" y="1844626"/>
                        <a:pt x="797439" y="1819128"/>
                        <a:pt x="797439" y="1819128"/>
                      </a:cubicBezTo>
                      <a:cubicBezTo>
                        <a:pt x="797439" y="1819128"/>
                        <a:pt x="797439" y="1153551"/>
                        <a:pt x="794805" y="723607"/>
                      </a:cubicBezTo>
                      <a:lnTo>
                        <a:pt x="795683" y="723607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5D28027A-B8FD-09D7-6D15-C286CAB40BA7}"/>
                    </a:ext>
                  </a:extLst>
                </p:cNvPr>
                <p:cNvSpPr/>
                <p:nvPr/>
              </p:nvSpPr>
              <p:spPr>
                <a:xfrm>
                  <a:off x="2475571" y="-2426275"/>
                  <a:ext cx="50059" cy="113420"/>
                </a:xfrm>
                <a:custGeom>
                  <a:avLst/>
                  <a:gdLst>
                    <a:gd name="connsiteX0" fmla="*/ 0 w 50059"/>
                    <a:gd name="connsiteY0" fmla="*/ 84406 h 113420"/>
                    <a:gd name="connsiteX1" fmla="*/ 36886 w 50059"/>
                    <a:gd name="connsiteY1" fmla="*/ 113421 h 113420"/>
                    <a:gd name="connsiteX2" fmla="*/ 50060 w 50059"/>
                    <a:gd name="connsiteY2" fmla="*/ 0 h 113420"/>
                    <a:gd name="connsiteX3" fmla="*/ 0 w 50059"/>
                    <a:gd name="connsiteY3" fmla="*/ 84406 h 113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059" h="113420">
                      <a:moveTo>
                        <a:pt x="0" y="84406"/>
                      </a:moveTo>
                      <a:lnTo>
                        <a:pt x="36886" y="113421"/>
                      </a:lnTo>
                      <a:lnTo>
                        <a:pt x="50060" y="0"/>
                      </a:lnTo>
                      <a:lnTo>
                        <a:pt x="0" y="84406"/>
                      </a:lnTo>
                      <a:close/>
                    </a:path>
                  </a:pathLst>
                </a:custGeom>
                <a:noFill/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12EB2099-87A0-ED72-B4E0-1E8DAC2828D1}"/>
                    </a:ext>
                  </a:extLst>
                </p:cNvPr>
                <p:cNvSpPr/>
                <p:nvPr/>
              </p:nvSpPr>
              <p:spPr>
                <a:xfrm>
                  <a:off x="3073651" y="-519223"/>
                  <a:ext cx="141395" cy="71217"/>
                </a:xfrm>
                <a:custGeom>
                  <a:avLst/>
                  <a:gdLst>
                    <a:gd name="connsiteX0" fmla="*/ 0 w 141395"/>
                    <a:gd name="connsiteY0" fmla="*/ 2638 h 71217"/>
                    <a:gd name="connsiteX1" fmla="*/ 7026 w 141395"/>
                    <a:gd name="connsiteY1" fmla="*/ 71218 h 71217"/>
                    <a:gd name="connsiteX2" fmla="*/ 134370 w 141395"/>
                    <a:gd name="connsiteY2" fmla="*/ 64184 h 71217"/>
                    <a:gd name="connsiteX3" fmla="*/ 141396 w 141395"/>
                    <a:gd name="connsiteY3" fmla="*/ 0 h 71217"/>
                    <a:gd name="connsiteX4" fmla="*/ 0 w 141395"/>
                    <a:gd name="connsiteY4" fmla="*/ 2638 h 71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395" h="71217">
                      <a:moveTo>
                        <a:pt x="0" y="2638"/>
                      </a:moveTo>
                      <a:lnTo>
                        <a:pt x="7026" y="71218"/>
                      </a:lnTo>
                      <a:cubicBezTo>
                        <a:pt x="13174" y="66822"/>
                        <a:pt x="50060" y="39565"/>
                        <a:pt x="134370" y="64184"/>
                      </a:cubicBezTo>
                      <a:lnTo>
                        <a:pt x="141396" y="0"/>
                      </a:lnTo>
                      <a:cubicBezTo>
                        <a:pt x="108023" y="7034"/>
                        <a:pt x="62355" y="10551"/>
                        <a:pt x="0" y="2638"/>
                      </a:cubicBez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CD6CB29A-1F50-9C41-28A5-7EF4A807CE69}"/>
                    </a:ext>
                  </a:extLst>
                </p:cNvPr>
                <p:cNvSpPr/>
                <p:nvPr/>
              </p:nvSpPr>
              <p:spPr>
                <a:xfrm>
                  <a:off x="3526822" y="-3191643"/>
                  <a:ext cx="258268" cy="413676"/>
                </a:xfrm>
                <a:custGeom>
                  <a:avLst/>
                  <a:gdLst>
                    <a:gd name="connsiteX0" fmla="*/ 256445 w 258268"/>
                    <a:gd name="connsiteY0" fmla="*/ 81327 h 413676"/>
                    <a:gd name="connsiteX1" fmla="*/ 238881 w 258268"/>
                    <a:gd name="connsiteY1" fmla="*/ 84844 h 413676"/>
                    <a:gd name="connsiteX2" fmla="*/ 191456 w 258268"/>
                    <a:gd name="connsiteY2" fmla="*/ 157820 h 413676"/>
                    <a:gd name="connsiteX3" fmla="*/ 238881 w 258268"/>
                    <a:gd name="connsiteY3" fmla="*/ 36486 h 413676"/>
                    <a:gd name="connsiteX4" fmla="*/ 218681 w 258268"/>
                    <a:gd name="connsiteY4" fmla="*/ 44399 h 413676"/>
                    <a:gd name="connsiteX5" fmla="*/ 172135 w 258268"/>
                    <a:gd name="connsiteY5" fmla="*/ 122651 h 413676"/>
                    <a:gd name="connsiteX6" fmla="*/ 209899 w 258268"/>
                    <a:gd name="connsiteY6" fmla="*/ 4834 h 413676"/>
                    <a:gd name="connsiteX7" fmla="*/ 182673 w 258268"/>
                    <a:gd name="connsiteY7" fmla="*/ 23298 h 413676"/>
                    <a:gd name="connsiteX8" fmla="*/ 144031 w 258268"/>
                    <a:gd name="connsiteY8" fmla="*/ 103308 h 413676"/>
                    <a:gd name="connsiteX9" fmla="*/ 163352 w 258268"/>
                    <a:gd name="connsiteY9" fmla="*/ 16264 h 413676"/>
                    <a:gd name="connsiteX10" fmla="*/ 144031 w 258268"/>
                    <a:gd name="connsiteY10" fmla="*/ 8351 h 413676"/>
                    <a:gd name="connsiteX11" fmla="*/ 109780 w 258268"/>
                    <a:gd name="connsiteY11" fmla="*/ 111221 h 413676"/>
                    <a:gd name="connsiteX12" fmla="*/ 75529 w 258268"/>
                    <a:gd name="connsiteY12" fmla="*/ 154303 h 413676"/>
                    <a:gd name="connsiteX13" fmla="*/ 43912 w 258268"/>
                    <a:gd name="connsiteY13" fmla="*/ 130564 h 413676"/>
                    <a:gd name="connsiteX14" fmla="*/ 43912 w 258268"/>
                    <a:gd name="connsiteY14" fmla="*/ 130564 h 413676"/>
                    <a:gd name="connsiteX15" fmla="*/ 0 w 258268"/>
                    <a:gd name="connsiteY15" fmla="*/ 120013 h 413676"/>
                    <a:gd name="connsiteX16" fmla="*/ 19321 w 258268"/>
                    <a:gd name="connsiteY16" fmla="*/ 150786 h 413676"/>
                    <a:gd name="connsiteX17" fmla="*/ 38643 w 258268"/>
                    <a:gd name="connsiteY17" fmla="*/ 207057 h 413676"/>
                    <a:gd name="connsiteX18" fmla="*/ 50938 w 258268"/>
                    <a:gd name="connsiteY18" fmla="*/ 236072 h 413676"/>
                    <a:gd name="connsiteX19" fmla="*/ 57964 w 258268"/>
                    <a:gd name="connsiteY19" fmla="*/ 261569 h 413676"/>
                    <a:gd name="connsiteX20" fmla="*/ 35129 w 258268"/>
                    <a:gd name="connsiteY20" fmla="*/ 355647 h 413676"/>
                    <a:gd name="connsiteX21" fmla="*/ 136127 w 258268"/>
                    <a:gd name="connsiteY21" fmla="*/ 413676 h 413676"/>
                    <a:gd name="connsiteX22" fmla="*/ 136127 w 258268"/>
                    <a:gd name="connsiteY22" fmla="*/ 286188 h 413676"/>
                    <a:gd name="connsiteX23" fmla="*/ 210777 w 258268"/>
                    <a:gd name="connsiteY23" fmla="*/ 180680 h 413676"/>
                    <a:gd name="connsiteX24" fmla="*/ 257323 w 258268"/>
                    <a:gd name="connsiteY24" fmla="*/ 80448 h 413676"/>
                    <a:gd name="connsiteX25" fmla="*/ 256445 w 258268"/>
                    <a:gd name="connsiteY25" fmla="*/ 80448 h 413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58268" h="413676">
                      <a:moveTo>
                        <a:pt x="256445" y="81327"/>
                      </a:moveTo>
                      <a:cubicBezTo>
                        <a:pt x="248541" y="66380"/>
                        <a:pt x="238881" y="84844"/>
                        <a:pt x="238881" y="84844"/>
                      </a:cubicBezTo>
                      <a:lnTo>
                        <a:pt x="191456" y="157820"/>
                      </a:lnTo>
                      <a:cubicBezTo>
                        <a:pt x="191456" y="157820"/>
                        <a:pt x="245028" y="69018"/>
                        <a:pt x="238881" y="36486"/>
                      </a:cubicBezTo>
                      <a:cubicBezTo>
                        <a:pt x="238881" y="36486"/>
                        <a:pt x="228342" y="17143"/>
                        <a:pt x="218681" y="44399"/>
                      </a:cubicBezTo>
                      <a:cubicBezTo>
                        <a:pt x="209020" y="71655"/>
                        <a:pt x="172135" y="122651"/>
                        <a:pt x="172135" y="122651"/>
                      </a:cubicBezTo>
                      <a:cubicBezTo>
                        <a:pt x="172135" y="122651"/>
                        <a:pt x="222194" y="23298"/>
                        <a:pt x="209899" y="4834"/>
                      </a:cubicBezTo>
                      <a:cubicBezTo>
                        <a:pt x="197603" y="-12751"/>
                        <a:pt x="182673" y="23298"/>
                        <a:pt x="182673" y="23298"/>
                      </a:cubicBezTo>
                      <a:lnTo>
                        <a:pt x="144031" y="103308"/>
                      </a:lnTo>
                      <a:cubicBezTo>
                        <a:pt x="144031" y="103308"/>
                        <a:pt x="168622" y="32969"/>
                        <a:pt x="163352" y="16264"/>
                      </a:cubicBezTo>
                      <a:cubicBezTo>
                        <a:pt x="158083" y="-1321"/>
                        <a:pt x="148422" y="-2200"/>
                        <a:pt x="144031" y="8351"/>
                      </a:cubicBezTo>
                      <a:cubicBezTo>
                        <a:pt x="140518" y="18902"/>
                        <a:pt x="119441" y="100670"/>
                        <a:pt x="109780" y="111221"/>
                      </a:cubicBezTo>
                      <a:cubicBezTo>
                        <a:pt x="105388" y="115617"/>
                        <a:pt x="81676" y="145511"/>
                        <a:pt x="75529" y="154303"/>
                      </a:cubicBezTo>
                      <a:cubicBezTo>
                        <a:pt x="66746" y="168371"/>
                        <a:pt x="54451" y="152545"/>
                        <a:pt x="43912" y="130564"/>
                      </a:cubicBezTo>
                      <a:lnTo>
                        <a:pt x="43912" y="130564"/>
                      </a:lnTo>
                      <a:cubicBezTo>
                        <a:pt x="30738" y="97153"/>
                        <a:pt x="879" y="107704"/>
                        <a:pt x="0" y="120013"/>
                      </a:cubicBezTo>
                      <a:cubicBezTo>
                        <a:pt x="0" y="128805"/>
                        <a:pt x="14052" y="143752"/>
                        <a:pt x="19321" y="150786"/>
                      </a:cubicBezTo>
                      <a:cubicBezTo>
                        <a:pt x="24591" y="156941"/>
                        <a:pt x="36886" y="200023"/>
                        <a:pt x="38643" y="207057"/>
                      </a:cubicBezTo>
                      <a:cubicBezTo>
                        <a:pt x="41277" y="222004"/>
                        <a:pt x="46546" y="227279"/>
                        <a:pt x="50938" y="236072"/>
                      </a:cubicBezTo>
                      <a:cubicBezTo>
                        <a:pt x="50938" y="238709"/>
                        <a:pt x="57964" y="259811"/>
                        <a:pt x="57964" y="261569"/>
                      </a:cubicBezTo>
                      <a:lnTo>
                        <a:pt x="35129" y="355647"/>
                      </a:lnTo>
                      <a:lnTo>
                        <a:pt x="136127" y="413676"/>
                      </a:lnTo>
                      <a:lnTo>
                        <a:pt x="136127" y="286188"/>
                      </a:lnTo>
                      <a:lnTo>
                        <a:pt x="210777" y="180680"/>
                      </a:lnTo>
                      <a:cubicBezTo>
                        <a:pt x="210777" y="180680"/>
                        <a:pt x="266106" y="95395"/>
                        <a:pt x="257323" y="80448"/>
                      </a:cubicBezTo>
                      <a:lnTo>
                        <a:pt x="256445" y="80448"/>
                      </a:lnTo>
                      <a:close/>
                    </a:path>
                  </a:pathLst>
                </a:custGeom>
                <a:solidFill>
                  <a:srgbClr val="7A3E1A"/>
                </a:solidFill>
                <a:ln w="1317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72E20D25-901E-F4B7-4EC0-8791909670F4}"/>
                    </a:ext>
                  </a:extLst>
                </p:cNvPr>
                <p:cNvSpPr/>
                <p:nvPr/>
              </p:nvSpPr>
              <p:spPr>
                <a:xfrm>
                  <a:off x="3046313" y="-469317"/>
                  <a:ext cx="206498" cy="450095"/>
                </a:xfrm>
                <a:custGeom>
                  <a:avLst/>
                  <a:gdLst>
                    <a:gd name="connsiteX0" fmla="*/ 206499 w 206498"/>
                    <a:gd name="connsiteY0" fmla="*/ 391467 h 450095"/>
                    <a:gd name="connsiteX1" fmla="*/ 189813 w 206498"/>
                    <a:gd name="connsiteY1" fmla="*/ 292114 h 450095"/>
                    <a:gd name="connsiteX2" fmla="*/ 173126 w 206498"/>
                    <a:gd name="connsiteY2" fmla="*/ 176056 h 450095"/>
                    <a:gd name="connsiteX3" fmla="*/ 167857 w 206498"/>
                    <a:gd name="connsiteY3" fmla="*/ 18674 h 450095"/>
                    <a:gd name="connsiteX4" fmla="*/ 28217 w 206498"/>
                    <a:gd name="connsiteY4" fmla="*/ 25707 h 450095"/>
                    <a:gd name="connsiteX5" fmla="*/ 35243 w 206498"/>
                    <a:gd name="connsiteY5" fmla="*/ 126819 h 450095"/>
                    <a:gd name="connsiteX6" fmla="*/ 10652 w 206498"/>
                    <a:gd name="connsiteY6" fmla="*/ 284201 h 450095"/>
                    <a:gd name="connsiteX7" fmla="*/ 10652 w 206498"/>
                    <a:gd name="connsiteY7" fmla="*/ 407293 h 450095"/>
                    <a:gd name="connsiteX8" fmla="*/ 174005 w 206498"/>
                    <a:gd name="connsiteY8" fmla="*/ 438066 h 450095"/>
                    <a:gd name="connsiteX9" fmla="*/ 206499 w 206498"/>
                    <a:gd name="connsiteY9" fmla="*/ 391467 h 450095"/>
                    <a:gd name="connsiteX10" fmla="*/ 206499 w 206498"/>
                    <a:gd name="connsiteY10" fmla="*/ 391467 h 450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06498" h="450095">
                      <a:moveTo>
                        <a:pt x="206499" y="391467"/>
                      </a:moveTo>
                      <a:cubicBezTo>
                        <a:pt x="206499" y="349264"/>
                        <a:pt x="189813" y="292114"/>
                        <a:pt x="189813" y="292114"/>
                      </a:cubicBezTo>
                      <a:cubicBezTo>
                        <a:pt x="189813" y="270134"/>
                        <a:pt x="173126" y="176056"/>
                        <a:pt x="173126" y="176056"/>
                      </a:cubicBezTo>
                      <a:lnTo>
                        <a:pt x="167857" y="18674"/>
                      </a:lnTo>
                      <a:cubicBezTo>
                        <a:pt x="138875" y="-7703"/>
                        <a:pt x="49295" y="-6824"/>
                        <a:pt x="28217" y="25707"/>
                      </a:cubicBezTo>
                      <a:cubicBezTo>
                        <a:pt x="18556" y="40654"/>
                        <a:pt x="35243" y="126819"/>
                        <a:pt x="35243" y="126819"/>
                      </a:cubicBezTo>
                      <a:cubicBezTo>
                        <a:pt x="35243" y="126819"/>
                        <a:pt x="15922" y="234964"/>
                        <a:pt x="10652" y="284201"/>
                      </a:cubicBezTo>
                      <a:cubicBezTo>
                        <a:pt x="5383" y="334317"/>
                        <a:pt x="-10425" y="343110"/>
                        <a:pt x="10652" y="407293"/>
                      </a:cubicBezTo>
                      <a:cubicBezTo>
                        <a:pt x="31730" y="471477"/>
                        <a:pt x="160831" y="446859"/>
                        <a:pt x="174005" y="438066"/>
                      </a:cubicBezTo>
                      <a:cubicBezTo>
                        <a:pt x="189813" y="428395"/>
                        <a:pt x="206499" y="416965"/>
                        <a:pt x="206499" y="391467"/>
                      </a:cubicBezTo>
                      <a:lnTo>
                        <a:pt x="206499" y="391467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DD67CC58-D16D-4601-A6FB-08B1CDFD1AF6}"/>
                    </a:ext>
                  </a:extLst>
                </p:cNvPr>
                <p:cNvSpPr/>
                <p:nvPr/>
              </p:nvSpPr>
              <p:spPr>
                <a:xfrm>
                  <a:off x="2833014" y="-3239563"/>
                  <a:ext cx="69380" cy="130126"/>
                </a:xfrm>
                <a:custGeom>
                  <a:avLst/>
                  <a:gdLst>
                    <a:gd name="connsiteX0" fmla="*/ 879 w 69380"/>
                    <a:gd name="connsiteY0" fmla="*/ 65063 h 130126"/>
                    <a:gd name="connsiteX1" fmla="*/ 35129 w 69380"/>
                    <a:gd name="connsiteY1" fmla="*/ 130126 h 130126"/>
                    <a:gd name="connsiteX2" fmla="*/ 69381 w 69380"/>
                    <a:gd name="connsiteY2" fmla="*/ 65063 h 130126"/>
                    <a:gd name="connsiteX3" fmla="*/ 66746 w 69380"/>
                    <a:gd name="connsiteY3" fmla="*/ 41324 h 130126"/>
                    <a:gd name="connsiteX4" fmla="*/ 57964 w 69380"/>
                    <a:gd name="connsiteY4" fmla="*/ 17585 h 130126"/>
                    <a:gd name="connsiteX5" fmla="*/ 34251 w 69380"/>
                    <a:gd name="connsiteY5" fmla="*/ 0 h 130126"/>
                    <a:gd name="connsiteX6" fmla="*/ 2635 w 69380"/>
                    <a:gd name="connsiteY6" fmla="*/ 38686 h 130126"/>
                    <a:gd name="connsiteX7" fmla="*/ 0 w 69380"/>
                    <a:gd name="connsiteY7" fmla="*/ 53633 h 130126"/>
                    <a:gd name="connsiteX8" fmla="*/ 0 w 69380"/>
                    <a:gd name="connsiteY8" fmla="*/ 64184 h 130126"/>
                    <a:gd name="connsiteX9" fmla="*/ 0 w 69380"/>
                    <a:gd name="connsiteY9" fmla="*/ 64184 h 130126"/>
                    <a:gd name="connsiteX10" fmla="*/ 23713 w 69380"/>
                    <a:gd name="connsiteY10" fmla="*/ 50995 h 130126"/>
                    <a:gd name="connsiteX11" fmla="*/ 23713 w 69380"/>
                    <a:gd name="connsiteY11" fmla="*/ 37807 h 130126"/>
                    <a:gd name="connsiteX12" fmla="*/ 34251 w 69380"/>
                    <a:gd name="connsiteY12" fmla="*/ 14947 h 130126"/>
                    <a:gd name="connsiteX13" fmla="*/ 42155 w 69380"/>
                    <a:gd name="connsiteY13" fmla="*/ 25498 h 130126"/>
                    <a:gd name="connsiteX14" fmla="*/ 45668 w 69380"/>
                    <a:gd name="connsiteY14" fmla="*/ 44841 h 130126"/>
                    <a:gd name="connsiteX15" fmla="*/ 45668 w 69380"/>
                    <a:gd name="connsiteY15" fmla="*/ 50995 h 130126"/>
                    <a:gd name="connsiteX16" fmla="*/ 34251 w 69380"/>
                    <a:gd name="connsiteY16" fmla="*/ 86165 h 130126"/>
                    <a:gd name="connsiteX17" fmla="*/ 22834 w 69380"/>
                    <a:gd name="connsiteY17" fmla="*/ 51875 h 130126"/>
                    <a:gd name="connsiteX18" fmla="*/ 22834 w 69380"/>
                    <a:gd name="connsiteY18" fmla="*/ 51875 h 130126"/>
                    <a:gd name="connsiteX19" fmla="*/ 22834 w 69380"/>
                    <a:gd name="connsiteY19" fmla="*/ 51875 h 130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9380" h="130126">
                      <a:moveTo>
                        <a:pt x="879" y="65063"/>
                      </a:moveTo>
                      <a:cubicBezTo>
                        <a:pt x="879" y="101112"/>
                        <a:pt x="15808" y="130126"/>
                        <a:pt x="35129" y="130126"/>
                      </a:cubicBezTo>
                      <a:cubicBezTo>
                        <a:pt x="54451" y="130126"/>
                        <a:pt x="69381" y="101112"/>
                        <a:pt x="69381" y="65063"/>
                      </a:cubicBezTo>
                      <a:cubicBezTo>
                        <a:pt x="69381" y="29015"/>
                        <a:pt x="69381" y="49237"/>
                        <a:pt x="66746" y="41324"/>
                      </a:cubicBezTo>
                      <a:cubicBezTo>
                        <a:pt x="64990" y="32532"/>
                        <a:pt x="62355" y="24618"/>
                        <a:pt x="57964" y="17585"/>
                      </a:cubicBezTo>
                      <a:cubicBezTo>
                        <a:pt x="51816" y="7034"/>
                        <a:pt x="43912" y="0"/>
                        <a:pt x="34251" y="0"/>
                      </a:cubicBezTo>
                      <a:cubicBezTo>
                        <a:pt x="20199" y="0"/>
                        <a:pt x="7904" y="15826"/>
                        <a:pt x="2635" y="38686"/>
                      </a:cubicBezTo>
                      <a:cubicBezTo>
                        <a:pt x="2635" y="43082"/>
                        <a:pt x="879" y="48358"/>
                        <a:pt x="0" y="53633"/>
                      </a:cubicBezTo>
                      <a:lnTo>
                        <a:pt x="0" y="64184"/>
                      </a:lnTo>
                      <a:lnTo>
                        <a:pt x="0" y="64184"/>
                      </a:lnTo>
                      <a:close/>
                      <a:moveTo>
                        <a:pt x="23713" y="50995"/>
                      </a:moveTo>
                      <a:lnTo>
                        <a:pt x="23713" y="37807"/>
                      </a:lnTo>
                      <a:cubicBezTo>
                        <a:pt x="25469" y="24618"/>
                        <a:pt x="29860" y="14947"/>
                        <a:pt x="34251" y="14947"/>
                      </a:cubicBezTo>
                      <a:cubicBezTo>
                        <a:pt x="38643" y="14947"/>
                        <a:pt x="40399" y="19343"/>
                        <a:pt x="42155" y="25498"/>
                      </a:cubicBezTo>
                      <a:cubicBezTo>
                        <a:pt x="43912" y="30773"/>
                        <a:pt x="44790" y="36928"/>
                        <a:pt x="45668" y="44841"/>
                      </a:cubicBezTo>
                      <a:lnTo>
                        <a:pt x="45668" y="50995"/>
                      </a:lnTo>
                      <a:cubicBezTo>
                        <a:pt x="45668" y="70338"/>
                        <a:pt x="40399" y="86165"/>
                        <a:pt x="34251" y="86165"/>
                      </a:cubicBezTo>
                      <a:cubicBezTo>
                        <a:pt x="28104" y="86165"/>
                        <a:pt x="22834" y="71218"/>
                        <a:pt x="22834" y="51875"/>
                      </a:cubicBezTo>
                      <a:lnTo>
                        <a:pt x="22834" y="51875"/>
                      </a:lnTo>
                      <a:cubicBezTo>
                        <a:pt x="22834" y="51875"/>
                        <a:pt x="22834" y="51875"/>
                        <a:pt x="22834" y="51875"/>
                      </a:cubicBezTo>
                      <a:close/>
                    </a:path>
                  </a:pathLst>
                </a:custGeom>
                <a:solidFill>
                  <a:srgbClr val="FA69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A418274F-94CA-40EA-E48A-6C0383450B4F}"/>
                    </a:ext>
                  </a:extLst>
                </p:cNvPr>
                <p:cNvSpPr/>
                <p:nvPr/>
              </p:nvSpPr>
              <p:spPr>
                <a:xfrm>
                  <a:off x="2606429" y="-3026789"/>
                  <a:ext cx="555558" cy="763172"/>
                </a:xfrm>
                <a:custGeom>
                  <a:avLst/>
                  <a:gdLst>
                    <a:gd name="connsiteX0" fmla="*/ 410137 w 555558"/>
                    <a:gd name="connsiteY0" fmla="*/ 879 h 763172"/>
                    <a:gd name="connsiteX1" fmla="*/ 137883 w 555558"/>
                    <a:gd name="connsiteY1" fmla="*/ 22860 h 763172"/>
                    <a:gd name="connsiteX2" fmla="*/ 118562 w 555558"/>
                    <a:gd name="connsiteY2" fmla="*/ 87044 h 763172"/>
                    <a:gd name="connsiteX3" fmla="*/ 0 w 555558"/>
                    <a:gd name="connsiteY3" fmla="*/ 750863 h 763172"/>
                    <a:gd name="connsiteX4" fmla="*/ 33373 w 555558"/>
                    <a:gd name="connsiteY4" fmla="*/ 763172 h 763172"/>
                    <a:gd name="connsiteX5" fmla="*/ 186186 w 555558"/>
                    <a:gd name="connsiteY5" fmla="*/ 730641 h 763172"/>
                    <a:gd name="connsiteX6" fmla="*/ 555046 w 555558"/>
                    <a:gd name="connsiteY6" fmla="*/ 684041 h 763172"/>
                    <a:gd name="connsiteX7" fmla="*/ 410137 w 555558"/>
                    <a:gd name="connsiteY7" fmla="*/ 0 h 763172"/>
                    <a:gd name="connsiteX8" fmla="*/ 410137 w 555558"/>
                    <a:gd name="connsiteY8" fmla="*/ 0 h 763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55558" h="763172">
                      <a:moveTo>
                        <a:pt x="410137" y="879"/>
                      </a:moveTo>
                      <a:cubicBezTo>
                        <a:pt x="268740" y="109025"/>
                        <a:pt x="137883" y="22860"/>
                        <a:pt x="137883" y="22860"/>
                      </a:cubicBezTo>
                      <a:lnTo>
                        <a:pt x="118562" y="87044"/>
                      </a:lnTo>
                      <a:cubicBezTo>
                        <a:pt x="112414" y="118696"/>
                        <a:pt x="8782" y="708660"/>
                        <a:pt x="0" y="750863"/>
                      </a:cubicBezTo>
                      <a:cubicBezTo>
                        <a:pt x="7026" y="757897"/>
                        <a:pt x="19321" y="762293"/>
                        <a:pt x="33373" y="763172"/>
                      </a:cubicBezTo>
                      <a:cubicBezTo>
                        <a:pt x="104510" y="759655"/>
                        <a:pt x="138761" y="751742"/>
                        <a:pt x="186186" y="730641"/>
                      </a:cubicBezTo>
                      <a:cubicBezTo>
                        <a:pt x="320557" y="673491"/>
                        <a:pt x="555046" y="684041"/>
                        <a:pt x="555046" y="684041"/>
                      </a:cubicBezTo>
                      <a:cubicBezTo>
                        <a:pt x="565585" y="366639"/>
                        <a:pt x="410137" y="0"/>
                        <a:pt x="410137" y="0"/>
                      </a:cubicBezTo>
                      <a:lnTo>
                        <a:pt x="41013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C43FB64D-8339-82D1-5107-83A437A19E68}"/>
                    </a:ext>
                  </a:extLst>
                </p:cNvPr>
                <p:cNvSpPr/>
                <p:nvPr/>
              </p:nvSpPr>
              <p:spPr>
                <a:xfrm>
                  <a:off x="3003392" y="-3033823"/>
                  <a:ext cx="710493" cy="1381271"/>
                </a:xfrm>
                <a:custGeom>
                  <a:avLst/>
                  <a:gdLst>
                    <a:gd name="connsiteX0" fmla="*/ 620914 w 710493"/>
                    <a:gd name="connsiteY0" fmla="*/ 236513 h 1381271"/>
                    <a:gd name="connsiteX1" fmla="*/ 519917 w 710493"/>
                    <a:gd name="connsiteY1" fmla="*/ 178484 h 1381271"/>
                    <a:gd name="connsiteX2" fmla="*/ 513769 w 710493"/>
                    <a:gd name="connsiteY2" fmla="*/ 174967 h 1381271"/>
                    <a:gd name="connsiteX3" fmla="*/ 456683 w 710493"/>
                    <a:gd name="connsiteY3" fmla="*/ 315644 h 1381271"/>
                    <a:gd name="connsiteX4" fmla="*/ 228342 w 710493"/>
                    <a:gd name="connsiteY4" fmla="*/ 68580 h 1381271"/>
                    <a:gd name="connsiteX5" fmla="*/ 0 w 710493"/>
                    <a:gd name="connsiteY5" fmla="*/ 0 h 1381271"/>
                    <a:gd name="connsiteX6" fmla="*/ 79919 w 710493"/>
                    <a:gd name="connsiteY6" fmla="*/ 243547 h 1381271"/>
                    <a:gd name="connsiteX7" fmla="*/ 142275 w 710493"/>
                    <a:gd name="connsiteY7" fmla="*/ 617220 h 1381271"/>
                    <a:gd name="connsiteX8" fmla="*/ 142275 w 710493"/>
                    <a:gd name="connsiteY8" fmla="*/ 691955 h 1381271"/>
                    <a:gd name="connsiteX9" fmla="*/ 212534 w 710493"/>
                    <a:gd name="connsiteY9" fmla="*/ 1381271 h 1381271"/>
                    <a:gd name="connsiteX10" fmla="*/ 387302 w 710493"/>
                    <a:gd name="connsiteY10" fmla="*/ 1381271 h 1381271"/>
                    <a:gd name="connsiteX11" fmla="*/ 341634 w 710493"/>
                    <a:gd name="connsiteY11" fmla="*/ 711298 h 1381271"/>
                    <a:gd name="connsiteX12" fmla="*/ 310018 w 710493"/>
                    <a:gd name="connsiteY12" fmla="*/ 519625 h 1381271"/>
                    <a:gd name="connsiteX13" fmla="*/ 310018 w 710493"/>
                    <a:gd name="connsiteY13" fmla="*/ 521384 h 1381271"/>
                    <a:gd name="connsiteX14" fmla="*/ 519917 w 710493"/>
                    <a:gd name="connsiteY14" fmla="*/ 616341 h 1381271"/>
                    <a:gd name="connsiteX15" fmla="*/ 630574 w 710493"/>
                    <a:gd name="connsiteY15" fmla="*/ 559191 h 1381271"/>
                    <a:gd name="connsiteX16" fmla="*/ 710494 w 710493"/>
                    <a:gd name="connsiteY16" fmla="*/ 289267 h 1381271"/>
                    <a:gd name="connsiteX17" fmla="*/ 620035 w 710493"/>
                    <a:gd name="connsiteY17" fmla="*/ 237392 h 1381271"/>
                    <a:gd name="connsiteX18" fmla="*/ 620914 w 710493"/>
                    <a:gd name="connsiteY18" fmla="*/ 237392 h 1381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10493" h="1381271">
                      <a:moveTo>
                        <a:pt x="620914" y="236513"/>
                      </a:moveTo>
                      <a:lnTo>
                        <a:pt x="519917" y="178484"/>
                      </a:lnTo>
                      <a:lnTo>
                        <a:pt x="513769" y="174967"/>
                      </a:lnTo>
                      <a:lnTo>
                        <a:pt x="456683" y="315644"/>
                      </a:lnTo>
                      <a:cubicBezTo>
                        <a:pt x="456683" y="315644"/>
                        <a:pt x="285427" y="102870"/>
                        <a:pt x="228342" y="68580"/>
                      </a:cubicBezTo>
                      <a:cubicBezTo>
                        <a:pt x="171256" y="34290"/>
                        <a:pt x="0" y="0"/>
                        <a:pt x="0" y="0"/>
                      </a:cubicBezTo>
                      <a:lnTo>
                        <a:pt x="79919" y="243547"/>
                      </a:lnTo>
                      <a:cubicBezTo>
                        <a:pt x="79919" y="243547"/>
                        <a:pt x="138761" y="350813"/>
                        <a:pt x="142275" y="617220"/>
                      </a:cubicBezTo>
                      <a:lnTo>
                        <a:pt x="142275" y="691955"/>
                      </a:lnTo>
                      <a:cubicBezTo>
                        <a:pt x="145787" y="958361"/>
                        <a:pt x="212534" y="1381271"/>
                        <a:pt x="212534" y="1381271"/>
                      </a:cubicBezTo>
                      <a:lnTo>
                        <a:pt x="387302" y="1381271"/>
                      </a:lnTo>
                      <a:cubicBezTo>
                        <a:pt x="387302" y="1381271"/>
                        <a:pt x="349538" y="779878"/>
                        <a:pt x="341634" y="711298"/>
                      </a:cubicBezTo>
                      <a:cubicBezTo>
                        <a:pt x="337243" y="675249"/>
                        <a:pt x="323191" y="590843"/>
                        <a:pt x="310018" y="519625"/>
                      </a:cubicBezTo>
                      <a:lnTo>
                        <a:pt x="310018" y="521384"/>
                      </a:lnTo>
                      <a:cubicBezTo>
                        <a:pt x="310018" y="521384"/>
                        <a:pt x="459318" y="612824"/>
                        <a:pt x="519917" y="616341"/>
                      </a:cubicBezTo>
                      <a:cubicBezTo>
                        <a:pt x="580515" y="619858"/>
                        <a:pt x="630574" y="559191"/>
                        <a:pt x="630574" y="559191"/>
                      </a:cubicBezTo>
                      <a:lnTo>
                        <a:pt x="710494" y="289267"/>
                      </a:lnTo>
                      <a:lnTo>
                        <a:pt x="620035" y="237392"/>
                      </a:lnTo>
                      <a:lnTo>
                        <a:pt x="620914" y="23739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2833D898-95AA-7B3A-6FF0-FD0701272EB0}"/>
                    </a:ext>
                  </a:extLst>
                </p:cNvPr>
                <p:cNvSpPr/>
                <p:nvPr/>
              </p:nvSpPr>
              <p:spPr>
                <a:xfrm>
                  <a:off x="2220365" y="-3011842"/>
                  <a:ext cx="533607" cy="1359290"/>
                </a:xfrm>
                <a:custGeom>
                  <a:avLst/>
                  <a:gdLst>
                    <a:gd name="connsiteX0" fmla="*/ 521313 w 533607"/>
                    <a:gd name="connsiteY0" fmla="*/ 0 h 1359290"/>
                    <a:gd name="connsiteX1" fmla="*/ 258720 w 533607"/>
                    <a:gd name="connsiteY1" fmla="*/ 133643 h 1359290"/>
                    <a:gd name="connsiteX2" fmla="*/ 518 w 533607"/>
                    <a:gd name="connsiteY2" fmla="*/ 749984 h 1359290"/>
                    <a:gd name="connsiteX3" fmla="*/ 256085 w 533607"/>
                    <a:gd name="connsiteY3" fmla="*/ 993531 h 1359290"/>
                    <a:gd name="connsiteX4" fmla="*/ 216565 w 533607"/>
                    <a:gd name="connsiteY4" fmla="*/ 1317088 h 1359290"/>
                    <a:gd name="connsiteX5" fmla="*/ 216565 w 533607"/>
                    <a:gd name="connsiteY5" fmla="*/ 1359291 h 1359290"/>
                    <a:gd name="connsiteX6" fmla="*/ 350935 w 533607"/>
                    <a:gd name="connsiteY6" fmla="*/ 1355774 h 1359290"/>
                    <a:gd name="connsiteX7" fmla="*/ 533608 w 533607"/>
                    <a:gd name="connsiteY7" fmla="*/ 192551 h 1359290"/>
                    <a:gd name="connsiteX8" fmla="*/ 520434 w 533607"/>
                    <a:gd name="connsiteY8" fmla="*/ 879 h 1359290"/>
                    <a:gd name="connsiteX9" fmla="*/ 521313 w 533607"/>
                    <a:gd name="connsiteY9" fmla="*/ 879 h 1359290"/>
                    <a:gd name="connsiteX10" fmla="*/ 255207 w 533607"/>
                    <a:gd name="connsiteY10" fmla="*/ 669974 h 1359290"/>
                    <a:gd name="connsiteX11" fmla="*/ 305266 w 533607"/>
                    <a:gd name="connsiteY11" fmla="*/ 585568 h 1359290"/>
                    <a:gd name="connsiteX12" fmla="*/ 291215 w 533607"/>
                    <a:gd name="connsiteY12" fmla="*/ 698988 h 1359290"/>
                    <a:gd name="connsiteX13" fmla="*/ 254329 w 533607"/>
                    <a:gd name="connsiteY13" fmla="*/ 669974 h 1359290"/>
                    <a:gd name="connsiteX14" fmla="*/ 254329 w 533607"/>
                    <a:gd name="connsiteY14" fmla="*/ 669974 h 1359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33607" h="1359290">
                      <a:moveTo>
                        <a:pt x="521313" y="0"/>
                      </a:moveTo>
                      <a:cubicBezTo>
                        <a:pt x="521313" y="0"/>
                        <a:pt x="327222" y="60667"/>
                        <a:pt x="258720" y="133643"/>
                      </a:cubicBezTo>
                      <a:cubicBezTo>
                        <a:pt x="190217" y="205740"/>
                        <a:pt x="16327" y="633046"/>
                        <a:pt x="518" y="749984"/>
                      </a:cubicBezTo>
                      <a:cubicBezTo>
                        <a:pt x="-13534" y="854612"/>
                        <a:pt x="263111" y="997048"/>
                        <a:pt x="256085" y="993531"/>
                      </a:cubicBezTo>
                      <a:lnTo>
                        <a:pt x="216565" y="1317088"/>
                      </a:lnTo>
                      <a:lnTo>
                        <a:pt x="216565" y="1359291"/>
                      </a:lnTo>
                      <a:lnTo>
                        <a:pt x="350935" y="1355774"/>
                      </a:lnTo>
                      <a:cubicBezTo>
                        <a:pt x="350935" y="1355774"/>
                        <a:pt x="532730" y="281354"/>
                        <a:pt x="533608" y="192551"/>
                      </a:cubicBezTo>
                      <a:cubicBezTo>
                        <a:pt x="533608" y="82648"/>
                        <a:pt x="520434" y="879"/>
                        <a:pt x="520434" y="879"/>
                      </a:cubicBezTo>
                      <a:lnTo>
                        <a:pt x="521313" y="879"/>
                      </a:lnTo>
                      <a:close/>
                      <a:moveTo>
                        <a:pt x="255207" y="669974"/>
                      </a:moveTo>
                      <a:lnTo>
                        <a:pt x="305266" y="585568"/>
                      </a:lnTo>
                      <a:lnTo>
                        <a:pt x="291215" y="698988"/>
                      </a:lnTo>
                      <a:lnTo>
                        <a:pt x="254329" y="669974"/>
                      </a:lnTo>
                      <a:lnTo>
                        <a:pt x="254329" y="6699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2335A5A5-938D-9F28-DB7E-873E6D641F60}"/>
                    </a:ext>
                  </a:extLst>
                </p:cNvPr>
                <p:cNvSpPr/>
                <p:nvPr/>
              </p:nvSpPr>
              <p:spPr>
                <a:xfrm>
                  <a:off x="2558126" y="-2180090"/>
                  <a:ext cx="140517" cy="184638"/>
                </a:xfrm>
                <a:custGeom>
                  <a:avLst/>
                  <a:gdLst>
                    <a:gd name="connsiteX0" fmla="*/ 37764 w 140517"/>
                    <a:gd name="connsiteY0" fmla="*/ 0 h 184638"/>
                    <a:gd name="connsiteX1" fmla="*/ 0 w 140517"/>
                    <a:gd name="connsiteY1" fmla="*/ 119575 h 184638"/>
                    <a:gd name="connsiteX2" fmla="*/ 53572 w 140517"/>
                    <a:gd name="connsiteY2" fmla="*/ 121334 h 184638"/>
                    <a:gd name="connsiteX3" fmla="*/ 69381 w 140517"/>
                    <a:gd name="connsiteY3" fmla="*/ 154745 h 184638"/>
                    <a:gd name="connsiteX4" fmla="*/ 94850 w 140517"/>
                    <a:gd name="connsiteY4" fmla="*/ 184638 h 184638"/>
                    <a:gd name="connsiteX5" fmla="*/ 140518 w 140517"/>
                    <a:gd name="connsiteY5" fmla="*/ 34290 h 184638"/>
                    <a:gd name="connsiteX6" fmla="*/ 38643 w 140517"/>
                    <a:gd name="connsiteY6" fmla="*/ 0 h 184638"/>
                    <a:gd name="connsiteX7" fmla="*/ 37764 w 140517"/>
                    <a:gd name="connsiteY7" fmla="*/ 0 h 184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0517" h="184638">
                      <a:moveTo>
                        <a:pt x="37764" y="0"/>
                      </a:moveTo>
                      <a:lnTo>
                        <a:pt x="0" y="119575"/>
                      </a:lnTo>
                      <a:cubicBezTo>
                        <a:pt x="0" y="119575"/>
                        <a:pt x="41277" y="117817"/>
                        <a:pt x="53572" y="121334"/>
                      </a:cubicBezTo>
                      <a:cubicBezTo>
                        <a:pt x="65868" y="124851"/>
                        <a:pt x="61477" y="141556"/>
                        <a:pt x="69381" y="154745"/>
                      </a:cubicBezTo>
                      <a:cubicBezTo>
                        <a:pt x="77285" y="167933"/>
                        <a:pt x="94850" y="184638"/>
                        <a:pt x="94850" y="184638"/>
                      </a:cubicBezTo>
                      <a:cubicBezTo>
                        <a:pt x="119440" y="133643"/>
                        <a:pt x="138761" y="83527"/>
                        <a:pt x="140518" y="34290"/>
                      </a:cubicBezTo>
                      <a:lnTo>
                        <a:pt x="38643" y="0"/>
                      </a:lnTo>
                      <a:lnTo>
                        <a:pt x="37764" y="0"/>
                      </a:ln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6" name="Graphic 9">
              <a:extLst>
                <a:ext uri="{FF2B5EF4-FFF2-40B4-BE49-F238E27FC236}">
                  <a16:creationId xmlns:a16="http://schemas.microsoft.com/office/drawing/2014/main" id="{14599761-6CBF-C31A-70C3-E3BD7C705B04}"/>
                </a:ext>
              </a:extLst>
            </p:cNvPr>
            <p:cNvGrpSpPr/>
            <p:nvPr/>
          </p:nvGrpSpPr>
          <p:grpSpPr>
            <a:xfrm>
              <a:off x="1130112" y="-3452462"/>
              <a:ext cx="1518472" cy="3400500"/>
              <a:chOff x="1130112" y="-3452462"/>
              <a:chExt cx="1518472" cy="3400500"/>
            </a:xfrm>
          </p:grpSpPr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56F7BAF5-2C9A-7DD7-C60B-2520E2A05A80}"/>
                  </a:ext>
                </a:extLst>
              </p:cNvPr>
              <p:cNvSpPr/>
              <p:nvPr/>
            </p:nvSpPr>
            <p:spPr>
              <a:xfrm>
                <a:off x="2121642" y="-233473"/>
                <a:ext cx="147543" cy="60667"/>
              </a:xfrm>
              <a:custGeom>
                <a:avLst/>
                <a:gdLst>
                  <a:gd name="connsiteX0" fmla="*/ 9661 w 147543"/>
                  <a:gd name="connsiteY0" fmla="*/ 60667 h 60667"/>
                  <a:gd name="connsiteX1" fmla="*/ 147544 w 147543"/>
                  <a:gd name="connsiteY1" fmla="*/ 60667 h 60667"/>
                  <a:gd name="connsiteX2" fmla="*/ 142275 w 147543"/>
                  <a:gd name="connsiteY2" fmla="*/ 0 h 60667"/>
                  <a:gd name="connsiteX3" fmla="*/ 0 w 147543"/>
                  <a:gd name="connsiteY3" fmla="*/ 0 h 60667"/>
                  <a:gd name="connsiteX4" fmla="*/ 9661 w 147543"/>
                  <a:gd name="connsiteY4" fmla="*/ 60667 h 60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3" h="60667">
                    <a:moveTo>
                      <a:pt x="9661" y="60667"/>
                    </a:moveTo>
                    <a:cubicBezTo>
                      <a:pt x="69381" y="53633"/>
                      <a:pt x="143153" y="60667"/>
                      <a:pt x="147544" y="60667"/>
                    </a:cubicBezTo>
                    <a:lnTo>
                      <a:pt x="142275" y="0"/>
                    </a:lnTo>
                    <a:lnTo>
                      <a:pt x="0" y="0"/>
                    </a:lnTo>
                    <a:lnTo>
                      <a:pt x="9661" y="60667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E4D26EE0-817B-0484-1DC1-5550849565A1}"/>
                  </a:ext>
                </a:extLst>
              </p:cNvPr>
              <p:cNvSpPr/>
              <p:nvPr/>
            </p:nvSpPr>
            <p:spPr>
              <a:xfrm>
                <a:off x="1560449" y="-233473"/>
                <a:ext cx="147543" cy="91440"/>
              </a:xfrm>
              <a:custGeom>
                <a:avLst/>
                <a:gdLst>
                  <a:gd name="connsiteX0" fmla="*/ 0 w 147543"/>
                  <a:gd name="connsiteY0" fmla="*/ 51875 h 91440"/>
                  <a:gd name="connsiteX1" fmla="*/ 145787 w 147543"/>
                  <a:gd name="connsiteY1" fmla="*/ 91440 h 91440"/>
                  <a:gd name="connsiteX2" fmla="*/ 147544 w 147543"/>
                  <a:gd name="connsiteY2" fmla="*/ 0 h 91440"/>
                  <a:gd name="connsiteX3" fmla="*/ 5269 w 147543"/>
                  <a:gd name="connsiteY3" fmla="*/ 0 h 91440"/>
                  <a:gd name="connsiteX4" fmla="*/ 0 w 147543"/>
                  <a:gd name="connsiteY4" fmla="*/ 51875 h 91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3" h="91440">
                    <a:moveTo>
                      <a:pt x="0" y="51875"/>
                    </a:moveTo>
                    <a:cubicBezTo>
                      <a:pt x="7026" y="48358"/>
                      <a:pt x="88702" y="83527"/>
                      <a:pt x="145787" y="91440"/>
                    </a:cubicBezTo>
                    <a:lnTo>
                      <a:pt x="147544" y="0"/>
                    </a:lnTo>
                    <a:lnTo>
                      <a:pt x="5269" y="0"/>
                    </a:lnTo>
                    <a:lnTo>
                      <a:pt x="0" y="51875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3AECFE43-CE74-523F-786F-07C987759A7C}"/>
                  </a:ext>
                </a:extLst>
              </p:cNvPr>
              <p:cNvSpPr/>
              <p:nvPr/>
            </p:nvSpPr>
            <p:spPr>
              <a:xfrm>
                <a:off x="1425860" y="-191082"/>
                <a:ext cx="310674" cy="134333"/>
              </a:xfrm>
              <a:custGeom>
                <a:avLst/>
                <a:gdLst>
                  <a:gd name="connsiteX0" fmla="*/ 282132 w 310674"/>
                  <a:gd name="connsiteY0" fmla="*/ 23551 h 134333"/>
                  <a:gd name="connsiteX1" fmla="*/ 131075 w 310674"/>
                  <a:gd name="connsiteY1" fmla="*/ 1570 h 134333"/>
                  <a:gd name="connsiteX2" fmla="*/ 36226 w 310674"/>
                  <a:gd name="connsiteY2" fmla="*/ 56082 h 134333"/>
                  <a:gd name="connsiteX3" fmla="*/ 218 w 310674"/>
                  <a:gd name="connsiteY3" fmla="*/ 134334 h 134333"/>
                  <a:gd name="connsiteX4" fmla="*/ 309357 w 310674"/>
                  <a:gd name="connsiteY4" fmla="*/ 134334 h 134333"/>
                  <a:gd name="connsiteX5" fmla="*/ 282132 w 310674"/>
                  <a:gd name="connsiteY5" fmla="*/ 22672 h 134333"/>
                  <a:gd name="connsiteX6" fmla="*/ 282132 w 310674"/>
                  <a:gd name="connsiteY6" fmla="*/ 22672 h 13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0674" h="134333">
                    <a:moveTo>
                      <a:pt x="282132" y="23551"/>
                    </a:moveTo>
                    <a:cubicBezTo>
                      <a:pt x="176744" y="37618"/>
                      <a:pt x="234707" y="-8981"/>
                      <a:pt x="131075" y="1570"/>
                    </a:cubicBezTo>
                    <a:cubicBezTo>
                      <a:pt x="117024" y="5966"/>
                      <a:pt x="97702" y="43773"/>
                      <a:pt x="36226" y="56082"/>
                    </a:cubicBezTo>
                    <a:cubicBezTo>
                      <a:pt x="-5051" y="63995"/>
                      <a:pt x="218" y="134334"/>
                      <a:pt x="218" y="134334"/>
                    </a:cubicBezTo>
                    <a:lnTo>
                      <a:pt x="309357" y="134334"/>
                    </a:lnTo>
                    <a:cubicBezTo>
                      <a:pt x="316383" y="93010"/>
                      <a:pt x="293549" y="35860"/>
                      <a:pt x="282132" y="22672"/>
                    </a:cubicBezTo>
                    <a:lnTo>
                      <a:pt x="282132" y="22672"/>
                    </a:lnTo>
                    <a:close/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D4DD554E-EB5D-4B85-63A4-F254CC713389}"/>
                  </a:ext>
                </a:extLst>
              </p:cNvPr>
              <p:cNvSpPr/>
              <p:nvPr/>
            </p:nvSpPr>
            <p:spPr>
              <a:xfrm>
                <a:off x="2110186" y="-199978"/>
                <a:ext cx="241959" cy="148016"/>
              </a:xfrm>
              <a:custGeom>
                <a:avLst/>
                <a:gdLst>
                  <a:gd name="connsiteX0" fmla="*/ 917 w 241959"/>
                  <a:gd name="connsiteY0" fmla="*/ 125645 h 148016"/>
                  <a:gd name="connsiteX1" fmla="*/ 7065 w 241959"/>
                  <a:gd name="connsiteY1" fmla="*/ 64978 h 148016"/>
                  <a:gd name="connsiteX2" fmla="*/ 20239 w 241959"/>
                  <a:gd name="connsiteY2" fmla="*/ 28930 h 148016"/>
                  <a:gd name="connsiteX3" fmla="*/ 68542 w 241959"/>
                  <a:gd name="connsiteY3" fmla="*/ 13983 h 148016"/>
                  <a:gd name="connsiteX4" fmla="*/ 172173 w 241959"/>
                  <a:gd name="connsiteY4" fmla="*/ 19258 h 148016"/>
                  <a:gd name="connsiteX5" fmla="*/ 238041 w 241959"/>
                  <a:gd name="connsiteY5" fmla="*/ 99268 h 148016"/>
                  <a:gd name="connsiteX6" fmla="*/ 216964 w 241959"/>
                  <a:gd name="connsiteY6" fmla="*/ 147626 h 148016"/>
                  <a:gd name="connsiteX7" fmla="*/ 24630 w 241959"/>
                  <a:gd name="connsiteY7" fmla="*/ 147626 h 148016"/>
                  <a:gd name="connsiteX8" fmla="*/ 39 w 241959"/>
                  <a:gd name="connsiteY8" fmla="*/ 124766 h 148016"/>
                  <a:gd name="connsiteX9" fmla="*/ 917 w 241959"/>
                  <a:gd name="connsiteY9" fmla="*/ 124766 h 148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1959" h="148016">
                    <a:moveTo>
                      <a:pt x="917" y="125645"/>
                    </a:moveTo>
                    <a:cubicBezTo>
                      <a:pt x="917" y="125645"/>
                      <a:pt x="917" y="83442"/>
                      <a:pt x="7065" y="64978"/>
                    </a:cubicBezTo>
                    <a:cubicBezTo>
                      <a:pt x="13213" y="46515"/>
                      <a:pt x="20239" y="28930"/>
                      <a:pt x="20239" y="28930"/>
                    </a:cubicBezTo>
                    <a:cubicBezTo>
                      <a:pt x="25508" y="24534"/>
                      <a:pt x="29021" y="35085"/>
                      <a:pt x="68542" y="13983"/>
                    </a:cubicBezTo>
                    <a:cubicBezTo>
                      <a:pt x="134409" y="-20307"/>
                      <a:pt x="172173" y="19258"/>
                      <a:pt x="172173" y="19258"/>
                    </a:cubicBezTo>
                    <a:cubicBezTo>
                      <a:pt x="196765" y="48273"/>
                      <a:pt x="234529" y="89597"/>
                      <a:pt x="238041" y="99268"/>
                    </a:cubicBezTo>
                    <a:cubicBezTo>
                      <a:pt x="250337" y="129162"/>
                      <a:pt x="231015" y="146747"/>
                      <a:pt x="216964" y="147626"/>
                    </a:cubicBezTo>
                    <a:cubicBezTo>
                      <a:pt x="202912" y="148505"/>
                      <a:pt x="36047" y="147626"/>
                      <a:pt x="24630" y="147626"/>
                    </a:cubicBezTo>
                    <a:cubicBezTo>
                      <a:pt x="13213" y="147626"/>
                      <a:pt x="-839" y="130921"/>
                      <a:pt x="39" y="124766"/>
                    </a:cubicBezTo>
                    <a:lnTo>
                      <a:pt x="917" y="124766"/>
                    </a:lnTo>
                    <a:close/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DAA0C6AC-452E-D954-94C4-00119B7D0375}"/>
                  </a:ext>
                </a:extLst>
              </p:cNvPr>
              <p:cNvSpPr/>
              <p:nvPr/>
            </p:nvSpPr>
            <p:spPr>
              <a:xfrm>
                <a:off x="2439913" y="-1646137"/>
                <a:ext cx="180567" cy="386710"/>
              </a:xfrm>
              <a:custGeom>
                <a:avLst/>
                <a:gdLst>
                  <a:gd name="connsiteX0" fmla="*/ 118213 w 180567"/>
                  <a:gd name="connsiteY0" fmla="*/ 352311 h 386710"/>
                  <a:gd name="connsiteX1" fmla="*/ 118213 w 180567"/>
                  <a:gd name="connsiteY1" fmla="*/ 267905 h 386710"/>
                  <a:gd name="connsiteX2" fmla="*/ 118213 w 180567"/>
                  <a:gd name="connsiteY2" fmla="*/ 267905 h 386710"/>
                  <a:gd name="connsiteX3" fmla="*/ 90987 w 180567"/>
                  <a:gd name="connsiteY3" fmla="*/ 385722 h 386710"/>
                  <a:gd name="connsiteX4" fmla="*/ 76057 w 180567"/>
                  <a:gd name="connsiteY4" fmla="*/ 351432 h 386710"/>
                  <a:gd name="connsiteX5" fmla="*/ 79570 w 180567"/>
                  <a:gd name="connsiteY5" fmla="*/ 274939 h 386710"/>
                  <a:gd name="connsiteX6" fmla="*/ 79570 w 180567"/>
                  <a:gd name="connsiteY6" fmla="*/ 274939 h 386710"/>
                  <a:gd name="connsiteX7" fmla="*/ 54979 w 180567"/>
                  <a:gd name="connsiteY7" fmla="*/ 354070 h 386710"/>
                  <a:gd name="connsiteX8" fmla="*/ 32145 w 180567"/>
                  <a:gd name="connsiteY8" fmla="*/ 351432 h 386710"/>
                  <a:gd name="connsiteX9" fmla="*/ 50588 w 180567"/>
                  <a:gd name="connsiteY9" fmla="*/ 252958 h 386710"/>
                  <a:gd name="connsiteX10" fmla="*/ 47954 w 180567"/>
                  <a:gd name="connsiteY10" fmla="*/ 201963 h 386710"/>
                  <a:gd name="connsiteX11" fmla="*/ 42684 w 180567"/>
                  <a:gd name="connsiteY11" fmla="*/ 211634 h 386710"/>
                  <a:gd name="connsiteX12" fmla="*/ 6676 w 180567"/>
                  <a:gd name="connsiteY12" fmla="*/ 256475 h 386710"/>
                  <a:gd name="connsiteX13" fmla="*/ 2285 w 180567"/>
                  <a:gd name="connsiteY13" fmla="*/ 240649 h 386710"/>
                  <a:gd name="connsiteX14" fmla="*/ 10190 w 180567"/>
                  <a:gd name="connsiteY14" fmla="*/ 184378 h 386710"/>
                  <a:gd name="connsiteX15" fmla="*/ 37415 w 180567"/>
                  <a:gd name="connsiteY15" fmla="*/ 114040 h 386710"/>
                  <a:gd name="connsiteX16" fmla="*/ 26876 w 180567"/>
                  <a:gd name="connsiteY16" fmla="*/ 47218 h 386710"/>
                  <a:gd name="connsiteX17" fmla="*/ 103282 w 180567"/>
                  <a:gd name="connsiteY17" fmla="*/ 11170 h 386710"/>
                  <a:gd name="connsiteX18" fmla="*/ 144560 w 180567"/>
                  <a:gd name="connsiteY18" fmla="*/ 92059 h 386710"/>
                  <a:gd name="connsiteX19" fmla="*/ 162124 w 180567"/>
                  <a:gd name="connsiteY19" fmla="*/ 132504 h 386710"/>
                  <a:gd name="connsiteX20" fmla="*/ 178811 w 180567"/>
                  <a:gd name="connsiteY20" fmla="*/ 241528 h 386710"/>
                  <a:gd name="connsiteX21" fmla="*/ 171785 w 180567"/>
                  <a:gd name="connsiteY21" fmla="*/ 332089 h 386710"/>
                  <a:gd name="connsiteX22" fmla="*/ 156855 w 180567"/>
                  <a:gd name="connsiteY22" fmla="*/ 328572 h 386710"/>
                  <a:gd name="connsiteX23" fmla="*/ 151586 w 180567"/>
                  <a:gd name="connsiteY23" fmla="*/ 257354 h 386710"/>
                  <a:gd name="connsiteX24" fmla="*/ 134021 w 180567"/>
                  <a:gd name="connsiteY24" fmla="*/ 370775 h 386710"/>
                  <a:gd name="connsiteX25" fmla="*/ 117335 w 180567"/>
                  <a:gd name="connsiteY25" fmla="*/ 354070 h 386710"/>
                  <a:gd name="connsiteX26" fmla="*/ 117335 w 180567"/>
                  <a:gd name="connsiteY26" fmla="*/ 352311 h 386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80567" h="386710">
                    <a:moveTo>
                      <a:pt x="118213" y="352311"/>
                    </a:moveTo>
                    <a:cubicBezTo>
                      <a:pt x="123482" y="324176"/>
                      <a:pt x="118213" y="267905"/>
                      <a:pt x="118213" y="267905"/>
                    </a:cubicBezTo>
                    <a:lnTo>
                      <a:pt x="118213" y="267905"/>
                    </a:lnTo>
                    <a:cubicBezTo>
                      <a:pt x="118213" y="267905"/>
                      <a:pt x="112065" y="377809"/>
                      <a:pt x="90987" y="385722"/>
                    </a:cubicBezTo>
                    <a:cubicBezTo>
                      <a:pt x="69910" y="393635"/>
                      <a:pt x="76057" y="351432"/>
                      <a:pt x="76057" y="351432"/>
                    </a:cubicBezTo>
                    <a:cubicBezTo>
                      <a:pt x="76057" y="351432"/>
                      <a:pt x="82205" y="304833"/>
                      <a:pt x="79570" y="274939"/>
                    </a:cubicBezTo>
                    <a:lnTo>
                      <a:pt x="79570" y="274939"/>
                    </a:lnTo>
                    <a:cubicBezTo>
                      <a:pt x="79570" y="274939"/>
                      <a:pt x="68153" y="340881"/>
                      <a:pt x="54979" y="354070"/>
                    </a:cubicBezTo>
                    <a:cubicBezTo>
                      <a:pt x="41806" y="366379"/>
                      <a:pt x="30389" y="361983"/>
                      <a:pt x="32145" y="351432"/>
                    </a:cubicBezTo>
                    <a:cubicBezTo>
                      <a:pt x="33902" y="340881"/>
                      <a:pt x="50588" y="275818"/>
                      <a:pt x="50588" y="252958"/>
                    </a:cubicBezTo>
                    <a:cubicBezTo>
                      <a:pt x="50588" y="230098"/>
                      <a:pt x="48832" y="213393"/>
                      <a:pt x="47954" y="201963"/>
                    </a:cubicBezTo>
                    <a:cubicBezTo>
                      <a:pt x="47954" y="185258"/>
                      <a:pt x="42684" y="210755"/>
                      <a:pt x="42684" y="211634"/>
                    </a:cubicBezTo>
                    <a:cubicBezTo>
                      <a:pt x="40928" y="277577"/>
                      <a:pt x="6676" y="256475"/>
                      <a:pt x="6676" y="256475"/>
                    </a:cubicBezTo>
                    <a:cubicBezTo>
                      <a:pt x="6676" y="256475"/>
                      <a:pt x="-4741" y="252079"/>
                      <a:pt x="2285" y="240649"/>
                    </a:cubicBezTo>
                    <a:cubicBezTo>
                      <a:pt x="9311" y="229219"/>
                      <a:pt x="7555" y="194929"/>
                      <a:pt x="10190" y="184378"/>
                    </a:cubicBezTo>
                    <a:cubicBezTo>
                      <a:pt x="13702" y="172069"/>
                      <a:pt x="42684" y="143934"/>
                      <a:pt x="37415" y="114040"/>
                    </a:cubicBezTo>
                    <a:cubicBezTo>
                      <a:pt x="33902" y="95576"/>
                      <a:pt x="40049" y="95576"/>
                      <a:pt x="26876" y="47218"/>
                    </a:cubicBezTo>
                    <a:cubicBezTo>
                      <a:pt x="13702" y="-1139"/>
                      <a:pt x="61127" y="-10811"/>
                      <a:pt x="103282" y="11170"/>
                    </a:cubicBezTo>
                    <a:cubicBezTo>
                      <a:pt x="139291" y="30513"/>
                      <a:pt x="144560" y="92059"/>
                      <a:pt x="144560" y="92059"/>
                    </a:cubicBezTo>
                    <a:cubicBezTo>
                      <a:pt x="156855" y="112281"/>
                      <a:pt x="163881" y="135141"/>
                      <a:pt x="162124" y="132504"/>
                    </a:cubicBezTo>
                    <a:cubicBezTo>
                      <a:pt x="168272" y="149209"/>
                      <a:pt x="178811" y="241528"/>
                      <a:pt x="178811" y="241528"/>
                    </a:cubicBezTo>
                    <a:cubicBezTo>
                      <a:pt x="178811" y="241528"/>
                      <a:pt x="185837" y="323297"/>
                      <a:pt x="171785" y="332089"/>
                    </a:cubicBezTo>
                    <a:cubicBezTo>
                      <a:pt x="156855" y="340881"/>
                      <a:pt x="156855" y="328572"/>
                      <a:pt x="156855" y="328572"/>
                    </a:cubicBezTo>
                    <a:lnTo>
                      <a:pt x="151586" y="257354"/>
                    </a:lnTo>
                    <a:cubicBezTo>
                      <a:pt x="151586" y="257354"/>
                      <a:pt x="155099" y="345277"/>
                      <a:pt x="134021" y="370775"/>
                    </a:cubicBezTo>
                    <a:cubicBezTo>
                      <a:pt x="134021" y="370775"/>
                      <a:pt x="112065" y="382205"/>
                      <a:pt x="117335" y="354070"/>
                    </a:cubicBezTo>
                    <a:lnTo>
                      <a:pt x="117335" y="352311"/>
                    </a:lnTo>
                    <a:close/>
                  </a:path>
                </a:pathLst>
              </a:custGeom>
              <a:solidFill>
                <a:srgbClr val="DE9C74"/>
              </a:solidFill>
              <a:ln w="1317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98B6913B-175B-B29A-BD33-D0989A63903D}"/>
                  </a:ext>
                </a:extLst>
              </p:cNvPr>
              <p:cNvSpPr/>
              <p:nvPr/>
            </p:nvSpPr>
            <p:spPr>
              <a:xfrm>
                <a:off x="1482796" y="-1800262"/>
                <a:ext cx="864128" cy="1569426"/>
              </a:xfrm>
              <a:custGeom>
                <a:avLst/>
                <a:gdLst>
                  <a:gd name="connsiteX0" fmla="*/ 14419 w 864128"/>
                  <a:gd name="connsiteY0" fmla="*/ 879 h 1569426"/>
                  <a:gd name="connsiteX1" fmla="*/ 845231 w 864128"/>
                  <a:gd name="connsiteY1" fmla="*/ 40445 h 1569426"/>
                  <a:gd name="connsiteX2" fmla="*/ 845231 w 864128"/>
                  <a:gd name="connsiteY2" fmla="*/ 1569427 h 1569426"/>
                  <a:gd name="connsiteX3" fmla="*/ 576491 w 864128"/>
                  <a:gd name="connsiteY3" fmla="*/ 1569427 h 1569426"/>
                  <a:gd name="connsiteX4" fmla="*/ 439486 w 864128"/>
                  <a:gd name="connsiteY4" fmla="*/ 451045 h 1569426"/>
                  <a:gd name="connsiteX5" fmla="*/ 297212 w 864128"/>
                  <a:gd name="connsiteY5" fmla="*/ 1569427 h 1569426"/>
                  <a:gd name="connsiteX6" fmla="*/ 26714 w 864128"/>
                  <a:gd name="connsiteY6" fmla="*/ 1569427 h 1569426"/>
                  <a:gd name="connsiteX7" fmla="*/ 14419 w 864128"/>
                  <a:gd name="connsiteY7" fmla="*/ 0 h 1569426"/>
                  <a:gd name="connsiteX8" fmla="*/ 14419 w 864128"/>
                  <a:gd name="connsiteY8" fmla="*/ 0 h 156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4128" h="1569426">
                    <a:moveTo>
                      <a:pt x="14419" y="879"/>
                    </a:moveTo>
                    <a:lnTo>
                      <a:pt x="845231" y="40445"/>
                    </a:lnTo>
                    <a:cubicBezTo>
                      <a:pt x="861918" y="451925"/>
                      <a:pt x="877726" y="962758"/>
                      <a:pt x="845231" y="1569427"/>
                    </a:cubicBezTo>
                    <a:lnTo>
                      <a:pt x="576491" y="1569427"/>
                    </a:lnTo>
                    <a:lnTo>
                      <a:pt x="439486" y="451045"/>
                    </a:lnTo>
                    <a:lnTo>
                      <a:pt x="297212" y="1569427"/>
                    </a:lnTo>
                    <a:lnTo>
                      <a:pt x="26714" y="1569427"/>
                    </a:lnTo>
                    <a:cubicBezTo>
                      <a:pt x="-25102" y="1132449"/>
                      <a:pt x="14419" y="0"/>
                      <a:pt x="14419" y="0"/>
                    </a:cubicBezTo>
                    <a:lnTo>
                      <a:pt x="1441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AFFEA457-0676-2354-3FBA-84778B41781C}"/>
                  </a:ext>
                </a:extLst>
              </p:cNvPr>
              <p:cNvSpPr/>
              <p:nvPr/>
            </p:nvSpPr>
            <p:spPr>
              <a:xfrm>
                <a:off x="1517415" y="-1677170"/>
                <a:ext cx="98362" cy="225083"/>
              </a:xfrm>
              <a:custGeom>
                <a:avLst/>
                <a:gdLst>
                  <a:gd name="connsiteX0" fmla="*/ 0 w 98362"/>
                  <a:gd name="connsiteY0" fmla="*/ 225083 h 225083"/>
                  <a:gd name="connsiteX1" fmla="*/ 98363 w 98362"/>
                  <a:gd name="connsiteY1" fmla="*/ 0 h 225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362" h="225083">
                    <a:moveTo>
                      <a:pt x="0" y="225083"/>
                    </a:moveTo>
                    <a:lnTo>
                      <a:pt x="98363" y="0"/>
                    </a:lnTo>
                  </a:path>
                </a:pathLst>
              </a:custGeom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F641F58E-0783-A8B0-131B-4CF74FB937D4}"/>
                  </a:ext>
                </a:extLst>
              </p:cNvPr>
              <p:cNvSpPr/>
              <p:nvPr/>
            </p:nvSpPr>
            <p:spPr>
              <a:xfrm>
                <a:off x="1494581" y="-1658706"/>
                <a:ext cx="93092" cy="169691"/>
              </a:xfrm>
              <a:custGeom>
                <a:avLst/>
                <a:gdLst>
                  <a:gd name="connsiteX0" fmla="*/ 45668 w 93092"/>
                  <a:gd name="connsiteY0" fmla="*/ 0 h 169691"/>
                  <a:gd name="connsiteX1" fmla="*/ 93093 w 93092"/>
                  <a:gd name="connsiteY1" fmla="*/ 40444 h 169691"/>
                  <a:gd name="connsiteX2" fmla="*/ 38642 w 93092"/>
                  <a:gd name="connsiteY2" fmla="*/ 169691 h 169691"/>
                  <a:gd name="connsiteX3" fmla="*/ 0 w 93092"/>
                  <a:gd name="connsiteY3" fmla="*/ 133643 h 169691"/>
                  <a:gd name="connsiteX4" fmla="*/ 45668 w 93092"/>
                  <a:gd name="connsiteY4" fmla="*/ 0 h 169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092" h="169691">
                    <a:moveTo>
                      <a:pt x="45668" y="0"/>
                    </a:moveTo>
                    <a:cubicBezTo>
                      <a:pt x="58841" y="5275"/>
                      <a:pt x="83433" y="35169"/>
                      <a:pt x="93093" y="40444"/>
                    </a:cubicBezTo>
                    <a:lnTo>
                      <a:pt x="38642" y="169691"/>
                    </a:lnTo>
                    <a:lnTo>
                      <a:pt x="0" y="133643"/>
                    </a:lnTo>
                    <a:lnTo>
                      <a:pt x="45668" y="0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 94">
                <a:extLst>
                  <a:ext uri="{FF2B5EF4-FFF2-40B4-BE49-F238E27FC236}">
                    <a16:creationId xmlns:a16="http://schemas.microsoft.com/office/drawing/2014/main" id="{0FE5AB6F-C1EA-534E-80A4-8C751F9825AD}"/>
                  </a:ext>
                </a:extLst>
              </p:cNvPr>
              <p:cNvSpPr/>
              <p:nvPr/>
            </p:nvSpPr>
            <p:spPr>
              <a:xfrm>
                <a:off x="2455372" y="-1596281"/>
                <a:ext cx="152813" cy="58908"/>
              </a:xfrm>
              <a:custGeom>
                <a:avLst/>
                <a:gdLst>
                  <a:gd name="connsiteX0" fmla="*/ 151057 w 152813"/>
                  <a:gd name="connsiteY0" fmla="*/ 0 h 58908"/>
                  <a:gd name="connsiteX1" fmla="*/ 151057 w 152813"/>
                  <a:gd name="connsiteY1" fmla="*/ 45720 h 58908"/>
                  <a:gd name="connsiteX2" fmla="*/ 2635 w 152813"/>
                  <a:gd name="connsiteY2" fmla="*/ 58909 h 58908"/>
                  <a:gd name="connsiteX3" fmla="*/ 0 w 152813"/>
                  <a:gd name="connsiteY3" fmla="*/ 10551 h 58908"/>
                  <a:gd name="connsiteX4" fmla="*/ 152814 w 152813"/>
                  <a:gd name="connsiteY4" fmla="*/ 0 h 58908"/>
                  <a:gd name="connsiteX5" fmla="*/ 151935 w 152813"/>
                  <a:gd name="connsiteY5" fmla="*/ 0 h 5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813" h="58908">
                    <a:moveTo>
                      <a:pt x="151057" y="0"/>
                    </a:moveTo>
                    <a:cubicBezTo>
                      <a:pt x="148422" y="15826"/>
                      <a:pt x="152814" y="34290"/>
                      <a:pt x="151057" y="45720"/>
                    </a:cubicBezTo>
                    <a:lnTo>
                      <a:pt x="2635" y="58909"/>
                    </a:lnTo>
                    <a:cubicBezTo>
                      <a:pt x="2635" y="58909"/>
                      <a:pt x="2635" y="34290"/>
                      <a:pt x="0" y="10551"/>
                    </a:cubicBezTo>
                    <a:lnTo>
                      <a:pt x="152814" y="0"/>
                    </a:lnTo>
                    <a:lnTo>
                      <a:pt x="15193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 95">
                <a:extLst>
                  <a:ext uri="{FF2B5EF4-FFF2-40B4-BE49-F238E27FC236}">
                    <a16:creationId xmlns:a16="http://schemas.microsoft.com/office/drawing/2014/main" id="{E9A6EB0B-D0DD-3CE2-4094-0FEEBCCA2264}"/>
                  </a:ext>
                </a:extLst>
              </p:cNvPr>
              <p:cNvSpPr/>
              <p:nvPr/>
            </p:nvSpPr>
            <p:spPr>
              <a:xfrm>
                <a:off x="1779129" y="-2928315"/>
                <a:ext cx="253810" cy="564466"/>
              </a:xfrm>
              <a:custGeom>
                <a:avLst/>
                <a:gdLst>
                  <a:gd name="connsiteX0" fmla="*/ 10539 w 253810"/>
                  <a:gd name="connsiteY0" fmla="*/ 3517 h 564466"/>
                  <a:gd name="connsiteX1" fmla="*/ 157205 w 253810"/>
                  <a:gd name="connsiteY1" fmla="*/ 30773 h 564466"/>
                  <a:gd name="connsiteX2" fmla="*/ 223951 w 253810"/>
                  <a:gd name="connsiteY2" fmla="*/ 0 h 564466"/>
                  <a:gd name="connsiteX3" fmla="*/ 253811 w 253810"/>
                  <a:gd name="connsiteY3" fmla="*/ 7913 h 564466"/>
                  <a:gd name="connsiteX4" fmla="*/ 144031 w 253810"/>
                  <a:gd name="connsiteY4" fmla="*/ 564466 h 564466"/>
                  <a:gd name="connsiteX5" fmla="*/ 0 w 253810"/>
                  <a:gd name="connsiteY5" fmla="*/ 15826 h 564466"/>
                  <a:gd name="connsiteX6" fmla="*/ 10539 w 253810"/>
                  <a:gd name="connsiteY6" fmla="*/ 3517 h 564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810" h="564466">
                    <a:moveTo>
                      <a:pt x="10539" y="3517"/>
                    </a:moveTo>
                    <a:lnTo>
                      <a:pt x="157205" y="30773"/>
                    </a:lnTo>
                    <a:lnTo>
                      <a:pt x="223951" y="0"/>
                    </a:lnTo>
                    <a:cubicBezTo>
                      <a:pt x="225707" y="0"/>
                      <a:pt x="253811" y="7913"/>
                      <a:pt x="253811" y="7913"/>
                    </a:cubicBezTo>
                    <a:lnTo>
                      <a:pt x="144031" y="564466"/>
                    </a:lnTo>
                    <a:lnTo>
                      <a:pt x="0" y="15826"/>
                    </a:lnTo>
                    <a:lnTo>
                      <a:pt x="10539" y="3517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 96">
                <a:extLst>
                  <a:ext uri="{FF2B5EF4-FFF2-40B4-BE49-F238E27FC236}">
                    <a16:creationId xmlns:a16="http://schemas.microsoft.com/office/drawing/2014/main" id="{6A927D2A-D3F1-668A-FE9C-480476E4C9A4}"/>
                  </a:ext>
                </a:extLst>
              </p:cNvPr>
              <p:cNvSpPr/>
              <p:nvPr/>
            </p:nvSpPr>
            <p:spPr>
              <a:xfrm>
                <a:off x="1783521" y="-3217597"/>
                <a:ext cx="253810" cy="362257"/>
              </a:xfrm>
              <a:custGeom>
                <a:avLst/>
                <a:gdLst>
                  <a:gd name="connsiteX0" fmla="*/ 207264 w 253810"/>
                  <a:gd name="connsiteY0" fmla="*/ 167069 h 362257"/>
                  <a:gd name="connsiteX1" fmla="*/ 144031 w 253810"/>
                  <a:gd name="connsiteY1" fmla="*/ 104643 h 362257"/>
                  <a:gd name="connsiteX2" fmla="*/ 165987 w 253810"/>
                  <a:gd name="connsiteY2" fmla="*/ 75629 h 362257"/>
                  <a:gd name="connsiteX3" fmla="*/ 126466 w 253810"/>
                  <a:gd name="connsiteY3" fmla="*/ 15 h 362257"/>
                  <a:gd name="connsiteX4" fmla="*/ 85189 w 253810"/>
                  <a:gd name="connsiteY4" fmla="*/ 41339 h 362257"/>
                  <a:gd name="connsiteX5" fmla="*/ 92215 w 253810"/>
                  <a:gd name="connsiteY5" fmla="*/ 167948 h 362257"/>
                  <a:gd name="connsiteX6" fmla="*/ 0 w 253810"/>
                  <a:gd name="connsiteY6" fmla="*/ 251475 h 362257"/>
                  <a:gd name="connsiteX7" fmla="*/ 3513 w 253810"/>
                  <a:gd name="connsiteY7" fmla="*/ 300712 h 362257"/>
                  <a:gd name="connsiteX8" fmla="*/ 110658 w 253810"/>
                  <a:gd name="connsiteY8" fmla="*/ 362258 h 362257"/>
                  <a:gd name="connsiteX9" fmla="*/ 253811 w 253810"/>
                  <a:gd name="connsiteY9" fmla="*/ 292798 h 362257"/>
                  <a:gd name="connsiteX10" fmla="*/ 206386 w 253810"/>
                  <a:gd name="connsiteY10" fmla="*/ 167069 h 362257"/>
                  <a:gd name="connsiteX11" fmla="*/ 207264 w 253810"/>
                  <a:gd name="connsiteY11" fmla="*/ 167069 h 36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3810" h="362257">
                    <a:moveTo>
                      <a:pt x="207264" y="167069"/>
                    </a:moveTo>
                    <a:cubicBezTo>
                      <a:pt x="204629" y="167069"/>
                      <a:pt x="144909" y="108160"/>
                      <a:pt x="144031" y="104643"/>
                    </a:cubicBezTo>
                    <a:cubicBezTo>
                      <a:pt x="153692" y="99368"/>
                      <a:pt x="162474" y="90575"/>
                      <a:pt x="165987" y="75629"/>
                    </a:cubicBezTo>
                    <a:cubicBezTo>
                      <a:pt x="173013" y="37822"/>
                      <a:pt x="163352" y="-865"/>
                      <a:pt x="126466" y="15"/>
                    </a:cubicBezTo>
                    <a:cubicBezTo>
                      <a:pt x="95728" y="1773"/>
                      <a:pt x="87824" y="24633"/>
                      <a:pt x="85189" y="41339"/>
                    </a:cubicBezTo>
                    <a:cubicBezTo>
                      <a:pt x="85189" y="60682"/>
                      <a:pt x="92215" y="167948"/>
                      <a:pt x="92215" y="167948"/>
                    </a:cubicBezTo>
                    <a:cubicBezTo>
                      <a:pt x="79920" y="199600"/>
                      <a:pt x="37764" y="204875"/>
                      <a:pt x="0" y="251475"/>
                    </a:cubicBezTo>
                    <a:lnTo>
                      <a:pt x="3513" y="300712"/>
                    </a:lnTo>
                    <a:lnTo>
                      <a:pt x="110658" y="362258"/>
                    </a:lnTo>
                    <a:lnTo>
                      <a:pt x="253811" y="292798"/>
                    </a:lnTo>
                    <a:cubicBezTo>
                      <a:pt x="247663" y="276972"/>
                      <a:pt x="211656" y="183774"/>
                      <a:pt x="206386" y="167069"/>
                    </a:cubicBezTo>
                    <a:lnTo>
                      <a:pt x="207264" y="167069"/>
                    </a:lnTo>
                    <a:close/>
                  </a:path>
                </a:pathLst>
              </a:custGeom>
              <a:solidFill>
                <a:srgbClr val="DE9C74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98" name="Graphic 9">
                <a:extLst>
                  <a:ext uri="{FF2B5EF4-FFF2-40B4-BE49-F238E27FC236}">
                    <a16:creationId xmlns:a16="http://schemas.microsoft.com/office/drawing/2014/main" id="{63541C59-F15F-95E4-9036-DA0C80918AD2}"/>
                  </a:ext>
                </a:extLst>
              </p:cNvPr>
              <p:cNvGrpSpPr/>
              <p:nvPr/>
            </p:nvGrpSpPr>
            <p:grpSpPr>
              <a:xfrm>
                <a:off x="1617810" y="-3452462"/>
                <a:ext cx="460850" cy="500660"/>
                <a:chOff x="1617810" y="-3452462"/>
                <a:chExt cx="460850" cy="500660"/>
              </a:xfrm>
            </p:grpSpPr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C0B4F988-1B10-9F18-19D1-5AE2C7915095}"/>
                    </a:ext>
                  </a:extLst>
                </p:cNvPr>
                <p:cNvSpPr/>
                <p:nvPr/>
              </p:nvSpPr>
              <p:spPr>
                <a:xfrm>
                  <a:off x="1642125" y="-3079543"/>
                  <a:ext cx="60251" cy="53633"/>
                </a:xfrm>
                <a:custGeom>
                  <a:avLst/>
                  <a:gdLst>
                    <a:gd name="connsiteX0" fmla="*/ 59720 w 60251"/>
                    <a:gd name="connsiteY0" fmla="*/ 16705 h 53633"/>
                    <a:gd name="connsiteX1" fmla="*/ 33373 w 60251"/>
                    <a:gd name="connsiteY1" fmla="*/ 2638 h 53633"/>
                    <a:gd name="connsiteX2" fmla="*/ 0 w 60251"/>
                    <a:gd name="connsiteY2" fmla="*/ 0 h 53633"/>
                    <a:gd name="connsiteX3" fmla="*/ 19321 w 60251"/>
                    <a:gd name="connsiteY3" fmla="*/ 14947 h 53633"/>
                    <a:gd name="connsiteX4" fmla="*/ 7904 w 60251"/>
                    <a:gd name="connsiteY4" fmla="*/ 30773 h 53633"/>
                    <a:gd name="connsiteX5" fmla="*/ 21956 w 60251"/>
                    <a:gd name="connsiteY5" fmla="*/ 53633 h 53633"/>
                    <a:gd name="connsiteX6" fmla="*/ 59720 w 60251"/>
                    <a:gd name="connsiteY6" fmla="*/ 16705 h 536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251" h="53633">
                      <a:moveTo>
                        <a:pt x="59720" y="16705"/>
                      </a:moveTo>
                      <a:cubicBezTo>
                        <a:pt x="57963" y="9672"/>
                        <a:pt x="41277" y="2638"/>
                        <a:pt x="33373" y="2638"/>
                      </a:cubicBezTo>
                      <a:cubicBezTo>
                        <a:pt x="20199" y="2638"/>
                        <a:pt x="7904" y="1759"/>
                        <a:pt x="0" y="0"/>
                      </a:cubicBezTo>
                      <a:cubicBezTo>
                        <a:pt x="1757" y="8792"/>
                        <a:pt x="14052" y="14068"/>
                        <a:pt x="19321" y="14947"/>
                      </a:cubicBezTo>
                      <a:cubicBezTo>
                        <a:pt x="27225" y="16705"/>
                        <a:pt x="10539" y="15826"/>
                        <a:pt x="7904" y="30773"/>
                      </a:cubicBezTo>
                      <a:cubicBezTo>
                        <a:pt x="5269" y="45720"/>
                        <a:pt x="21956" y="53633"/>
                        <a:pt x="21956" y="53633"/>
                      </a:cubicBezTo>
                      <a:cubicBezTo>
                        <a:pt x="49181" y="41324"/>
                        <a:pt x="63233" y="30773"/>
                        <a:pt x="59720" y="16705"/>
                      </a:cubicBezTo>
                      <a:close/>
                    </a:path>
                  </a:pathLst>
                </a:custGeom>
                <a:solidFill>
                  <a:srgbClr val="DE9C74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B1F65196-C579-9ACB-AFE7-4242742CFE17}"/>
                    </a:ext>
                  </a:extLst>
                </p:cNvPr>
                <p:cNvSpPr/>
                <p:nvPr/>
              </p:nvSpPr>
              <p:spPr>
                <a:xfrm>
                  <a:off x="1633305" y="-3452462"/>
                  <a:ext cx="445355" cy="500660"/>
                </a:xfrm>
                <a:custGeom>
                  <a:avLst/>
                  <a:gdLst>
                    <a:gd name="connsiteX0" fmla="*/ 250335 w 445355"/>
                    <a:gd name="connsiteY0" fmla="*/ 16831 h 500660"/>
                    <a:gd name="connsiteX1" fmla="*/ 80835 w 445355"/>
                    <a:gd name="connsiteY1" fmla="*/ 1004 h 500660"/>
                    <a:gd name="connsiteX2" fmla="*/ 74687 w 445355"/>
                    <a:gd name="connsiteY2" fmla="*/ 91565 h 500660"/>
                    <a:gd name="connsiteX3" fmla="*/ 74687 w 445355"/>
                    <a:gd name="connsiteY3" fmla="*/ 93324 h 500660"/>
                    <a:gd name="connsiteX4" fmla="*/ 175685 w 445355"/>
                    <a:gd name="connsiteY4" fmla="*/ 132889 h 500660"/>
                    <a:gd name="connsiteX5" fmla="*/ 171293 w 445355"/>
                    <a:gd name="connsiteY5" fmla="*/ 187401 h 500660"/>
                    <a:gd name="connsiteX6" fmla="*/ 201153 w 445355"/>
                    <a:gd name="connsiteY6" fmla="*/ 240155 h 500660"/>
                    <a:gd name="connsiteX7" fmla="*/ 187980 w 445355"/>
                    <a:gd name="connsiteY7" fmla="*/ 316648 h 500660"/>
                    <a:gd name="connsiteX8" fmla="*/ 116843 w 445355"/>
                    <a:gd name="connsiteY8" fmla="*/ 361489 h 500660"/>
                    <a:gd name="connsiteX9" fmla="*/ 15845 w 445355"/>
                    <a:gd name="connsiteY9" fmla="*/ 336871 h 500660"/>
                    <a:gd name="connsiteX10" fmla="*/ 15845 w 445355"/>
                    <a:gd name="connsiteY10" fmla="*/ 336871 h 500660"/>
                    <a:gd name="connsiteX11" fmla="*/ 7941 w 445355"/>
                    <a:gd name="connsiteY11" fmla="*/ 367644 h 500660"/>
                    <a:gd name="connsiteX12" fmla="*/ 46584 w 445355"/>
                    <a:gd name="connsiteY12" fmla="*/ 377315 h 500660"/>
                    <a:gd name="connsiteX13" fmla="*/ 68540 w 445355"/>
                    <a:gd name="connsiteY13" fmla="*/ 391383 h 500660"/>
                    <a:gd name="connsiteX14" fmla="*/ 30776 w 445355"/>
                    <a:gd name="connsiteY14" fmla="*/ 429190 h 500660"/>
                    <a:gd name="connsiteX15" fmla="*/ 30776 w 445355"/>
                    <a:gd name="connsiteY15" fmla="*/ 429190 h 500660"/>
                    <a:gd name="connsiteX16" fmla="*/ 39558 w 445355"/>
                    <a:gd name="connsiteY16" fmla="*/ 492494 h 500660"/>
                    <a:gd name="connsiteX17" fmla="*/ 109817 w 445355"/>
                    <a:gd name="connsiteY17" fmla="*/ 497770 h 500660"/>
                    <a:gd name="connsiteX18" fmla="*/ 152850 w 445355"/>
                    <a:gd name="connsiteY18" fmla="*/ 488098 h 500660"/>
                    <a:gd name="connsiteX19" fmla="*/ 231892 w 445355"/>
                    <a:gd name="connsiteY19" fmla="*/ 436224 h 500660"/>
                    <a:gd name="connsiteX20" fmla="*/ 244187 w 445355"/>
                    <a:gd name="connsiteY20" fmla="*/ 404571 h 500660"/>
                    <a:gd name="connsiteX21" fmla="*/ 238918 w 445355"/>
                    <a:gd name="connsiteY21" fmla="*/ 366764 h 500660"/>
                    <a:gd name="connsiteX22" fmla="*/ 237161 w 445355"/>
                    <a:gd name="connsiteY22" fmla="*/ 277962 h 500660"/>
                    <a:gd name="connsiteX23" fmla="*/ 278439 w 445355"/>
                    <a:gd name="connsiteY23" fmla="*/ 236638 h 500660"/>
                    <a:gd name="connsiteX24" fmla="*/ 317959 w 445355"/>
                    <a:gd name="connsiteY24" fmla="*/ 312252 h 500660"/>
                    <a:gd name="connsiteX25" fmla="*/ 296003 w 445355"/>
                    <a:gd name="connsiteY25" fmla="*/ 341267 h 500660"/>
                    <a:gd name="connsiteX26" fmla="*/ 298638 w 445355"/>
                    <a:gd name="connsiteY26" fmla="*/ 353576 h 500660"/>
                    <a:gd name="connsiteX27" fmla="*/ 342550 w 445355"/>
                    <a:gd name="connsiteY27" fmla="*/ 404571 h 500660"/>
                    <a:gd name="connsiteX28" fmla="*/ 372410 w 445355"/>
                    <a:gd name="connsiteY28" fmla="*/ 392262 h 500660"/>
                    <a:gd name="connsiteX29" fmla="*/ 384705 w 445355"/>
                    <a:gd name="connsiteY29" fmla="*/ 383470 h 500660"/>
                    <a:gd name="connsiteX30" fmla="*/ 441790 w 445355"/>
                    <a:gd name="connsiteY30" fmla="*/ 265653 h 500660"/>
                    <a:gd name="connsiteX31" fmla="*/ 251213 w 445355"/>
                    <a:gd name="connsiteY31" fmla="*/ 17710 h 500660"/>
                    <a:gd name="connsiteX32" fmla="*/ 249456 w 445355"/>
                    <a:gd name="connsiteY32" fmla="*/ 17710 h 500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445355" h="500660">
                      <a:moveTo>
                        <a:pt x="250335" y="16831"/>
                      </a:moveTo>
                      <a:cubicBezTo>
                        <a:pt x="169537" y="10676"/>
                        <a:pt x="121234" y="27381"/>
                        <a:pt x="80835" y="1004"/>
                      </a:cubicBezTo>
                      <a:cubicBezTo>
                        <a:pt x="66783" y="-8667"/>
                        <a:pt x="43071" y="53758"/>
                        <a:pt x="74687" y="91565"/>
                      </a:cubicBezTo>
                      <a:cubicBezTo>
                        <a:pt x="74687" y="91565"/>
                        <a:pt x="74687" y="91565"/>
                        <a:pt x="74687" y="93324"/>
                      </a:cubicBezTo>
                      <a:cubicBezTo>
                        <a:pt x="86104" y="93324"/>
                        <a:pt x="167780" y="102995"/>
                        <a:pt x="175685" y="132889"/>
                      </a:cubicBezTo>
                      <a:cubicBezTo>
                        <a:pt x="183588" y="164541"/>
                        <a:pt x="171293" y="187401"/>
                        <a:pt x="171293" y="187401"/>
                      </a:cubicBezTo>
                      <a:cubicBezTo>
                        <a:pt x="171293" y="187401"/>
                        <a:pt x="190615" y="204107"/>
                        <a:pt x="201153" y="240155"/>
                      </a:cubicBezTo>
                      <a:cubicBezTo>
                        <a:pt x="204666" y="276204"/>
                        <a:pt x="198519" y="299943"/>
                        <a:pt x="187980" y="316648"/>
                      </a:cubicBezTo>
                      <a:cubicBezTo>
                        <a:pt x="166902" y="350059"/>
                        <a:pt x="128260" y="354455"/>
                        <a:pt x="116843" y="361489"/>
                      </a:cubicBezTo>
                      <a:cubicBezTo>
                        <a:pt x="98400" y="372919"/>
                        <a:pt x="36045" y="323682"/>
                        <a:pt x="15845" y="336871"/>
                      </a:cubicBezTo>
                      <a:lnTo>
                        <a:pt x="15845" y="336871"/>
                      </a:lnTo>
                      <a:cubicBezTo>
                        <a:pt x="-6111" y="343904"/>
                        <a:pt x="-1719" y="365885"/>
                        <a:pt x="7941" y="367644"/>
                      </a:cubicBezTo>
                      <a:cubicBezTo>
                        <a:pt x="7941" y="367644"/>
                        <a:pt x="33410" y="379074"/>
                        <a:pt x="46584" y="377315"/>
                      </a:cubicBezTo>
                      <a:cubicBezTo>
                        <a:pt x="55366" y="375557"/>
                        <a:pt x="65905" y="382590"/>
                        <a:pt x="68540" y="391383"/>
                      </a:cubicBezTo>
                      <a:cubicBezTo>
                        <a:pt x="72053" y="405451"/>
                        <a:pt x="58001" y="416001"/>
                        <a:pt x="30776" y="429190"/>
                      </a:cubicBezTo>
                      <a:lnTo>
                        <a:pt x="30776" y="429190"/>
                      </a:lnTo>
                      <a:cubicBezTo>
                        <a:pt x="11454" y="438861"/>
                        <a:pt x="39558" y="492494"/>
                        <a:pt x="39558" y="492494"/>
                      </a:cubicBezTo>
                      <a:cubicBezTo>
                        <a:pt x="39558" y="492494"/>
                        <a:pt x="53609" y="506562"/>
                        <a:pt x="109817" y="497770"/>
                      </a:cubicBezTo>
                      <a:cubicBezTo>
                        <a:pt x="124747" y="495132"/>
                        <a:pt x="138799" y="491615"/>
                        <a:pt x="152850" y="488098"/>
                      </a:cubicBezTo>
                      <a:cubicBezTo>
                        <a:pt x="152850" y="488098"/>
                        <a:pt x="217840" y="458204"/>
                        <a:pt x="231892" y="436224"/>
                      </a:cubicBezTo>
                      <a:cubicBezTo>
                        <a:pt x="236283" y="426552"/>
                        <a:pt x="241552" y="418639"/>
                        <a:pt x="244187" y="404571"/>
                      </a:cubicBezTo>
                      <a:cubicBezTo>
                        <a:pt x="244187" y="401054"/>
                        <a:pt x="239796" y="372919"/>
                        <a:pt x="238918" y="366764"/>
                      </a:cubicBezTo>
                      <a:cubicBezTo>
                        <a:pt x="235405" y="333354"/>
                        <a:pt x="236283" y="297305"/>
                        <a:pt x="237161" y="277962"/>
                      </a:cubicBezTo>
                      <a:cubicBezTo>
                        <a:pt x="239796" y="261257"/>
                        <a:pt x="247700" y="238397"/>
                        <a:pt x="278439" y="236638"/>
                      </a:cubicBezTo>
                      <a:cubicBezTo>
                        <a:pt x="315324" y="234880"/>
                        <a:pt x="325863" y="274445"/>
                        <a:pt x="317959" y="312252"/>
                      </a:cubicBezTo>
                      <a:cubicBezTo>
                        <a:pt x="315324" y="328078"/>
                        <a:pt x="305664" y="336871"/>
                        <a:pt x="296003" y="341267"/>
                      </a:cubicBezTo>
                      <a:cubicBezTo>
                        <a:pt x="296003" y="344784"/>
                        <a:pt x="297759" y="349180"/>
                        <a:pt x="298638" y="353576"/>
                      </a:cubicBezTo>
                      <a:cubicBezTo>
                        <a:pt x="298638" y="354455"/>
                        <a:pt x="326742" y="402813"/>
                        <a:pt x="342550" y="404571"/>
                      </a:cubicBezTo>
                      <a:cubicBezTo>
                        <a:pt x="358358" y="404571"/>
                        <a:pt x="365384" y="394900"/>
                        <a:pt x="372410" y="392262"/>
                      </a:cubicBezTo>
                      <a:cubicBezTo>
                        <a:pt x="375045" y="390504"/>
                        <a:pt x="383827" y="384349"/>
                        <a:pt x="384705" y="383470"/>
                      </a:cubicBezTo>
                      <a:cubicBezTo>
                        <a:pt x="418078" y="357093"/>
                        <a:pt x="433008" y="312252"/>
                        <a:pt x="441790" y="265653"/>
                      </a:cubicBezTo>
                      <a:cubicBezTo>
                        <a:pt x="464624" y="143440"/>
                        <a:pt x="375045" y="27381"/>
                        <a:pt x="251213" y="17710"/>
                      </a:cubicBezTo>
                      <a:lnTo>
                        <a:pt x="249456" y="17710"/>
                      </a:lnTo>
                      <a:close/>
                    </a:path>
                  </a:pathLst>
                </a:custGeom>
                <a:solidFill>
                  <a:srgbClr val="DEDDDC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ACB35FD3-8BB7-B95B-9A9F-649120EF37D0}"/>
                    </a:ext>
                  </a:extLst>
                </p:cNvPr>
                <p:cNvSpPr/>
                <p:nvPr/>
              </p:nvSpPr>
              <p:spPr>
                <a:xfrm>
                  <a:off x="1617810" y="-3360017"/>
                  <a:ext cx="217640" cy="270128"/>
                </a:xfrm>
                <a:custGeom>
                  <a:avLst/>
                  <a:gdLst>
                    <a:gd name="connsiteX0" fmla="*/ 216649 w 217640"/>
                    <a:gd name="connsiteY0" fmla="*/ 146832 h 270128"/>
                    <a:gd name="connsiteX1" fmla="*/ 186789 w 217640"/>
                    <a:gd name="connsiteY1" fmla="*/ 94078 h 270128"/>
                    <a:gd name="connsiteX2" fmla="*/ 191180 w 217640"/>
                    <a:gd name="connsiteY2" fmla="*/ 39565 h 270128"/>
                    <a:gd name="connsiteX3" fmla="*/ 90183 w 217640"/>
                    <a:gd name="connsiteY3" fmla="*/ 0 h 270128"/>
                    <a:gd name="connsiteX4" fmla="*/ 88426 w 217640"/>
                    <a:gd name="connsiteY4" fmla="*/ 0 h 270128"/>
                    <a:gd name="connsiteX5" fmla="*/ 46271 w 217640"/>
                    <a:gd name="connsiteY5" fmla="*/ 88802 h 270128"/>
                    <a:gd name="connsiteX6" fmla="*/ 50662 w 217640"/>
                    <a:gd name="connsiteY6" fmla="*/ 137160 h 270128"/>
                    <a:gd name="connsiteX7" fmla="*/ 37488 w 217640"/>
                    <a:gd name="connsiteY7" fmla="*/ 160020 h 270128"/>
                    <a:gd name="connsiteX8" fmla="*/ 602 w 217640"/>
                    <a:gd name="connsiteY8" fmla="*/ 218049 h 270128"/>
                    <a:gd name="connsiteX9" fmla="*/ 11141 w 217640"/>
                    <a:gd name="connsiteY9" fmla="*/ 237392 h 270128"/>
                    <a:gd name="connsiteX10" fmla="*/ 132338 w 217640"/>
                    <a:gd name="connsiteY10" fmla="*/ 268165 h 270128"/>
                    <a:gd name="connsiteX11" fmla="*/ 203475 w 217640"/>
                    <a:gd name="connsiteY11" fmla="*/ 223325 h 270128"/>
                    <a:gd name="connsiteX12" fmla="*/ 216649 w 217640"/>
                    <a:gd name="connsiteY12" fmla="*/ 146832 h 270128"/>
                    <a:gd name="connsiteX13" fmla="*/ 216649 w 217640"/>
                    <a:gd name="connsiteY13" fmla="*/ 146832 h 270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7640" h="270128">
                      <a:moveTo>
                        <a:pt x="216649" y="146832"/>
                      </a:moveTo>
                      <a:cubicBezTo>
                        <a:pt x="206988" y="116938"/>
                        <a:pt x="186789" y="94078"/>
                        <a:pt x="186789" y="94078"/>
                      </a:cubicBezTo>
                      <a:cubicBezTo>
                        <a:pt x="186789" y="94078"/>
                        <a:pt x="199084" y="72097"/>
                        <a:pt x="191180" y="39565"/>
                      </a:cubicBezTo>
                      <a:cubicBezTo>
                        <a:pt x="184154" y="9672"/>
                        <a:pt x="102478" y="1759"/>
                        <a:pt x="90183" y="0"/>
                      </a:cubicBezTo>
                      <a:lnTo>
                        <a:pt x="88426" y="0"/>
                      </a:lnTo>
                      <a:cubicBezTo>
                        <a:pt x="78766" y="16705"/>
                        <a:pt x="57688" y="55392"/>
                        <a:pt x="46271" y="88802"/>
                      </a:cubicBezTo>
                      <a:cubicBezTo>
                        <a:pt x="41001" y="104628"/>
                        <a:pt x="44514" y="121334"/>
                        <a:pt x="50662" y="137160"/>
                      </a:cubicBezTo>
                      <a:cubicBezTo>
                        <a:pt x="56810" y="152986"/>
                        <a:pt x="41880" y="152107"/>
                        <a:pt x="37488" y="160020"/>
                      </a:cubicBezTo>
                      <a:lnTo>
                        <a:pt x="602" y="218049"/>
                      </a:lnTo>
                      <a:cubicBezTo>
                        <a:pt x="602" y="218049"/>
                        <a:pt x="-3789" y="238272"/>
                        <a:pt x="11141" y="237392"/>
                      </a:cubicBezTo>
                      <a:cubicBezTo>
                        <a:pt x="26071" y="237392"/>
                        <a:pt x="113895" y="279595"/>
                        <a:pt x="132338" y="268165"/>
                      </a:cubicBezTo>
                      <a:cubicBezTo>
                        <a:pt x="143755" y="261132"/>
                        <a:pt x="182398" y="257615"/>
                        <a:pt x="203475" y="223325"/>
                      </a:cubicBezTo>
                      <a:cubicBezTo>
                        <a:pt x="214014" y="206619"/>
                        <a:pt x="220162" y="182001"/>
                        <a:pt x="216649" y="146832"/>
                      </a:cubicBezTo>
                      <a:lnTo>
                        <a:pt x="216649" y="146832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02" name="Freeform 101">
                <a:extLst>
                  <a:ext uri="{FF2B5EF4-FFF2-40B4-BE49-F238E27FC236}">
                    <a16:creationId xmlns:a16="http://schemas.microsoft.com/office/drawing/2014/main" id="{BCE7E35E-0FAE-BDC3-B898-2633A7ACBBDB}"/>
                  </a:ext>
                </a:extLst>
              </p:cNvPr>
              <p:cNvSpPr/>
              <p:nvPr/>
            </p:nvSpPr>
            <p:spPr>
              <a:xfrm>
                <a:off x="1131869" y="-2923919"/>
                <a:ext cx="1516715" cy="1346102"/>
              </a:xfrm>
              <a:custGeom>
                <a:avLst/>
                <a:gdLst>
                  <a:gd name="connsiteX0" fmla="*/ 349539 w 1516715"/>
                  <a:gd name="connsiteY0" fmla="*/ 654148 h 1346102"/>
                  <a:gd name="connsiteX1" fmla="*/ 345147 w 1516715"/>
                  <a:gd name="connsiteY1" fmla="*/ 805375 h 1346102"/>
                  <a:gd name="connsiteX2" fmla="*/ 340756 w 1516715"/>
                  <a:gd name="connsiteY2" fmla="*/ 1253783 h 1346102"/>
                  <a:gd name="connsiteX3" fmla="*/ 753528 w 1516715"/>
                  <a:gd name="connsiteY3" fmla="*/ 1269609 h 1346102"/>
                  <a:gd name="connsiteX4" fmla="*/ 783388 w 1516715"/>
                  <a:gd name="connsiteY4" fmla="*/ 1219493 h 1346102"/>
                  <a:gd name="connsiteX5" fmla="*/ 822030 w 1516715"/>
                  <a:gd name="connsiteY5" fmla="*/ 1272247 h 1346102"/>
                  <a:gd name="connsiteX6" fmla="*/ 1222506 w 1516715"/>
                  <a:gd name="connsiteY6" fmla="*/ 1287194 h 1346102"/>
                  <a:gd name="connsiteX7" fmla="*/ 1208455 w 1516715"/>
                  <a:gd name="connsiteY7" fmla="*/ 867801 h 1346102"/>
                  <a:gd name="connsiteX8" fmla="*/ 1182986 w 1516715"/>
                  <a:gd name="connsiteY8" fmla="*/ 659423 h 1346102"/>
                  <a:gd name="connsiteX9" fmla="*/ 1219872 w 1516715"/>
                  <a:gd name="connsiteY9" fmla="*/ 859888 h 1346102"/>
                  <a:gd name="connsiteX10" fmla="*/ 1311208 w 1516715"/>
                  <a:gd name="connsiteY10" fmla="*/ 1346102 h 1346102"/>
                  <a:gd name="connsiteX11" fmla="*/ 1516716 w 1516715"/>
                  <a:gd name="connsiteY11" fmla="*/ 1337310 h 1346102"/>
                  <a:gd name="connsiteX12" fmla="*/ 1459630 w 1516715"/>
                  <a:gd name="connsiteY12" fmla="*/ 726244 h 1346102"/>
                  <a:gd name="connsiteX13" fmla="*/ 1283983 w 1516715"/>
                  <a:gd name="connsiteY13" fmla="*/ 144194 h 1346102"/>
                  <a:gd name="connsiteX14" fmla="*/ 1214602 w 1516715"/>
                  <a:gd name="connsiteY14" fmla="*/ 76493 h 1346102"/>
                  <a:gd name="connsiteX15" fmla="*/ 994164 w 1516715"/>
                  <a:gd name="connsiteY15" fmla="*/ 13188 h 1346102"/>
                  <a:gd name="connsiteX16" fmla="*/ 908097 w 1516715"/>
                  <a:gd name="connsiteY16" fmla="*/ 0 h 1346102"/>
                  <a:gd name="connsiteX17" fmla="*/ 784266 w 1516715"/>
                  <a:gd name="connsiteY17" fmla="*/ 555674 h 1346102"/>
                  <a:gd name="connsiteX18" fmla="*/ 647261 w 1516715"/>
                  <a:gd name="connsiteY18" fmla="*/ 4396 h 1346102"/>
                  <a:gd name="connsiteX19" fmla="*/ 329339 w 1516715"/>
                  <a:gd name="connsiteY19" fmla="*/ 88802 h 1346102"/>
                  <a:gd name="connsiteX20" fmla="*/ 5269 w 1516715"/>
                  <a:gd name="connsiteY20" fmla="*/ 729761 h 1346102"/>
                  <a:gd name="connsiteX21" fmla="*/ 0 w 1516715"/>
                  <a:gd name="connsiteY21" fmla="*/ 766689 h 134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16715" h="1346102">
                    <a:moveTo>
                      <a:pt x="349539" y="654148"/>
                    </a:moveTo>
                    <a:lnTo>
                      <a:pt x="345147" y="805375"/>
                    </a:lnTo>
                    <a:cubicBezTo>
                      <a:pt x="324070" y="962758"/>
                      <a:pt x="323191" y="1152671"/>
                      <a:pt x="340756" y="1253783"/>
                    </a:cubicBezTo>
                    <a:lnTo>
                      <a:pt x="753528" y="1269609"/>
                    </a:lnTo>
                    <a:lnTo>
                      <a:pt x="783388" y="1219493"/>
                    </a:lnTo>
                    <a:lnTo>
                      <a:pt x="822030" y="1272247"/>
                    </a:lnTo>
                    <a:lnTo>
                      <a:pt x="1222506" y="1287194"/>
                    </a:lnTo>
                    <a:lnTo>
                      <a:pt x="1208455" y="867801"/>
                    </a:lnTo>
                    <a:lnTo>
                      <a:pt x="1182986" y="659423"/>
                    </a:lnTo>
                    <a:lnTo>
                      <a:pt x="1219872" y="859888"/>
                    </a:lnTo>
                    <a:cubicBezTo>
                      <a:pt x="1243584" y="1108710"/>
                      <a:pt x="1311208" y="1346102"/>
                      <a:pt x="1311208" y="1346102"/>
                    </a:cubicBezTo>
                    <a:lnTo>
                      <a:pt x="1516716" y="1337310"/>
                    </a:lnTo>
                    <a:cubicBezTo>
                      <a:pt x="1516716" y="1337310"/>
                      <a:pt x="1486856" y="1076178"/>
                      <a:pt x="1459630" y="726244"/>
                    </a:cubicBezTo>
                    <a:cubicBezTo>
                      <a:pt x="1431527" y="376311"/>
                      <a:pt x="1283983" y="144194"/>
                      <a:pt x="1283983" y="144194"/>
                    </a:cubicBezTo>
                    <a:cubicBezTo>
                      <a:pt x="1283983" y="144194"/>
                      <a:pt x="1261149" y="90561"/>
                      <a:pt x="1214602" y="76493"/>
                    </a:cubicBezTo>
                    <a:cubicBezTo>
                      <a:pt x="1181229" y="60667"/>
                      <a:pt x="1087258" y="32532"/>
                      <a:pt x="994164" y="13188"/>
                    </a:cubicBezTo>
                    <a:cubicBezTo>
                      <a:pt x="967817" y="7913"/>
                      <a:pt x="938836" y="2638"/>
                      <a:pt x="908097" y="0"/>
                    </a:cubicBezTo>
                    <a:cubicBezTo>
                      <a:pt x="903706" y="0"/>
                      <a:pt x="784266" y="555674"/>
                      <a:pt x="784266" y="555674"/>
                    </a:cubicBezTo>
                    <a:lnTo>
                      <a:pt x="647261" y="4396"/>
                    </a:lnTo>
                    <a:cubicBezTo>
                      <a:pt x="556802" y="17585"/>
                      <a:pt x="432971" y="43962"/>
                      <a:pt x="329339" y="88802"/>
                    </a:cubicBezTo>
                    <a:cubicBezTo>
                      <a:pt x="329339" y="88802"/>
                      <a:pt x="199360" y="283992"/>
                      <a:pt x="5269" y="729761"/>
                    </a:cubicBezTo>
                    <a:cubicBezTo>
                      <a:pt x="5269" y="731520"/>
                      <a:pt x="0" y="763172"/>
                      <a:pt x="0" y="766689"/>
                    </a:cubicBezTo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Freeform 102">
                <a:extLst>
                  <a:ext uri="{FF2B5EF4-FFF2-40B4-BE49-F238E27FC236}">
                    <a16:creationId xmlns:a16="http://schemas.microsoft.com/office/drawing/2014/main" id="{085DB838-8614-89EF-83AA-7F3F2B8BC3A8}"/>
                  </a:ext>
                </a:extLst>
              </p:cNvPr>
              <p:cNvSpPr/>
              <p:nvPr/>
            </p:nvSpPr>
            <p:spPr>
              <a:xfrm>
                <a:off x="1130112" y="-2269771"/>
                <a:ext cx="420675" cy="768447"/>
              </a:xfrm>
              <a:custGeom>
                <a:avLst/>
                <a:gdLst>
                  <a:gd name="connsiteX0" fmla="*/ 351295 w 420675"/>
                  <a:gd name="connsiteY0" fmla="*/ 0 h 768447"/>
                  <a:gd name="connsiteX1" fmla="*/ 274010 w 420675"/>
                  <a:gd name="connsiteY1" fmla="*/ 162658 h 768447"/>
                  <a:gd name="connsiteX2" fmla="*/ 420676 w 420675"/>
                  <a:gd name="connsiteY2" fmla="*/ 575896 h 768447"/>
                  <a:gd name="connsiteX3" fmla="*/ 359199 w 420675"/>
                  <a:gd name="connsiteY3" fmla="*/ 768448 h 768447"/>
                  <a:gd name="connsiteX4" fmla="*/ 0 w 420675"/>
                  <a:gd name="connsiteY4" fmla="*/ 85285 h 768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675" h="768447">
                    <a:moveTo>
                      <a:pt x="351295" y="0"/>
                    </a:moveTo>
                    <a:cubicBezTo>
                      <a:pt x="319678" y="46599"/>
                      <a:pt x="303870" y="127488"/>
                      <a:pt x="274010" y="162658"/>
                    </a:cubicBezTo>
                    <a:cubicBezTo>
                      <a:pt x="279280" y="288388"/>
                      <a:pt x="343391" y="429944"/>
                      <a:pt x="420676" y="575896"/>
                    </a:cubicBezTo>
                    <a:cubicBezTo>
                      <a:pt x="390816" y="677008"/>
                      <a:pt x="374129" y="697230"/>
                      <a:pt x="359199" y="768448"/>
                    </a:cubicBezTo>
                    <a:cubicBezTo>
                      <a:pt x="2635" y="439615"/>
                      <a:pt x="2635" y="156503"/>
                      <a:pt x="0" y="85285"/>
                    </a:cubicBezTo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" name="Freeform 103">
                <a:extLst>
                  <a:ext uri="{FF2B5EF4-FFF2-40B4-BE49-F238E27FC236}">
                    <a16:creationId xmlns:a16="http://schemas.microsoft.com/office/drawing/2014/main" id="{DD5B5A42-9899-71E9-9AAF-957BC2ED8547}"/>
                  </a:ext>
                </a:extLst>
              </p:cNvPr>
              <p:cNvSpPr/>
              <p:nvPr/>
            </p:nvSpPr>
            <p:spPr>
              <a:xfrm>
                <a:off x="1914378" y="-2917764"/>
                <a:ext cx="244149" cy="548639"/>
              </a:xfrm>
              <a:custGeom>
                <a:avLst/>
                <a:gdLst>
                  <a:gd name="connsiteX0" fmla="*/ 0 w 244149"/>
                  <a:gd name="connsiteY0" fmla="*/ 548640 h 548639"/>
                  <a:gd name="connsiteX1" fmla="*/ 207264 w 244149"/>
                  <a:gd name="connsiteY1" fmla="*/ 151228 h 548639"/>
                  <a:gd name="connsiteX2" fmla="*/ 176525 w 244149"/>
                  <a:gd name="connsiteY2" fmla="*/ 117817 h 548639"/>
                  <a:gd name="connsiteX3" fmla="*/ 244150 w 244149"/>
                  <a:gd name="connsiteY3" fmla="*/ 106387 h 548639"/>
                  <a:gd name="connsiteX4" fmla="*/ 185308 w 244149"/>
                  <a:gd name="connsiteY4" fmla="*/ 0 h 54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149" h="548639">
                    <a:moveTo>
                      <a:pt x="0" y="548640"/>
                    </a:moveTo>
                    <a:lnTo>
                      <a:pt x="207264" y="151228"/>
                    </a:lnTo>
                    <a:lnTo>
                      <a:pt x="176525" y="117817"/>
                    </a:lnTo>
                    <a:lnTo>
                      <a:pt x="244150" y="106387"/>
                    </a:lnTo>
                    <a:lnTo>
                      <a:pt x="185308" y="0"/>
                    </a:lnTo>
                  </a:path>
                </a:pathLst>
              </a:custGeom>
              <a:noFill/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" name="Freeform 104">
                <a:extLst>
                  <a:ext uri="{FF2B5EF4-FFF2-40B4-BE49-F238E27FC236}">
                    <a16:creationId xmlns:a16="http://schemas.microsoft.com/office/drawing/2014/main" id="{ADF0E270-D347-70B1-19DF-C925BBC2E865}"/>
                  </a:ext>
                </a:extLst>
              </p:cNvPr>
              <p:cNvSpPr/>
              <p:nvPr/>
            </p:nvSpPr>
            <p:spPr>
              <a:xfrm>
                <a:off x="1678132" y="-2913368"/>
                <a:ext cx="236246" cy="1208942"/>
              </a:xfrm>
              <a:custGeom>
                <a:avLst/>
                <a:gdLst>
                  <a:gd name="connsiteX0" fmla="*/ 56207 w 236246"/>
                  <a:gd name="connsiteY0" fmla="*/ 0 h 1208942"/>
                  <a:gd name="connsiteX1" fmla="*/ 0 w 236246"/>
                  <a:gd name="connsiteY1" fmla="*/ 101991 h 1208942"/>
                  <a:gd name="connsiteX2" fmla="*/ 67624 w 236246"/>
                  <a:gd name="connsiteY2" fmla="*/ 113421 h 1208942"/>
                  <a:gd name="connsiteX3" fmla="*/ 36886 w 236246"/>
                  <a:gd name="connsiteY3" fmla="*/ 146831 h 1208942"/>
                  <a:gd name="connsiteX4" fmla="*/ 236246 w 236246"/>
                  <a:gd name="connsiteY4" fmla="*/ 547761 h 1208942"/>
                  <a:gd name="connsiteX5" fmla="*/ 236246 w 236246"/>
                  <a:gd name="connsiteY5" fmla="*/ 1208942 h 1208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246" h="1208942">
                    <a:moveTo>
                      <a:pt x="56207" y="0"/>
                    </a:moveTo>
                    <a:lnTo>
                      <a:pt x="0" y="101991"/>
                    </a:lnTo>
                    <a:lnTo>
                      <a:pt x="67624" y="113421"/>
                    </a:lnTo>
                    <a:lnTo>
                      <a:pt x="36886" y="146831"/>
                    </a:lnTo>
                    <a:lnTo>
                      <a:pt x="236246" y="547761"/>
                    </a:lnTo>
                    <a:lnTo>
                      <a:pt x="236246" y="1208942"/>
                    </a:lnTo>
                  </a:path>
                </a:pathLst>
              </a:custGeom>
              <a:noFill/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55F261C4-D3E1-F12C-2459-A35525254626}"/>
                </a:ext>
              </a:extLst>
            </p:cNvPr>
            <p:cNvSpPr/>
            <p:nvPr/>
          </p:nvSpPr>
          <p:spPr>
            <a:xfrm>
              <a:off x="3304628" y="-2571348"/>
              <a:ext cx="11417" cy="66821"/>
            </a:xfrm>
            <a:custGeom>
              <a:avLst/>
              <a:gdLst>
                <a:gd name="connsiteX0" fmla="*/ 0 w 11417"/>
                <a:gd name="connsiteY0" fmla="*/ 0 h 66821"/>
                <a:gd name="connsiteX1" fmla="*/ 11417 w 11417"/>
                <a:gd name="connsiteY1" fmla="*/ 66822 h 6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7" h="66821">
                  <a:moveTo>
                    <a:pt x="0" y="0"/>
                  </a:moveTo>
                  <a:lnTo>
                    <a:pt x="11417" y="66822"/>
                  </a:lnTo>
                </a:path>
              </a:pathLst>
            </a:custGeom>
            <a:ln w="1317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92011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075636"/>
            <a:ext cx="5545138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596235"/>
            <a:ext cx="5545137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71FECBDB-0204-F169-0062-7F4D852B9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1116DF71-C805-4A66-B529-6672142A24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B2D267A-80E5-F6A6-3F99-9246BAD699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798983"/>
            <a:ext cx="5545138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ECF7ACC-BCF3-5887-B2AB-0F2A28C247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9198" y="541236"/>
            <a:ext cx="4474694" cy="5749959"/>
          </a:xfrm>
          <a:prstGeom prst="rect">
            <a:avLst/>
          </a:prstGeom>
        </p:spPr>
      </p:pic>
      <p:sp>
        <p:nvSpPr>
          <p:cNvPr id="57" name="Freeform 56">
            <a:extLst>
              <a:ext uri="{FF2B5EF4-FFF2-40B4-BE49-F238E27FC236}">
                <a16:creationId xmlns:a16="http://schemas.microsoft.com/office/drawing/2014/main" id="{7E43ED5B-313E-51C4-A761-B3FCF03DB8CC}"/>
              </a:ext>
            </a:extLst>
          </p:cNvPr>
          <p:cNvSpPr/>
          <p:nvPr/>
        </p:nvSpPr>
        <p:spPr>
          <a:xfrm>
            <a:off x="13782317" y="1075636"/>
            <a:ext cx="10641" cy="10639"/>
          </a:xfrm>
          <a:custGeom>
            <a:avLst/>
            <a:gdLst/>
            <a:ahLst/>
            <a:cxnLst/>
            <a:rect l="l" t="t" r="r" b="b"/>
            <a:pathLst>
              <a:path w="10641" h="10639"/>
            </a:pathLst>
          </a:custGeom>
          <a:solidFill>
            <a:srgbClr val="7A3E1A"/>
          </a:solidFill>
          <a:ln w="15960" cap="flat">
            <a:solidFill>
              <a:srgbClr val="28180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A12E521-AD10-7DDB-5C9A-9777740B95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4026" r="18254"/>
          <a:stretch>
            <a:fillRect/>
          </a:stretch>
        </p:blipFill>
        <p:spPr>
          <a:xfrm>
            <a:off x="535307" y="703360"/>
            <a:ext cx="4642475" cy="5658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692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9F50714D-138E-9C06-92E6-3A2016884F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584200"/>
            <a:ext cx="5545138" cy="5689598"/>
          </a:xfrm>
          <a:custGeom>
            <a:avLst/>
            <a:gdLst>
              <a:gd name="connsiteX0" fmla="*/ 2810626 w 5621249"/>
              <a:gd name="connsiteY0" fmla="*/ 0 h 5886870"/>
              <a:gd name="connsiteX1" fmla="*/ 5621249 w 5621249"/>
              <a:gd name="connsiteY1" fmla="*/ 1455691 h 5886870"/>
              <a:gd name="connsiteX2" fmla="*/ 5621249 w 5621249"/>
              <a:gd name="connsiteY2" fmla="*/ 4431180 h 5886870"/>
              <a:gd name="connsiteX3" fmla="*/ 2810626 w 5621249"/>
              <a:gd name="connsiteY3" fmla="*/ 5886870 h 5886870"/>
              <a:gd name="connsiteX4" fmla="*/ 0 w 5621249"/>
              <a:gd name="connsiteY4" fmla="*/ 4431180 h 5886870"/>
              <a:gd name="connsiteX5" fmla="*/ 0 w 5621249"/>
              <a:gd name="connsiteY5" fmla="*/ 1455691 h 5886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21249" h="5886870">
                <a:moveTo>
                  <a:pt x="2810626" y="0"/>
                </a:moveTo>
                <a:lnTo>
                  <a:pt x="5621249" y="1455691"/>
                </a:lnTo>
                <a:lnTo>
                  <a:pt x="5621249" y="4431180"/>
                </a:lnTo>
                <a:lnTo>
                  <a:pt x="2810626" y="5886870"/>
                </a:lnTo>
                <a:lnTo>
                  <a:pt x="0" y="4431180"/>
                </a:lnTo>
                <a:lnTo>
                  <a:pt x="0" y="145569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A62E0A5D-0204-667F-81E7-019090AE1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F16D819-1FBF-F7A1-E70C-F4212DA7A7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6518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BBB924CD-4376-F4B5-1F60-B7F0ECE806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584200"/>
            <a:ext cx="5508624" cy="5689598"/>
          </a:xfrm>
          <a:custGeom>
            <a:avLst/>
            <a:gdLst>
              <a:gd name="connsiteX0" fmla="*/ 2810626 w 5621249"/>
              <a:gd name="connsiteY0" fmla="*/ 0 h 5886870"/>
              <a:gd name="connsiteX1" fmla="*/ 5621249 w 5621249"/>
              <a:gd name="connsiteY1" fmla="*/ 1455691 h 5886870"/>
              <a:gd name="connsiteX2" fmla="*/ 5621249 w 5621249"/>
              <a:gd name="connsiteY2" fmla="*/ 4431180 h 5886870"/>
              <a:gd name="connsiteX3" fmla="*/ 2810626 w 5621249"/>
              <a:gd name="connsiteY3" fmla="*/ 5886870 h 5886870"/>
              <a:gd name="connsiteX4" fmla="*/ 0 w 5621249"/>
              <a:gd name="connsiteY4" fmla="*/ 4431180 h 5886870"/>
              <a:gd name="connsiteX5" fmla="*/ 0 w 5621249"/>
              <a:gd name="connsiteY5" fmla="*/ 1455691 h 5886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21249" h="5886870">
                <a:moveTo>
                  <a:pt x="2810626" y="0"/>
                </a:moveTo>
                <a:lnTo>
                  <a:pt x="5621249" y="1455691"/>
                </a:lnTo>
                <a:lnTo>
                  <a:pt x="5621249" y="4431180"/>
                </a:lnTo>
                <a:lnTo>
                  <a:pt x="2810626" y="5886870"/>
                </a:lnTo>
                <a:lnTo>
                  <a:pt x="0" y="4431180"/>
                </a:lnTo>
                <a:lnTo>
                  <a:pt x="0" y="145569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EA18024-7C5D-701D-6A5B-AF45B261B4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1525" y="596235"/>
            <a:ext cx="5309611" cy="851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D86047EE-2903-BD82-FECF-200DDD602E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6" name="footnotes">
            <a:extLst>
              <a:ext uri="{FF2B5EF4-FFF2-40B4-BE49-F238E27FC236}">
                <a16:creationId xmlns:a16="http://schemas.microsoft.com/office/drawing/2014/main" id="{0B25229C-52C5-7415-495C-F772A3D88D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1523" y="6102000"/>
            <a:ext cx="4325967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CBC38DE-ACBF-BFF8-8AFF-8F65FC13F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1527" y="1996068"/>
            <a:ext cx="5309610" cy="2888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39939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C4EED20-35EA-6D7D-502E-B36EC673B7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221883"/>
            <a:ext cx="11053763" cy="4704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F1B380C-EB89-6D85-0069-62A3657F0A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53C97C16-A0EF-3E4C-23B4-6155B7D36D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092908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907A4DF-9CC9-3C34-8870-D03E46A5FC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5400000" cy="4320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346CE513-7312-2A6D-0C76-F2ABB84848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2128" y="1774800"/>
            <a:ext cx="5400000" cy="4320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E1DA8DA-55FF-4B3E-7F26-D36A55507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3B654909-BC74-6DDA-3717-E5F5F7B4A6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1229952"/>
            <a:ext cx="5400626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6CCDE6BC-4F1F-F5B6-9079-460E195F77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52128" y="1229952"/>
            <a:ext cx="5400000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6" name="footnotes">
            <a:extLst>
              <a:ext uri="{FF2B5EF4-FFF2-40B4-BE49-F238E27FC236}">
                <a16:creationId xmlns:a16="http://schemas.microsoft.com/office/drawing/2014/main" id="{2C8561DC-F282-A78B-50CE-969241AA5A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30441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536D00D-2B69-EC86-D340-65300A70ED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814992"/>
            <a:ext cx="3492626" cy="4180694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4E9C609-7BDF-6E14-1E47-C6C0FB352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6000" y="1814992"/>
            <a:ext cx="3600000" cy="4180694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B426A07-0A31-5B91-1A45-38A07DC057B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12000" y="1814992"/>
            <a:ext cx="3529137" cy="4180694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5C79F4E-B1FB-FBC4-6D03-2ABBC035C4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D2EB9582-0926-84B4-39F2-68C9ACD018A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1229952"/>
            <a:ext cx="3492624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38B5318D-76DE-DD4A-54C7-864036D8D0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6000" y="1229952"/>
            <a:ext cx="3492624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14883E3A-F329-138C-20E8-C6B03B8F6F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12000" y="1229952"/>
            <a:ext cx="3492624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6" name="footnotes">
            <a:extLst>
              <a:ext uri="{FF2B5EF4-FFF2-40B4-BE49-F238E27FC236}">
                <a16:creationId xmlns:a16="http://schemas.microsoft.com/office/drawing/2014/main" id="{D37506C3-7B3E-2A4A-70C9-C50CBF1E85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301643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2021869F-D8BE-65EC-3EFC-62D7A43587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38B7E782-0276-ABEC-AC1C-388395CCF8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92653E-166E-38D8-1BC8-C5D6FBA292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183CE785-ABC0-52A7-2297-FFB4A13B98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08000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FDCCD86D-418E-BE12-3063-D9860A5D032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36000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59F0522D-B4DE-CD7F-1714-BFF3DC5D5CDD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93137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E93FB406-3B27-A118-DB18-049626F9E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000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98E7E66E-9331-BF78-F088-CC1507438D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36000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088C1518-30B9-2C18-63ED-801D2D3E9B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93139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761F1022-3A52-842C-5123-AA41028E0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339998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D49B2E-97E6-D9F8-718B-A17FB3241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5DAA0C9C-5C56-49D6-1AC6-3571B708DB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652260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0A3D76-AB94-4F36-799C-B4A43450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8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A3D76-AB94-4F36-799C-B4A43450459F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3A9FBCB7-64C8-3334-37BD-F3B8A49DE9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12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5CE6E23-185E-6743-91C2-61D59594F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7283" y="1293765"/>
            <a:ext cx="418537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923CF1CE-3D31-7F6E-DCDF-E2F32A2553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1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32ED8768-6538-2B1A-5362-29FACA673D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7283" y="2193765"/>
            <a:ext cx="4185372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C1E5DC26-4E6F-3BA6-58B6-F8B36941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30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26DE173D-E761-A333-0E17-81FA88BE0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7282" y="3093765"/>
            <a:ext cx="418537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CDF225B3-43B7-A7EE-F801-EE1CFF559F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39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221CA5C7-1F08-8BBE-8775-34E8EE29D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7281" y="3993765"/>
            <a:ext cx="418537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97DE4764-8675-CC7C-7D0D-87C75EAE0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48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F590146E-A290-D74E-2524-F9FEB48C32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97280" y="4893765"/>
            <a:ext cx="418537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53B440B1-4AF1-02C4-D21D-AF9D0377BB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5" y="57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F425F257-B79D-5713-0549-ACA5273F15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97280" y="5793765"/>
            <a:ext cx="418537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C1602382-22BB-1E2D-EC89-BC09E05B4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159E32D-5C8A-D3EB-196F-55944097E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grpSp>
        <p:nvGrpSpPr>
          <p:cNvPr id="12" name="Graphic 6">
            <a:extLst>
              <a:ext uri="{FF2B5EF4-FFF2-40B4-BE49-F238E27FC236}">
                <a16:creationId xmlns:a16="http://schemas.microsoft.com/office/drawing/2014/main" id="{B5CFCF9A-2780-ADBF-86CC-00E75F133F40}"/>
              </a:ext>
            </a:extLst>
          </p:cNvPr>
          <p:cNvGrpSpPr/>
          <p:nvPr/>
        </p:nvGrpSpPr>
        <p:grpSpPr>
          <a:xfrm>
            <a:off x="-12394315" y="2136257"/>
            <a:ext cx="2480746" cy="3669345"/>
            <a:chOff x="-12394315" y="2136257"/>
            <a:chExt cx="2480746" cy="3669345"/>
          </a:xfrm>
        </p:grpSpPr>
        <p:grpSp>
          <p:nvGrpSpPr>
            <p:cNvPr id="13" name="Graphic 6">
              <a:extLst>
                <a:ext uri="{FF2B5EF4-FFF2-40B4-BE49-F238E27FC236}">
                  <a16:creationId xmlns:a16="http://schemas.microsoft.com/office/drawing/2014/main" id="{C3EDF20E-631C-53E0-FA9E-F4170B5F24A9}"/>
                </a:ext>
              </a:extLst>
            </p:cNvPr>
            <p:cNvGrpSpPr/>
            <p:nvPr/>
          </p:nvGrpSpPr>
          <p:grpSpPr>
            <a:xfrm>
              <a:off x="-12394315" y="2136257"/>
              <a:ext cx="2480746" cy="3669345"/>
              <a:chOff x="-12394315" y="2136257"/>
              <a:chExt cx="2480746" cy="3669345"/>
            </a:xfrm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478D2EF2-54C5-BD00-D54F-60EFD17622C1}"/>
                  </a:ext>
                </a:extLst>
              </p:cNvPr>
              <p:cNvSpPr/>
              <p:nvPr/>
            </p:nvSpPr>
            <p:spPr>
              <a:xfrm>
                <a:off x="-12178674" y="3689240"/>
                <a:ext cx="836249" cy="1834954"/>
              </a:xfrm>
              <a:custGeom>
                <a:avLst/>
                <a:gdLst>
                  <a:gd name="connsiteX0" fmla="*/ 163 w 836249"/>
                  <a:gd name="connsiteY0" fmla="*/ 1557117 h 1834954"/>
                  <a:gd name="connsiteX1" fmla="*/ 29145 w 836249"/>
                  <a:gd name="connsiteY1" fmla="*/ 1353136 h 1834954"/>
                  <a:gd name="connsiteX2" fmla="*/ 95891 w 836249"/>
                  <a:gd name="connsiteY2" fmla="*/ 0 h 1834954"/>
                  <a:gd name="connsiteX3" fmla="*/ 813416 w 836249"/>
                  <a:gd name="connsiteY3" fmla="*/ 31652 h 1834954"/>
                  <a:gd name="connsiteX4" fmla="*/ 826589 w 836249"/>
                  <a:gd name="connsiteY4" fmla="*/ 371915 h 1834954"/>
                  <a:gd name="connsiteX5" fmla="*/ 836250 w 836249"/>
                  <a:gd name="connsiteY5" fmla="*/ 1670538 h 1834954"/>
                  <a:gd name="connsiteX6" fmla="*/ 775651 w 836249"/>
                  <a:gd name="connsiteY6" fmla="*/ 1762858 h 1834954"/>
                  <a:gd name="connsiteX7" fmla="*/ 746669 w 836249"/>
                  <a:gd name="connsiteY7" fmla="*/ 1825283 h 1834954"/>
                  <a:gd name="connsiteX8" fmla="*/ 614055 w 836249"/>
                  <a:gd name="connsiteY8" fmla="*/ 1834954 h 1834954"/>
                  <a:gd name="connsiteX9" fmla="*/ 597368 w 836249"/>
                  <a:gd name="connsiteY9" fmla="*/ 1776046 h 1834954"/>
                  <a:gd name="connsiteX10" fmla="*/ 518326 w 836249"/>
                  <a:gd name="connsiteY10" fmla="*/ 1664384 h 1834954"/>
                  <a:gd name="connsiteX11" fmla="*/ 451580 w 836249"/>
                  <a:gd name="connsiteY11" fmla="*/ 534572 h 1834954"/>
                  <a:gd name="connsiteX12" fmla="*/ 451580 w 836249"/>
                  <a:gd name="connsiteY12" fmla="*/ 232117 h 1834954"/>
                  <a:gd name="connsiteX13" fmla="*/ 257488 w 836249"/>
                  <a:gd name="connsiteY13" fmla="*/ 1753186 h 1834954"/>
                  <a:gd name="connsiteX14" fmla="*/ 250462 w 836249"/>
                  <a:gd name="connsiteY14" fmla="*/ 1753186 h 1834954"/>
                  <a:gd name="connsiteX15" fmla="*/ 236410 w 836249"/>
                  <a:gd name="connsiteY15" fmla="*/ 1804181 h 1834954"/>
                  <a:gd name="connsiteX16" fmla="*/ 80083 w 836249"/>
                  <a:gd name="connsiteY16" fmla="*/ 1795389 h 1834954"/>
                  <a:gd name="connsiteX17" fmla="*/ 61640 w 836249"/>
                  <a:gd name="connsiteY17" fmla="*/ 1738239 h 1834954"/>
                  <a:gd name="connsiteX18" fmla="*/ 51101 w 836249"/>
                  <a:gd name="connsiteY18" fmla="*/ 1738239 h 1834954"/>
                  <a:gd name="connsiteX19" fmla="*/ 163 w 836249"/>
                  <a:gd name="connsiteY19" fmla="*/ 1556238 h 1834954"/>
                  <a:gd name="connsiteX20" fmla="*/ 163 w 836249"/>
                  <a:gd name="connsiteY20" fmla="*/ 1556238 h 183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36249" h="1834954">
                    <a:moveTo>
                      <a:pt x="163" y="1557117"/>
                    </a:moveTo>
                    <a:cubicBezTo>
                      <a:pt x="3676" y="1442817"/>
                      <a:pt x="29145" y="1353136"/>
                      <a:pt x="29145" y="1353136"/>
                    </a:cubicBezTo>
                    <a:lnTo>
                      <a:pt x="95891" y="0"/>
                    </a:lnTo>
                    <a:lnTo>
                      <a:pt x="813416" y="31652"/>
                    </a:lnTo>
                    <a:lnTo>
                      <a:pt x="826589" y="371915"/>
                    </a:lnTo>
                    <a:lnTo>
                      <a:pt x="836250" y="1670538"/>
                    </a:lnTo>
                    <a:cubicBezTo>
                      <a:pt x="836250" y="1670538"/>
                      <a:pt x="807268" y="1747031"/>
                      <a:pt x="775651" y="1762858"/>
                    </a:cubicBezTo>
                    <a:lnTo>
                      <a:pt x="746669" y="1825283"/>
                    </a:lnTo>
                    <a:lnTo>
                      <a:pt x="614055" y="1834954"/>
                    </a:lnTo>
                    <a:lnTo>
                      <a:pt x="597368" y="1776046"/>
                    </a:lnTo>
                    <a:cubicBezTo>
                      <a:pt x="597368" y="1776046"/>
                      <a:pt x="518326" y="1734722"/>
                      <a:pt x="518326" y="1664384"/>
                    </a:cubicBezTo>
                    <a:cubicBezTo>
                      <a:pt x="518326" y="1594045"/>
                      <a:pt x="451580" y="534572"/>
                      <a:pt x="451580" y="534572"/>
                    </a:cubicBezTo>
                    <a:lnTo>
                      <a:pt x="451580" y="232117"/>
                    </a:lnTo>
                    <a:cubicBezTo>
                      <a:pt x="451580" y="232117"/>
                      <a:pt x="362877" y="1674055"/>
                      <a:pt x="257488" y="1753186"/>
                    </a:cubicBezTo>
                    <a:lnTo>
                      <a:pt x="250462" y="1753186"/>
                    </a:lnTo>
                    <a:lnTo>
                      <a:pt x="236410" y="1804181"/>
                    </a:lnTo>
                    <a:lnTo>
                      <a:pt x="80083" y="1795389"/>
                    </a:lnTo>
                    <a:lnTo>
                      <a:pt x="61640" y="1738239"/>
                    </a:lnTo>
                    <a:lnTo>
                      <a:pt x="51101" y="1738239"/>
                    </a:lnTo>
                    <a:cubicBezTo>
                      <a:pt x="51101" y="1738239"/>
                      <a:pt x="-3350" y="1670538"/>
                      <a:pt x="163" y="1556238"/>
                    </a:cubicBezTo>
                    <a:lnTo>
                      <a:pt x="163" y="1556238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6A65904-B5DB-4E65-CA93-E159DC8EC93C}"/>
                  </a:ext>
                </a:extLst>
              </p:cNvPr>
              <p:cNvSpPr/>
              <p:nvPr/>
            </p:nvSpPr>
            <p:spPr>
              <a:xfrm>
                <a:off x="-12394315" y="2721448"/>
                <a:ext cx="481974" cy="928012"/>
              </a:xfrm>
              <a:custGeom>
                <a:avLst/>
                <a:gdLst>
                  <a:gd name="connsiteX0" fmla="*/ 435365 w 481974"/>
                  <a:gd name="connsiteY0" fmla="*/ 1517 h 928012"/>
                  <a:gd name="connsiteX1" fmla="*/ 95485 w 481974"/>
                  <a:gd name="connsiteY1" fmla="*/ 95595 h 928012"/>
                  <a:gd name="connsiteX2" fmla="*/ 6782 w 481974"/>
                  <a:gd name="connsiteY2" fmla="*/ 864043 h 928012"/>
                  <a:gd name="connsiteX3" fmla="*/ 304507 w 481974"/>
                  <a:gd name="connsiteY3" fmla="*/ 921193 h 928012"/>
                  <a:gd name="connsiteX4" fmla="*/ 435365 w 481974"/>
                  <a:gd name="connsiteY4" fmla="*/ 638 h 928012"/>
                  <a:gd name="connsiteX5" fmla="*/ 435365 w 481974"/>
                  <a:gd name="connsiteY5" fmla="*/ 638 h 92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1974" h="928012">
                    <a:moveTo>
                      <a:pt x="435365" y="1517"/>
                    </a:moveTo>
                    <a:cubicBezTo>
                      <a:pt x="435365" y="1517"/>
                      <a:pt x="179796" y="-19584"/>
                      <a:pt x="95485" y="95595"/>
                    </a:cubicBezTo>
                    <a:cubicBezTo>
                      <a:pt x="95485" y="95595"/>
                      <a:pt x="-30104" y="576534"/>
                      <a:pt x="6782" y="864043"/>
                    </a:cubicBezTo>
                    <a:cubicBezTo>
                      <a:pt x="6782" y="864043"/>
                      <a:pt x="6782" y="952845"/>
                      <a:pt x="304507" y="921193"/>
                    </a:cubicBezTo>
                    <a:cubicBezTo>
                      <a:pt x="602231" y="889540"/>
                      <a:pt x="435365" y="638"/>
                      <a:pt x="435365" y="638"/>
                    </a:cubicBezTo>
                    <a:lnTo>
                      <a:pt x="435365" y="638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02740F4E-1790-AF8C-054D-1D7DE90990D8}"/>
                  </a:ext>
                </a:extLst>
              </p:cNvPr>
              <p:cNvSpPr/>
              <p:nvPr/>
            </p:nvSpPr>
            <p:spPr>
              <a:xfrm>
                <a:off x="-12347065" y="2669332"/>
                <a:ext cx="1228076" cy="1249386"/>
              </a:xfrm>
              <a:custGeom>
                <a:avLst/>
                <a:gdLst>
                  <a:gd name="connsiteX0" fmla="*/ 97416 w 1228076"/>
                  <a:gd name="connsiteY0" fmla="*/ 886265 h 1249386"/>
                  <a:gd name="connsiteX1" fmla="*/ 158015 w 1228076"/>
                  <a:gd name="connsiteY1" fmla="*/ 914400 h 1249386"/>
                  <a:gd name="connsiteX2" fmla="*/ 158015 w 1228076"/>
                  <a:gd name="connsiteY2" fmla="*/ 911762 h 1249386"/>
                  <a:gd name="connsiteX3" fmla="*/ 185240 w 1228076"/>
                  <a:gd name="connsiteY3" fmla="*/ 911762 h 1249386"/>
                  <a:gd name="connsiteX4" fmla="*/ 220370 w 1228076"/>
                  <a:gd name="connsiteY4" fmla="*/ 903849 h 1249386"/>
                  <a:gd name="connsiteX5" fmla="*/ 220370 w 1228076"/>
                  <a:gd name="connsiteY5" fmla="*/ 917038 h 1249386"/>
                  <a:gd name="connsiteX6" fmla="*/ 245839 w 1228076"/>
                  <a:gd name="connsiteY6" fmla="*/ 1215097 h 1249386"/>
                  <a:gd name="connsiteX7" fmla="*/ 929990 w 1228076"/>
                  <a:gd name="connsiteY7" fmla="*/ 1227406 h 1249386"/>
                  <a:gd name="connsiteX8" fmla="*/ 1035379 w 1228076"/>
                  <a:gd name="connsiteY8" fmla="*/ 1249387 h 1249386"/>
                  <a:gd name="connsiteX9" fmla="*/ 1080169 w 1228076"/>
                  <a:gd name="connsiteY9" fmla="*/ 1227406 h 1249386"/>
                  <a:gd name="connsiteX10" fmla="*/ 1217175 w 1228076"/>
                  <a:gd name="connsiteY10" fmla="*/ 891540 h 1249386"/>
                  <a:gd name="connsiteX11" fmla="*/ 1224201 w 1228076"/>
                  <a:gd name="connsiteY11" fmla="*/ 762293 h 1249386"/>
                  <a:gd name="connsiteX12" fmla="*/ 1153064 w 1228076"/>
                  <a:gd name="connsiteY12" fmla="*/ 324436 h 1249386"/>
                  <a:gd name="connsiteX13" fmla="*/ 785958 w 1228076"/>
                  <a:gd name="connsiteY13" fmla="*/ 0 h 1249386"/>
                  <a:gd name="connsiteX14" fmla="*/ 522485 w 1228076"/>
                  <a:gd name="connsiteY14" fmla="*/ 21981 h 1249386"/>
                  <a:gd name="connsiteX15" fmla="*/ 508433 w 1228076"/>
                  <a:gd name="connsiteY15" fmla="*/ 19343 h 1249386"/>
                  <a:gd name="connsiteX16" fmla="*/ 503164 w 1228076"/>
                  <a:gd name="connsiteY16" fmla="*/ 19343 h 1249386"/>
                  <a:gd name="connsiteX17" fmla="*/ 491747 w 1228076"/>
                  <a:gd name="connsiteY17" fmla="*/ 22860 h 1249386"/>
                  <a:gd name="connsiteX18" fmla="*/ 200170 w 1228076"/>
                  <a:gd name="connsiteY18" fmla="*/ 144194 h 1249386"/>
                  <a:gd name="connsiteX19" fmla="*/ 4322 w 1228076"/>
                  <a:gd name="connsiteY19" fmla="*/ 659423 h 1249386"/>
                  <a:gd name="connsiteX20" fmla="*/ 98294 w 1228076"/>
                  <a:gd name="connsiteY20" fmla="*/ 888023 h 1249386"/>
                  <a:gd name="connsiteX21" fmla="*/ 97416 w 1228076"/>
                  <a:gd name="connsiteY21" fmla="*/ 888023 h 1249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28076" h="1249386">
                    <a:moveTo>
                      <a:pt x="97416" y="886265"/>
                    </a:moveTo>
                    <a:cubicBezTo>
                      <a:pt x="123763" y="901211"/>
                      <a:pt x="127276" y="902970"/>
                      <a:pt x="158015" y="914400"/>
                    </a:cubicBezTo>
                    <a:lnTo>
                      <a:pt x="158015" y="911762"/>
                    </a:lnTo>
                    <a:cubicBezTo>
                      <a:pt x="166797" y="912641"/>
                      <a:pt x="175580" y="912641"/>
                      <a:pt x="185240" y="911762"/>
                    </a:cubicBezTo>
                    <a:cubicBezTo>
                      <a:pt x="197536" y="910004"/>
                      <a:pt x="208953" y="906487"/>
                      <a:pt x="220370" y="903849"/>
                    </a:cubicBezTo>
                    <a:lnTo>
                      <a:pt x="220370" y="917038"/>
                    </a:lnTo>
                    <a:cubicBezTo>
                      <a:pt x="225639" y="1131570"/>
                      <a:pt x="245839" y="1215097"/>
                      <a:pt x="245839" y="1215097"/>
                    </a:cubicBezTo>
                    <a:cubicBezTo>
                      <a:pt x="245839" y="1215097"/>
                      <a:pt x="763124" y="1237957"/>
                      <a:pt x="929990" y="1227406"/>
                    </a:cubicBezTo>
                    <a:lnTo>
                      <a:pt x="1035379" y="1249387"/>
                    </a:lnTo>
                    <a:lnTo>
                      <a:pt x="1080169" y="1227406"/>
                    </a:lnTo>
                    <a:cubicBezTo>
                      <a:pt x="1159211" y="1187841"/>
                      <a:pt x="1182924" y="1014632"/>
                      <a:pt x="1217175" y="891540"/>
                    </a:cubicBezTo>
                    <a:cubicBezTo>
                      <a:pt x="1228592" y="849337"/>
                      <a:pt x="1231227" y="805375"/>
                      <a:pt x="1224201" y="762293"/>
                    </a:cubicBezTo>
                    <a:lnTo>
                      <a:pt x="1153064" y="324436"/>
                    </a:lnTo>
                    <a:cubicBezTo>
                      <a:pt x="1124082" y="86165"/>
                      <a:pt x="785958" y="0"/>
                      <a:pt x="785958" y="0"/>
                    </a:cubicBezTo>
                    <a:cubicBezTo>
                      <a:pt x="680569" y="43962"/>
                      <a:pt x="566398" y="29894"/>
                      <a:pt x="522485" y="21981"/>
                    </a:cubicBezTo>
                    <a:cubicBezTo>
                      <a:pt x="518094" y="20222"/>
                      <a:pt x="512825" y="19343"/>
                      <a:pt x="508433" y="19343"/>
                    </a:cubicBezTo>
                    <a:cubicBezTo>
                      <a:pt x="504042" y="19343"/>
                      <a:pt x="503164" y="19343"/>
                      <a:pt x="503164" y="19343"/>
                    </a:cubicBezTo>
                    <a:lnTo>
                      <a:pt x="491747" y="22860"/>
                    </a:lnTo>
                    <a:cubicBezTo>
                      <a:pt x="431148" y="36049"/>
                      <a:pt x="260769" y="96715"/>
                      <a:pt x="200170" y="144194"/>
                    </a:cubicBezTo>
                    <a:cubicBezTo>
                      <a:pt x="125520" y="202223"/>
                      <a:pt x="45600" y="465113"/>
                      <a:pt x="4322" y="659423"/>
                    </a:cubicBezTo>
                    <a:cubicBezTo>
                      <a:pt x="-13243" y="743829"/>
                      <a:pt x="23644" y="844941"/>
                      <a:pt x="98294" y="888023"/>
                    </a:cubicBezTo>
                    <a:lnTo>
                      <a:pt x="97416" y="88802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E13D7265-65CD-8A65-5E1D-118441CE8F23}"/>
                  </a:ext>
                </a:extLst>
              </p:cNvPr>
              <p:cNvSpPr/>
              <p:nvPr/>
            </p:nvSpPr>
            <p:spPr>
              <a:xfrm>
                <a:off x="-11912333" y="2136257"/>
                <a:ext cx="421914" cy="572934"/>
              </a:xfrm>
              <a:custGeom>
                <a:avLst/>
                <a:gdLst>
                  <a:gd name="connsiteX0" fmla="*/ 35937 w 421914"/>
                  <a:gd name="connsiteY0" fmla="*/ 108407 h 572934"/>
                  <a:gd name="connsiteX1" fmla="*/ 63163 w 421914"/>
                  <a:gd name="connsiteY1" fmla="*/ 60050 h 572934"/>
                  <a:gd name="connsiteX2" fmla="*/ 173821 w 421914"/>
                  <a:gd name="connsiteY2" fmla="*/ 8175 h 572934"/>
                  <a:gd name="connsiteX3" fmla="*/ 288871 w 421914"/>
                  <a:gd name="connsiteY3" fmla="*/ 21364 h 572934"/>
                  <a:gd name="connsiteX4" fmla="*/ 306436 w 421914"/>
                  <a:gd name="connsiteY4" fmla="*/ 73238 h 572934"/>
                  <a:gd name="connsiteX5" fmla="*/ 367913 w 421914"/>
                  <a:gd name="connsiteY5" fmla="*/ 169074 h 572934"/>
                  <a:gd name="connsiteX6" fmla="*/ 421486 w 421914"/>
                  <a:gd name="connsiteY6" fmla="*/ 229741 h 572934"/>
                  <a:gd name="connsiteX7" fmla="*/ 406556 w 421914"/>
                  <a:gd name="connsiteY7" fmla="*/ 255239 h 572934"/>
                  <a:gd name="connsiteX8" fmla="*/ 407434 w 421914"/>
                  <a:gd name="connsiteY8" fmla="*/ 286012 h 572934"/>
                  <a:gd name="connsiteX9" fmla="*/ 389869 w 421914"/>
                  <a:gd name="connsiteY9" fmla="*/ 307113 h 572934"/>
                  <a:gd name="connsiteX10" fmla="*/ 407434 w 421914"/>
                  <a:gd name="connsiteY10" fmla="*/ 304476 h 572934"/>
                  <a:gd name="connsiteX11" fmla="*/ 407434 w 421914"/>
                  <a:gd name="connsiteY11" fmla="*/ 325577 h 572934"/>
                  <a:gd name="connsiteX12" fmla="*/ 411825 w 421914"/>
                  <a:gd name="connsiteY12" fmla="*/ 375693 h 572934"/>
                  <a:gd name="connsiteX13" fmla="*/ 325757 w 421914"/>
                  <a:gd name="connsiteY13" fmla="*/ 407346 h 572934"/>
                  <a:gd name="connsiteX14" fmla="*/ 309949 w 421914"/>
                  <a:gd name="connsiteY14" fmla="*/ 511974 h 572934"/>
                  <a:gd name="connsiteX15" fmla="*/ 350348 w 421914"/>
                  <a:gd name="connsiteY15" fmla="*/ 533955 h 572934"/>
                  <a:gd name="connsiteX16" fmla="*/ 53502 w 421914"/>
                  <a:gd name="connsiteY16" fmla="*/ 555057 h 572934"/>
                  <a:gd name="connsiteX17" fmla="*/ 103562 w 421914"/>
                  <a:gd name="connsiteY17" fmla="*/ 520767 h 572934"/>
                  <a:gd name="connsiteX18" fmla="*/ 128153 w 421914"/>
                  <a:gd name="connsiteY18" fmla="*/ 395916 h 572934"/>
                  <a:gd name="connsiteX19" fmla="*/ 116736 w 421914"/>
                  <a:gd name="connsiteY19" fmla="*/ 384486 h 572934"/>
                  <a:gd name="connsiteX20" fmla="*/ 49111 w 421914"/>
                  <a:gd name="connsiteY20" fmla="*/ 309751 h 572934"/>
                  <a:gd name="connsiteX21" fmla="*/ 35059 w 421914"/>
                  <a:gd name="connsiteY21" fmla="*/ 108407 h 572934"/>
                  <a:gd name="connsiteX22" fmla="*/ 35059 w 421914"/>
                  <a:gd name="connsiteY22" fmla="*/ 108407 h 57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21914" h="572934">
                    <a:moveTo>
                      <a:pt x="35937" y="108407"/>
                    </a:moveTo>
                    <a:cubicBezTo>
                      <a:pt x="41207" y="90823"/>
                      <a:pt x="49989" y="74117"/>
                      <a:pt x="63163" y="60050"/>
                    </a:cubicBezTo>
                    <a:cubicBezTo>
                      <a:pt x="102684" y="16967"/>
                      <a:pt x="173821" y="8175"/>
                      <a:pt x="173821" y="8175"/>
                    </a:cubicBezTo>
                    <a:cubicBezTo>
                      <a:pt x="239689" y="-11168"/>
                      <a:pt x="266037" y="8175"/>
                      <a:pt x="288871" y="21364"/>
                    </a:cubicBezTo>
                    <a:cubicBezTo>
                      <a:pt x="330148" y="47740"/>
                      <a:pt x="312584" y="67084"/>
                      <a:pt x="306436" y="73238"/>
                    </a:cubicBezTo>
                    <a:cubicBezTo>
                      <a:pt x="314340" y="79393"/>
                      <a:pt x="370548" y="126871"/>
                      <a:pt x="367913" y="169074"/>
                    </a:cubicBezTo>
                    <a:cubicBezTo>
                      <a:pt x="367913" y="181383"/>
                      <a:pt x="421486" y="229741"/>
                      <a:pt x="421486" y="229741"/>
                    </a:cubicBezTo>
                    <a:cubicBezTo>
                      <a:pt x="421486" y="229741"/>
                      <a:pt x="425877" y="247326"/>
                      <a:pt x="406556" y="255239"/>
                    </a:cubicBezTo>
                    <a:cubicBezTo>
                      <a:pt x="388112" y="263152"/>
                      <a:pt x="407434" y="286012"/>
                      <a:pt x="407434" y="286012"/>
                    </a:cubicBezTo>
                    <a:cubicBezTo>
                      <a:pt x="407434" y="286012"/>
                      <a:pt x="417094" y="298321"/>
                      <a:pt x="389869" y="307113"/>
                    </a:cubicBezTo>
                    <a:cubicBezTo>
                      <a:pt x="383721" y="308872"/>
                      <a:pt x="402164" y="302717"/>
                      <a:pt x="407434" y="304476"/>
                    </a:cubicBezTo>
                    <a:cubicBezTo>
                      <a:pt x="407434" y="304476"/>
                      <a:pt x="413582" y="315027"/>
                      <a:pt x="407434" y="325577"/>
                    </a:cubicBezTo>
                    <a:cubicBezTo>
                      <a:pt x="401286" y="335249"/>
                      <a:pt x="415338" y="364263"/>
                      <a:pt x="411825" y="375693"/>
                    </a:cubicBezTo>
                    <a:cubicBezTo>
                      <a:pt x="407434" y="392399"/>
                      <a:pt x="360009" y="402070"/>
                      <a:pt x="325757" y="407346"/>
                    </a:cubicBezTo>
                    <a:lnTo>
                      <a:pt x="309949" y="511974"/>
                    </a:lnTo>
                    <a:cubicBezTo>
                      <a:pt x="324879" y="531317"/>
                      <a:pt x="350348" y="533955"/>
                      <a:pt x="350348" y="533955"/>
                    </a:cubicBezTo>
                    <a:cubicBezTo>
                      <a:pt x="264280" y="606931"/>
                      <a:pt x="53502" y="555057"/>
                      <a:pt x="53502" y="555057"/>
                    </a:cubicBezTo>
                    <a:cubicBezTo>
                      <a:pt x="85119" y="548902"/>
                      <a:pt x="98292" y="530438"/>
                      <a:pt x="103562" y="520767"/>
                    </a:cubicBezTo>
                    <a:lnTo>
                      <a:pt x="128153" y="395916"/>
                    </a:lnTo>
                    <a:cubicBezTo>
                      <a:pt x="124640" y="395916"/>
                      <a:pt x="120248" y="391520"/>
                      <a:pt x="116736" y="384486"/>
                    </a:cubicBezTo>
                    <a:cubicBezTo>
                      <a:pt x="109710" y="370418"/>
                      <a:pt x="85997" y="340524"/>
                      <a:pt x="49111" y="309751"/>
                    </a:cubicBezTo>
                    <a:cubicBezTo>
                      <a:pt x="-71" y="268427"/>
                      <a:pt x="-24662" y="198089"/>
                      <a:pt x="35059" y="108407"/>
                    </a:cubicBezTo>
                    <a:lnTo>
                      <a:pt x="35059" y="10840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724238E0-8980-B45D-13AC-6EACCA7948F1}"/>
                  </a:ext>
                </a:extLst>
              </p:cNvPr>
              <p:cNvSpPr/>
              <p:nvPr/>
            </p:nvSpPr>
            <p:spPr>
              <a:xfrm>
                <a:off x="-11908820" y="2136257"/>
                <a:ext cx="419414" cy="414617"/>
              </a:xfrm>
              <a:custGeom>
                <a:avLst/>
                <a:gdLst>
                  <a:gd name="connsiteX0" fmla="*/ 32424 w 419414"/>
                  <a:gd name="connsiteY0" fmla="*/ 108407 h 414617"/>
                  <a:gd name="connsiteX1" fmla="*/ 59650 w 419414"/>
                  <a:gd name="connsiteY1" fmla="*/ 60050 h 414617"/>
                  <a:gd name="connsiteX2" fmla="*/ 170308 w 419414"/>
                  <a:gd name="connsiteY2" fmla="*/ 8175 h 414617"/>
                  <a:gd name="connsiteX3" fmla="*/ 285358 w 419414"/>
                  <a:gd name="connsiteY3" fmla="*/ 21364 h 414617"/>
                  <a:gd name="connsiteX4" fmla="*/ 302923 w 419414"/>
                  <a:gd name="connsiteY4" fmla="*/ 73238 h 414617"/>
                  <a:gd name="connsiteX5" fmla="*/ 302923 w 419414"/>
                  <a:gd name="connsiteY5" fmla="*/ 73238 h 414617"/>
                  <a:gd name="connsiteX6" fmla="*/ 249350 w 419414"/>
                  <a:gd name="connsiteY6" fmla="*/ 122475 h 414617"/>
                  <a:gd name="connsiteX7" fmla="*/ 217733 w 419414"/>
                  <a:gd name="connsiteY7" fmla="*/ 223587 h 414617"/>
                  <a:gd name="connsiteX8" fmla="*/ 325757 w 419414"/>
                  <a:gd name="connsiteY8" fmla="*/ 344920 h 414617"/>
                  <a:gd name="connsiteX9" fmla="*/ 339809 w 419414"/>
                  <a:gd name="connsiteY9" fmla="*/ 290408 h 414617"/>
                  <a:gd name="connsiteX10" fmla="*/ 396017 w 419414"/>
                  <a:gd name="connsiteY10" fmla="*/ 261394 h 414617"/>
                  <a:gd name="connsiteX11" fmla="*/ 403043 w 419414"/>
                  <a:gd name="connsiteY11" fmla="*/ 282495 h 414617"/>
                  <a:gd name="connsiteX12" fmla="*/ 361765 w 419414"/>
                  <a:gd name="connsiteY12" fmla="*/ 304476 h 414617"/>
                  <a:gd name="connsiteX13" fmla="*/ 361765 w 419414"/>
                  <a:gd name="connsiteY13" fmla="*/ 355471 h 414617"/>
                  <a:gd name="connsiteX14" fmla="*/ 410069 w 419414"/>
                  <a:gd name="connsiteY14" fmla="*/ 344920 h 414617"/>
                  <a:gd name="connsiteX15" fmla="*/ 413581 w 419414"/>
                  <a:gd name="connsiteY15" fmla="*/ 395916 h 414617"/>
                  <a:gd name="connsiteX16" fmla="*/ 288871 w 419414"/>
                  <a:gd name="connsiteY16" fmla="*/ 403829 h 414617"/>
                  <a:gd name="connsiteX17" fmla="*/ 217733 w 419414"/>
                  <a:gd name="connsiteY17" fmla="*/ 272823 h 414617"/>
                  <a:gd name="connsiteX18" fmla="*/ 210707 w 419414"/>
                  <a:gd name="connsiteY18" fmla="*/ 263152 h 414617"/>
                  <a:gd name="connsiteX19" fmla="*/ 141326 w 419414"/>
                  <a:gd name="connsiteY19" fmla="*/ 311510 h 414617"/>
                  <a:gd name="connsiteX20" fmla="*/ 162404 w 419414"/>
                  <a:gd name="connsiteY20" fmla="*/ 337887 h 414617"/>
                  <a:gd name="connsiteX21" fmla="*/ 142205 w 419414"/>
                  <a:gd name="connsiteY21" fmla="*/ 383607 h 414617"/>
                  <a:gd name="connsiteX22" fmla="*/ 116735 w 419414"/>
                  <a:gd name="connsiteY22" fmla="*/ 385365 h 414617"/>
                  <a:gd name="connsiteX23" fmla="*/ 49111 w 419414"/>
                  <a:gd name="connsiteY23" fmla="*/ 310630 h 414617"/>
                  <a:gd name="connsiteX24" fmla="*/ 35059 w 419414"/>
                  <a:gd name="connsiteY24" fmla="*/ 109287 h 414617"/>
                  <a:gd name="connsiteX25" fmla="*/ 33302 w 419414"/>
                  <a:gd name="connsiteY25" fmla="*/ 109287 h 41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19414" h="414617">
                    <a:moveTo>
                      <a:pt x="32424" y="108407"/>
                    </a:moveTo>
                    <a:cubicBezTo>
                      <a:pt x="37694" y="90823"/>
                      <a:pt x="46476" y="74117"/>
                      <a:pt x="59650" y="60050"/>
                    </a:cubicBezTo>
                    <a:cubicBezTo>
                      <a:pt x="99171" y="16967"/>
                      <a:pt x="170308" y="8175"/>
                      <a:pt x="170308" y="8175"/>
                    </a:cubicBezTo>
                    <a:cubicBezTo>
                      <a:pt x="236176" y="-11168"/>
                      <a:pt x="262524" y="8175"/>
                      <a:pt x="285358" y="21364"/>
                    </a:cubicBezTo>
                    <a:cubicBezTo>
                      <a:pt x="326636" y="47740"/>
                      <a:pt x="309071" y="67084"/>
                      <a:pt x="302923" y="73238"/>
                    </a:cubicBezTo>
                    <a:lnTo>
                      <a:pt x="302923" y="73238"/>
                    </a:lnTo>
                    <a:cubicBezTo>
                      <a:pt x="302923" y="73238"/>
                      <a:pt x="286236" y="107528"/>
                      <a:pt x="249350" y="122475"/>
                    </a:cubicBezTo>
                    <a:cubicBezTo>
                      <a:pt x="170308" y="153248"/>
                      <a:pt x="214220" y="214794"/>
                      <a:pt x="217733" y="223587"/>
                    </a:cubicBezTo>
                    <a:cubicBezTo>
                      <a:pt x="224759" y="240292"/>
                      <a:pt x="287115" y="322060"/>
                      <a:pt x="325757" y="344920"/>
                    </a:cubicBezTo>
                    <a:cubicBezTo>
                      <a:pt x="327514" y="330853"/>
                      <a:pt x="331905" y="303597"/>
                      <a:pt x="339809" y="290408"/>
                    </a:cubicBezTo>
                    <a:cubicBezTo>
                      <a:pt x="352104" y="270186"/>
                      <a:pt x="396017" y="261394"/>
                      <a:pt x="396017" y="261394"/>
                    </a:cubicBezTo>
                    <a:cubicBezTo>
                      <a:pt x="400408" y="266669"/>
                      <a:pt x="403043" y="276340"/>
                      <a:pt x="403043" y="282495"/>
                    </a:cubicBezTo>
                    <a:cubicBezTo>
                      <a:pt x="403043" y="282495"/>
                      <a:pt x="381087" y="278978"/>
                      <a:pt x="361765" y="304476"/>
                    </a:cubicBezTo>
                    <a:cubicBezTo>
                      <a:pt x="354739" y="313268"/>
                      <a:pt x="358252" y="344920"/>
                      <a:pt x="361765" y="355471"/>
                    </a:cubicBezTo>
                    <a:cubicBezTo>
                      <a:pt x="399530" y="351075"/>
                      <a:pt x="410069" y="344920"/>
                      <a:pt x="410069" y="344920"/>
                    </a:cubicBezTo>
                    <a:cubicBezTo>
                      <a:pt x="410069" y="344920"/>
                      <a:pt x="428512" y="379210"/>
                      <a:pt x="413581" y="395916"/>
                    </a:cubicBezTo>
                    <a:cubicBezTo>
                      <a:pt x="397773" y="412621"/>
                      <a:pt x="311705" y="424051"/>
                      <a:pt x="288871" y="403829"/>
                    </a:cubicBezTo>
                    <a:cubicBezTo>
                      <a:pt x="267793" y="385365"/>
                      <a:pt x="226516" y="292167"/>
                      <a:pt x="217733" y="272823"/>
                    </a:cubicBezTo>
                    <a:cubicBezTo>
                      <a:pt x="215977" y="271065"/>
                      <a:pt x="213342" y="268427"/>
                      <a:pt x="210707" y="263152"/>
                    </a:cubicBezTo>
                    <a:cubicBezTo>
                      <a:pt x="168552" y="192813"/>
                      <a:pt x="96536" y="231500"/>
                      <a:pt x="141326" y="311510"/>
                    </a:cubicBezTo>
                    <a:cubicBezTo>
                      <a:pt x="147474" y="322060"/>
                      <a:pt x="154500" y="330853"/>
                      <a:pt x="162404" y="337887"/>
                    </a:cubicBezTo>
                    <a:cubicBezTo>
                      <a:pt x="150987" y="358109"/>
                      <a:pt x="146596" y="373056"/>
                      <a:pt x="142205" y="383607"/>
                    </a:cubicBezTo>
                    <a:cubicBezTo>
                      <a:pt x="135179" y="400312"/>
                      <a:pt x="124640" y="401191"/>
                      <a:pt x="116735" y="385365"/>
                    </a:cubicBezTo>
                    <a:cubicBezTo>
                      <a:pt x="109709" y="371297"/>
                      <a:pt x="85997" y="341403"/>
                      <a:pt x="49111" y="310630"/>
                    </a:cubicBezTo>
                    <a:cubicBezTo>
                      <a:pt x="-71" y="269307"/>
                      <a:pt x="-24662" y="198968"/>
                      <a:pt x="35059" y="109287"/>
                    </a:cubicBezTo>
                    <a:lnTo>
                      <a:pt x="33302" y="109287"/>
                    </a:lnTo>
                    <a:close/>
                  </a:path>
                </a:pathLst>
              </a:custGeom>
              <a:solidFill>
                <a:srgbClr val="4D260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B56B49E-2B4B-E02A-5E8B-026232AB2D64}"/>
                  </a:ext>
                </a:extLst>
              </p:cNvPr>
              <p:cNvSpPr/>
              <p:nvPr/>
            </p:nvSpPr>
            <p:spPr>
              <a:xfrm>
                <a:off x="-11589492" y="5467924"/>
                <a:ext cx="418819" cy="329711"/>
              </a:xfrm>
              <a:custGeom>
                <a:avLst/>
                <a:gdLst>
                  <a:gd name="connsiteX0" fmla="*/ 32777 w 418819"/>
                  <a:gd name="connsiteY0" fmla="*/ 41324 h 329711"/>
                  <a:gd name="connsiteX1" fmla="*/ 6430 w 418819"/>
                  <a:gd name="connsiteY1" fmla="*/ 35169 h 329711"/>
                  <a:gd name="connsiteX2" fmla="*/ 14334 w 418819"/>
                  <a:gd name="connsiteY2" fmla="*/ 151228 h 329711"/>
                  <a:gd name="connsiteX3" fmla="*/ 282 w 418819"/>
                  <a:gd name="connsiteY3" fmla="*/ 277837 h 329711"/>
                  <a:gd name="connsiteX4" fmla="*/ 282 w 418819"/>
                  <a:gd name="connsiteY4" fmla="*/ 329712 h 329711"/>
                  <a:gd name="connsiteX5" fmla="*/ 129384 w 418819"/>
                  <a:gd name="connsiteY5" fmla="*/ 329712 h 329711"/>
                  <a:gd name="connsiteX6" fmla="*/ 138166 w 418819"/>
                  <a:gd name="connsiteY6" fmla="*/ 291025 h 329711"/>
                  <a:gd name="connsiteX7" fmla="*/ 209304 w 418819"/>
                  <a:gd name="connsiteY7" fmla="*/ 329712 h 329711"/>
                  <a:gd name="connsiteX8" fmla="*/ 413934 w 418819"/>
                  <a:gd name="connsiteY8" fmla="*/ 329712 h 329711"/>
                  <a:gd name="connsiteX9" fmla="*/ 418326 w 418819"/>
                  <a:gd name="connsiteY9" fmla="*/ 277837 h 329711"/>
                  <a:gd name="connsiteX10" fmla="*/ 378805 w 418819"/>
                  <a:gd name="connsiteY10" fmla="*/ 211895 h 329711"/>
                  <a:gd name="connsiteX11" fmla="*/ 204913 w 418819"/>
                  <a:gd name="connsiteY11" fmla="*/ 107266 h 329711"/>
                  <a:gd name="connsiteX12" fmla="*/ 179444 w 418819"/>
                  <a:gd name="connsiteY12" fmla="*/ 0 h 329711"/>
                  <a:gd name="connsiteX13" fmla="*/ 102158 w 418819"/>
                  <a:gd name="connsiteY13" fmla="*/ 21981 h 329711"/>
                  <a:gd name="connsiteX14" fmla="*/ 32777 w 418819"/>
                  <a:gd name="connsiteY14" fmla="*/ 41324 h 329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18819" h="329711">
                    <a:moveTo>
                      <a:pt x="32777" y="41324"/>
                    </a:moveTo>
                    <a:cubicBezTo>
                      <a:pt x="32777" y="41324"/>
                      <a:pt x="-4987" y="10551"/>
                      <a:pt x="6430" y="35169"/>
                    </a:cubicBezTo>
                    <a:cubicBezTo>
                      <a:pt x="17847" y="59788"/>
                      <a:pt x="11699" y="137160"/>
                      <a:pt x="14334" y="151228"/>
                    </a:cubicBezTo>
                    <a:cubicBezTo>
                      <a:pt x="14334" y="151228"/>
                      <a:pt x="-2353" y="225962"/>
                      <a:pt x="282" y="277837"/>
                    </a:cubicBezTo>
                    <a:lnTo>
                      <a:pt x="282" y="329712"/>
                    </a:lnTo>
                    <a:lnTo>
                      <a:pt x="129384" y="329712"/>
                    </a:lnTo>
                    <a:lnTo>
                      <a:pt x="138166" y="291025"/>
                    </a:lnTo>
                    <a:cubicBezTo>
                      <a:pt x="138166" y="291025"/>
                      <a:pt x="179444" y="299818"/>
                      <a:pt x="209304" y="329712"/>
                    </a:cubicBezTo>
                    <a:lnTo>
                      <a:pt x="413934" y="329712"/>
                    </a:lnTo>
                    <a:lnTo>
                      <a:pt x="418326" y="277837"/>
                    </a:lnTo>
                    <a:cubicBezTo>
                      <a:pt x="418326" y="277837"/>
                      <a:pt x="426230" y="240030"/>
                      <a:pt x="378805" y="211895"/>
                    </a:cubicBezTo>
                    <a:cubicBezTo>
                      <a:pt x="356849" y="199585"/>
                      <a:pt x="261120" y="201344"/>
                      <a:pt x="204913" y="107266"/>
                    </a:cubicBezTo>
                    <a:cubicBezTo>
                      <a:pt x="166270" y="42203"/>
                      <a:pt x="179444" y="0"/>
                      <a:pt x="179444" y="0"/>
                    </a:cubicBezTo>
                    <a:cubicBezTo>
                      <a:pt x="179444" y="0"/>
                      <a:pt x="116210" y="0"/>
                      <a:pt x="102158" y="21981"/>
                    </a:cubicBezTo>
                    <a:cubicBezTo>
                      <a:pt x="88106" y="43962"/>
                      <a:pt x="32777" y="41324"/>
                      <a:pt x="32777" y="41324"/>
                    </a:cubicBez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B00B5C8F-3719-FF2E-0BD2-F79CA49F25EE}"/>
                  </a:ext>
                </a:extLst>
              </p:cNvPr>
              <p:cNvSpPr/>
              <p:nvPr/>
            </p:nvSpPr>
            <p:spPr>
              <a:xfrm>
                <a:off x="-12205541" y="5475665"/>
                <a:ext cx="265034" cy="329937"/>
              </a:xfrm>
              <a:custGeom>
                <a:avLst/>
                <a:gdLst>
                  <a:gd name="connsiteX0" fmla="*/ 108707 w 265034"/>
                  <a:gd name="connsiteY0" fmla="*/ 44133 h 329937"/>
                  <a:gd name="connsiteX1" fmla="*/ 55134 w 265034"/>
                  <a:gd name="connsiteY1" fmla="*/ 160192 h 329937"/>
                  <a:gd name="connsiteX2" fmla="*/ 1561 w 265034"/>
                  <a:gd name="connsiteY2" fmla="*/ 241081 h 329937"/>
                  <a:gd name="connsiteX3" fmla="*/ 1561 w 265034"/>
                  <a:gd name="connsiteY3" fmla="*/ 317574 h 329937"/>
                  <a:gd name="connsiteX4" fmla="*/ 245713 w 265034"/>
                  <a:gd name="connsiteY4" fmla="*/ 294714 h 329937"/>
                  <a:gd name="connsiteX5" fmla="*/ 263278 w 265034"/>
                  <a:gd name="connsiteY5" fmla="*/ 154037 h 329937"/>
                  <a:gd name="connsiteX6" fmla="*/ 265034 w 265034"/>
                  <a:gd name="connsiteY6" fmla="*/ 10723 h 329937"/>
                  <a:gd name="connsiteX7" fmla="*/ 125393 w 265034"/>
                  <a:gd name="connsiteY7" fmla="*/ 172 h 329937"/>
                  <a:gd name="connsiteX8" fmla="*/ 108707 w 265034"/>
                  <a:gd name="connsiteY8" fmla="*/ 44133 h 329937"/>
                  <a:gd name="connsiteX9" fmla="*/ 109585 w 265034"/>
                  <a:gd name="connsiteY9" fmla="*/ 44133 h 329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5034" h="329937">
                    <a:moveTo>
                      <a:pt x="108707" y="44133"/>
                    </a:moveTo>
                    <a:cubicBezTo>
                      <a:pt x="108707" y="44133"/>
                      <a:pt x="103437" y="117989"/>
                      <a:pt x="55134" y="160192"/>
                    </a:cubicBezTo>
                    <a:cubicBezTo>
                      <a:pt x="55134" y="160192"/>
                      <a:pt x="5074" y="192723"/>
                      <a:pt x="1561" y="241081"/>
                    </a:cubicBezTo>
                    <a:cubicBezTo>
                      <a:pt x="-1952" y="283284"/>
                      <a:pt x="1561" y="317574"/>
                      <a:pt x="1561" y="317574"/>
                    </a:cubicBezTo>
                    <a:cubicBezTo>
                      <a:pt x="1561" y="317574"/>
                      <a:pt x="200922" y="357140"/>
                      <a:pt x="245713" y="294714"/>
                    </a:cubicBezTo>
                    <a:cubicBezTo>
                      <a:pt x="245713" y="294714"/>
                      <a:pt x="268547" y="204154"/>
                      <a:pt x="263278" y="154037"/>
                    </a:cubicBezTo>
                    <a:cubicBezTo>
                      <a:pt x="258008" y="103921"/>
                      <a:pt x="265034" y="10723"/>
                      <a:pt x="265034" y="10723"/>
                    </a:cubicBezTo>
                    <a:cubicBezTo>
                      <a:pt x="265034" y="10723"/>
                      <a:pt x="133298" y="-1586"/>
                      <a:pt x="125393" y="172"/>
                    </a:cubicBezTo>
                    <a:cubicBezTo>
                      <a:pt x="118368" y="1930"/>
                      <a:pt x="108707" y="44133"/>
                      <a:pt x="108707" y="44133"/>
                    </a:cubicBezTo>
                    <a:lnTo>
                      <a:pt x="109585" y="44133"/>
                    </a:ln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307ED452-A366-C214-D2BB-444760E4E00F}"/>
                  </a:ext>
                </a:extLst>
              </p:cNvPr>
              <p:cNvSpPr/>
              <p:nvPr/>
            </p:nvSpPr>
            <p:spPr>
              <a:xfrm>
                <a:off x="-12144260" y="2715053"/>
                <a:ext cx="329838" cy="862525"/>
              </a:xfrm>
              <a:custGeom>
                <a:avLst/>
                <a:gdLst>
                  <a:gd name="connsiteX0" fmla="*/ 103633 w 329838"/>
                  <a:gd name="connsiteY0" fmla="*/ 31652 h 862525"/>
                  <a:gd name="connsiteX1" fmla="*/ 189700 w 329838"/>
                  <a:gd name="connsiteY1" fmla="*/ 0 h 862525"/>
                  <a:gd name="connsiteX2" fmla="*/ 305628 w 329838"/>
                  <a:gd name="connsiteY2" fmla="*/ 504678 h 862525"/>
                  <a:gd name="connsiteX3" fmla="*/ 0 w 329838"/>
                  <a:gd name="connsiteY3" fmla="*/ 862525 h 862525"/>
                  <a:gd name="connsiteX4" fmla="*/ 103633 w 329838"/>
                  <a:gd name="connsiteY4" fmla="*/ 31652 h 86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838" h="862525">
                    <a:moveTo>
                      <a:pt x="103633" y="31652"/>
                    </a:moveTo>
                    <a:lnTo>
                      <a:pt x="189700" y="0"/>
                    </a:lnTo>
                    <a:cubicBezTo>
                      <a:pt x="189700" y="0"/>
                      <a:pt x="399600" y="269924"/>
                      <a:pt x="305628" y="504678"/>
                    </a:cubicBezTo>
                    <a:cubicBezTo>
                      <a:pt x="211656" y="740312"/>
                      <a:pt x="0" y="862525"/>
                      <a:pt x="0" y="862525"/>
                    </a:cubicBezTo>
                    <a:cubicBezTo>
                      <a:pt x="0" y="862525"/>
                      <a:pt x="454051" y="622495"/>
                      <a:pt x="103633" y="316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29947BE-6071-499B-ED54-7F015B437BEC}"/>
                  </a:ext>
                </a:extLst>
              </p:cNvPr>
              <p:cNvSpPr/>
              <p:nvPr/>
            </p:nvSpPr>
            <p:spPr>
              <a:xfrm>
                <a:off x="-12175876" y="2827120"/>
                <a:ext cx="360797" cy="516625"/>
              </a:xfrm>
              <a:custGeom>
                <a:avLst/>
                <a:gdLst>
                  <a:gd name="connsiteX0" fmla="*/ 302994 w 360797"/>
                  <a:gd name="connsiteY0" fmla="*/ 35643 h 516625"/>
                  <a:gd name="connsiteX1" fmla="*/ 319680 w 360797"/>
                  <a:gd name="connsiteY1" fmla="*/ 8387 h 516625"/>
                  <a:gd name="connsiteX2" fmla="*/ 288942 w 360797"/>
                  <a:gd name="connsiteY2" fmla="*/ 3991 h 516625"/>
                  <a:gd name="connsiteX3" fmla="*/ 214291 w 360797"/>
                  <a:gd name="connsiteY3" fmla="*/ 47073 h 516625"/>
                  <a:gd name="connsiteX4" fmla="*/ 189700 w 360797"/>
                  <a:gd name="connsiteY4" fmla="*/ 149064 h 516625"/>
                  <a:gd name="connsiteX5" fmla="*/ 194970 w 360797"/>
                  <a:gd name="connsiteY5" fmla="*/ 210610 h 516625"/>
                  <a:gd name="connsiteX6" fmla="*/ 0 w 360797"/>
                  <a:gd name="connsiteY6" fmla="*/ 415471 h 516625"/>
                  <a:gd name="connsiteX7" fmla="*/ 132615 w 360797"/>
                  <a:gd name="connsiteY7" fmla="*/ 514824 h 516625"/>
                  <a:gd name="connsiteX8" fmla="*/ 262594 w 360797"/>
                  <a:gd name="connsiteY8" fmla="*/ 328427 h 516625"/>
                  <a:gd name="connsiteX9" fmla="*/ 286307 w 360797"/>
                  <a:gd name="connsiteY9" fmla="*/ 224678 h 516625"/>
                  <a:gd name="connsiteX10" fmla="*/ 309141 w 360797"/>
                  <a:gd name="connsiteY10" fmla="*/ 186871 h 516625"/>
                  <a:gd name="connsiteX11" fmla="*/ 355688 w 360797"/>
                  <a:gd name="connsiteY11" fmla="*/ 127083 h 516625"/>
                  <a:gd name="connsiteX12" fmla="*/ 339880 w 360797"/>
                  <a:gd name="connsiteY12" fmla="*/ 98069 h 516625"/>
                  <a:gd name="connsiteX13" fmla="*/ 279281 w 360797"/>
                  <a:gd name="connsiteY13" fmla="*/ 153460 h 516625"/>
                  <a:gd name="connsiteX14" fmla="*/ 346028 w 360797"/>
                  <a:gd name="connsiteY14" fmla="*/ 91914 h 516625"/>
                  <a:gd name="connsiteX15" fmla="*/ 335489 w 360797"/>
                  <a:gd name="connsiteY15" fmla="*/ 61141 h 516625"/>
                  <a:gd name="connsiteX16" fmla="*/ 262594 w 360797"/>
                  <a:gd name="connsiteY16" fmla="*/ 113016 h 516625"/>
                  <a:gd name="connsiteX17" fmla="*/ 329341 w 360797"/>
                  <a:gd name="connsiteY17" fmla="*/ 56745 h 516625"/>
                  <a:gd name="connsiteX18" fmla="*/ 302115 w 360797"/>
                  <a:gd name="connsiteY18" fmla="*/ 35643 h 516625"/>
                  <a:gd name="connsiteX19" fmla="*/ 247664 w 360797"/>
                  <a:gd name="connsiteY19" fmla="*/ 73450 h 516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60797" h="516625">
                    <a:moveTo>
                      <a:pt x="302994" y="35643"/>
                    </a:moveTo>
                    <a:cubicBezTo>
                      <a:pt x="302994" y="35643"/>
                      <a:pt x="328463" y="24213"/>
                      <a:pt x="319680" y="8387"/>
                    </a:cubicBezTo>
                    <a:cubicBezTo>
                      <a:pt x="311776" y="-7439"/>
                      <a:pt x="288942" y="3991"/>
                      <a:pt x="288942" y="3991"/>
                    </a:cubicBezTo>
                    <a:cubicBezTo>
                      <a:pt x="288942" y="3991"/>
                      <a:pt x="230978" y="35643"/>
                      <a:pt x="214291" y="47073"/>
                    </a:cubicBezTo>
                    <a:cubicBezTo>
                      <a:pt x="197605" y="58503"/>
                      <a:pt x="180918" y="84880"/>
                      <a:pt x="189700" y="149064"/>
                    </a:cubicBezTo>
                    <a:cubicBezTo>
                      <a:pt x="191457" y="180716"/>
                      <a:pt x="194970" y="210610"/>
                      <a:pt x="194970" y="210610"/>
                    </a:cubicBezTo>
                    <a:cubicBezTo>
                      <a:pt x="194970" y="232591"/>
                      <a:pt x="0" y="415471"/>
                      <a:pt x="0" y="415471"/>
                    </a:cubicBezTo>
                    <a:cubicBezTo>
                      <a:pt x="0" y="415471"/>
                      <a:pt x="26347" y="532409"/>
                      <a:pt x="132615" y="514824"/>
                    </a:cubicBezTo>
                    <a:lnTo>
                      <a:pt x="262594" y="328427"/>
                    </a:lnTo>
                    <a:cubicBezTo>
                      <a:pt x="283672" y="294137"/>
                      <a:pt x="285429" y="263364"/>
                      <a:pt x="286307" y="224678"/>
                    </a:cubicBezTo>
                    <a:cubicBezTo>
                      <a:pt x="290698" y="207973"/>
                      <a:pt x="304750" y="193026"/>
                      <a:pt x="309141" y="186871"/>
                    </a:cubicBezTo>
                    <a:cubicBezTo>
                      <a:pt x="309141" y="186871"/>
                      <a:pt x="344271" y="140272"/>
                      <a:pt x="355688" y="127083"/>
                    </a:cubicBezTo>
                    <a:cubicBezTo>
                      <a:pt x="367105" y="113895"/>
                      <a:pt x="358323" y="89276"/>
                      <a:pt x="339880" y="98069"/>
                    </a:cubicBezTo>
                    <a:cubicBezTo>
                      <a:pt x="329341" y="103344"/>
                      <a:pt x="279281" y="153460"/>
                      <a:pt x="279281" y="153460"/>
                    </a:cubicBezTo>
                    <a:lnTo>
                      <a:pt x="346028" y="91914"/>
                    </a:lnTo>
                    <a:cubicBezTo>
                      <a:pt x="353053" y="85759"/>
                      <a:pt x="352175" y="55866"/>
                      <a:pt x="335489" y="61141"/>
                    </a:cubicBezTo>
                    <a:cubicBezTo>
                      <a:pt x="324071" y="64658"/>
                      <a:pt x="262594" y="113016"/>
                      <a:pt x="262594" y="113016"/>
                    </a:cubicBezTo>
                    <a:lnTo>
                      <a:pt x="329341" y="56745"/>
                    </a:lnTo>
                    <a:cubicBezTo>
                      <a:pt x="339880" y="45315"/>
                      <a:pt x="329341" y="18059"/>
                      <a:pt x="302115" y="35643"/>
                    </a:cubicBezTo>
                    <a:cubicBezTo>
                      <a:pt x="274890" y="53228"/>
                      <a:pt x="272255" y="53228"/>
                      <a:pt x="247664" y="73450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1677C6ED-74ED-B71C-DD88-E31E60837823}"/>
                  </a:ext>
                </a:extLst>
              </p:cNvPr>
              <p:cNvSpPr/>
              <p:nvPr/>
            </p:nvSpPr>
            <p:spPr>
              <a:xfrm>
                <a:off x="-11478552" y="3895859"/>
                <a:ext cx="167744" cy="84406"/>
              </a:xfrm>
              <a:custGeom>
                <a:avLst/>
                <a:gdLst>
                  <a:gd name="connsiteX0" fmla="*/ 123832 w 167744"/>
                  <a:gd name="connsiteY0" fmla="*/ 84406 h 84406"/>
                  <a:gd name="connsiteX1" fmla="*/ 167744 w 167744"/>
                  <a:gd name="connsiteY1" fmla="*/ 21981 h 84406"/>
                  <a:gd name="connsiteX2" fmla="*/ 62355 w 167744"/>
                  <a:gd name="connsiteY2" fmla="*/ 0 h 84406"/>
                  <a:gd name="connsiteX3" fmla="*/ 0 w 167744"/>
                  <a:gd name="connsiteY3" fmla="*/ 2638 h 84406"/>
                  <a:gd name="connsiteX4" fmla="*/ 123832 w 167744"/>
                  <a:gd name="connsiteY4" fmla="*/ 83527 h 84406"/>
                  <a:gd name="connsiteX5" fmla="*/ 123832 w 167744"/>
                  <a:gd name="connsiteY5" fmla="*/ 83527 h 8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744" h="84406">
                    <a:moveTo>
                      <a:pt x="123832" y="84406"/>
                    </a:moveTo>
                    <a:lnTo>
                      <a:pt x="167744" y="21981"/>
                    </a:lnTo>
                    <a:lnTo>
                      <a:pt x="62355" y="0"/>
                    </a:lnTo>
                    <a:cubicBezTo>
                      <a:pt x="62355" y="0"/>
                      <a:pt x="26347" y="2638"/>
                      <a:pt x="0" y="2638"/>
                    </a:cubicBezTo>
                    <a:cubicBezTo>
                      <a:pt x="50938" y="60667"/>
                      <a:pt x="123832" y="83527"/>
                      <a:pt x="123832" y="83527"/>
                    </a:cubicBezTo>
                    <a:lnTo>
                      <a:pt x="123832" y="8352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5399889D-4ABE-A104-9C74-6C76977C2058}"/>
                </a:ext>
              </a:extLst>
            </p:cNvPr>
            <p:cNvSpPr/>
            <p:nvPr/>
          </p:nvSpPr>
          <p:spPr>
            <a:xfrm>
              <a:off x="-11431157" y="3442176"/>
              <a:ext cx="73802" cy="454562"/>
            </a:xfrm>
            <a:custGeom>
              <a:avLst/>
              <a:gdLst>
                <a:gd name="connsiteX0" fmla="*/ 14960 w 73802"/>
                <a:gd name="connsiteY0" fmla="*/ 454562 h 454562"/>
                <a:gd name="connsiteX1" fmla="*/ 30 w 73802"/>
                <a:gd name="connsiteY1" fmla="*/ 398291 h 454562"/>
                <a:gd name="connsiteX2" fmla="*/ 73802 w 73802"/>
                <a:gd name="connsiteY2" fmla="*/ 0 h 45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802" h="454562">
                  <a:moveTo>
                    <a:pt x="14960" y="454562"/>
                  </a:moveTo>
                  <a:cubicBezTo>
                    <a:pt x="30" y="437857"/>
                    <a:pt x="30" y="430823"/>
                    <a:pt x="30" y="398291"/>
                  </a:cubicBezTo>
                  <a:cubicBezTo>
                    <a:pt x="-1726" y="251460"/>
                    <a:pt x="73802" y="134522"/>
                    <a:pt x="73802" y="0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8A87C95-C1B8-F74B-A894-7052D4E0E3C5}"/>
                </a:ext>
              </a:extLst>
            </p:cNvPr>
            <p:cNvSpPr/>
            <p:nvPr/>
          </p:nvSpPr>
          <p:spPr>
            <a:xfrm>
              <a:off x="-12279509" y="3211427"/>
              <a:ext cx="132614" cy="54023"/>
            </a:xfrm>
            <a:custGeom>
              <a:avLst/>
              <a:gdLst>
                <a:gd name="connsiteX0" fmla="*/ 132615 w 132614"/>
                <a:gd name="connsiteY0" fmla="*/ 3908 h 54023"/>
                <a:gd name="connsiteX1" fmla="*/ 92215 w 132614"/>
                <a:gd name="connsiteY1" fmla="*/ 3908 h 54023"/>
                <a:gd name="connsiteX2" fmla="*/ 0 w 132614"/>
                <a:gd name="connsiteY2" fmla="*/ 54024 h 54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2614" h="54023">
                  <a:moveTo>
                    <a:pt x="132615" y="3908"/>
                  </a:moveTo>
                  <a:cubicBezTo>
                    <a:pt x="132615" y="3908"/>
                    <a:pt x="118563" y="-4885"/>
                    <a:pt x="92215" y="3908"/>
                  </a:cubicBezTo>
                  <a:cubicBezTo>
                    <a:pt x="74651" y="9183"/>
                    <a:pt x="0" y="54024"/>
                    <a:pt x="0" y="54024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5604761-EAD5-20C4-9BF0-3CB5FFF3C7D1}"/>
                </a:ext>
              </a:extLst>
            </p:cNvPr>
            <p:cNvSpPr/>
            <p:nvPr/>
          </p:nvSpPr>
          <p:spPr>
            <a:xfrm>
              <a:off x="-12031845" y="3319084"/>
              <a:ext cx="21923" cy="111662"/>
            </a:xfrm>
            <a:custGeom>
              <a:avLst/>
              <a:gdLst>
                <a:gd name="connsiteX0" fmla="*/ 5270 w 21923"/>
                <a:gd name="connsiteY0" fmla="*/ 0 h 111662"/>
                <a:gd name="connsiteX1" fmla="*/ 21078 w 21923"/>
                <a:gd name="connsiteY1" fmla="*/ 50116 h 111662"/>
                <a:gd name="connsiteX2" fmla="*/ 0 w 21923"/>
                <a:gd name="connsiteY2" fmla="*/ 111662 h 11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23" h="111662">
                  <a:moveTo>
                    <a:pt x="5270" y="0"/>
                  </a:moveTo>
                  <a:cubicBezTo>
                    <a:pt x="5270" y="0"/>
                    <a:pt x="26347" y="28135"/>
                    <a:pt x="21078" y="50116"/>
                  </a:cubicBezTo>
                  <a:cubicBezTo>
                    <a:pt x="15808" y="72976"/>
                    <a:pt x="0" y="111662"/>
                    <a:pt x="0" y="11166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aphic 6">
            <a:extLst>
              <a:ext uri="{FF2B5EF4-FFF2-40B4-BE49-F238E27FC236}">
                <a16:creationId xmlns:a16="http://schemas.microsoft.com/office/drawing/2014/main" id="{3CA7EC87-FF3E-BEC8-FC77-3F3ABB62EE10}"/>
              </a:ext>
            </a:extLst>
          </p:cNvPr>
          <p:cNvGrpSpPr/>
          <p:nvPr/>
        </p:nvGrpSpPr>
        <p:grpSpPr>
          <a:xfrm>
            <a:off x="-13480067" y="1704817"/>
            <a:ext cx="6848491" cy="4096335"/>
            <a:chOff x="-13480067" y="1704817"/>
            <a:chExt cx="6848491" cy="4096335"/>
          </a:xfrm>
        </p:grpSpPr>
        <p:grpSp>
          <p:nvGrpSpPr>
            <p:cNvPr id="28" name="Graphic 6">
              <a:extLst>
                <a:ext uri="{FF2B5EF4-FFF2-40B4-BE49-F238E27FC236}">
                  <a16:creationId xmlns:a16="http://schemas.microsoft.com/office/drawing/2014/main" id="{87C8F1F2-22A1-EFB7-8759-C80042903FF1}"/>
                </a:ext>
              </a:extLst>
            </p:cNvPr>
            <p:cNvGrpSpPr/>
            <p:nvPr/>
          </p:nvGrpSpPr>
          <p:grpSpPr>
            <a:xfrm>
              <a:off x="-11320983" y="2416072"/>
              <a:ext cx="2648676" cy="3385079"/>
              <a:chOff x="-11320983" y="2416072"/>
              <a:chExt cx="2648676" cy="3385079"/>
            </a:xfrm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2192FDD5-8B07-E830-CF59-290113EA5574}"/>
                  </a:ext>
                </a:extLst>
              </p:cNvPr>
              <p:cNvSpPr/>
              <p:nvPr/>
            </p:nvSpPr>
            <p:spPr>
              <a:xfrm>
                <a:off x="-11054367" y="2416072"/>
                <a:ext cx="548029" cy="562749"/>
              </a:xfrm>
              <a:custGeom>
                <a:avLst/>
                <a:gdLst>
                  <a:gd name="connsiteX0" fmla="*/ 498848 w 548029"/>
                  <a:gd name="connsiteY0" fmla="*/ 203144 h 562749"/>
                  <a:gd name="connsiteX1" fmla="*/ 468109 w 548029"/>
                  <a:gd name="connsiteY1" fmla="*/ 58950 h 562749"/>
                  <a:gd name="connsiteX2" fmla="*/ 364477 w 548029"/>
                  <a:gd name="connsiteY2" fmla="*/ 7075 h 562749"/>
                  <a:gd name="connsiteX3" fmla="*/ 335495 w 548029"/>
                  <a:gd name="connsiteY3" fmla="*/ 1800 h 562749"/>
                  <a:gd name="connsiteX4" fmla="*/ 277531 w 548029"/>
                  <a:gd name="connsiteY4" fmla="*/ 3559 h 562749"/>
                  <a:gd name="connsiteX5" fmla="*/ 164237 w 548029"/>
                  <a:gd name="connsiteY5" fmla="*/ 77414 h 562749"/>
                  <a:gd name="connsiteX6" fmla="*/ 6 w 548029"/>
                  <a:gd name="connsiteY6" fmla="*/ 562749 h 562749"/>
                  <a:gd name="connsiteX7" fmla="*/ 289826 w 548029"/>
                  <a:gd name="connsiteY7" fmla="*/ 562749 h 562749"/>
                  <a:gd name="connsiteX8" fmla="*/ 272261 w 548029"/>
                  <a:gd name="connsiteY8" fmla="*/ 490652 h 562749"/>
                  <a:gd name="connsiteX9" fmla="*/ 403120 w 548029"/>
                  <a:gd name="connsiteY9" fmla="*/ 492411 h 562749"/>
                  <a:gd name="connsiteX10" fmla="*/ 548030 w 548029"/>
                  <a:gd name="connsiteY10" fmla="*/ 524063 h 562749"/>
                  <a:gd name="connsiteX11" fmla="*/ 498848 w 548029"/>
                  <a:gd name="connsiteY11" fmla="*/ 203144 h 562749"/>
                  <a:gd name="connsiteX12" fmla="*/ 498848 w 548029"/>
                  <a:gd name="connsiteY12" fmla="*/ 203144 h 56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8029" h="562749">
                    <a:moveTo>
                      <a:pt x="498848" y="203144"/>
                    </a:moveTo>
                    <a:cubicBezTo>
                      <a:pt x="504996" y="163579"/>
                      <a:pt x="507630" y="93240"/>
                      <a:pt x="468109" y="58950"/>
                    </a:cubicBezTo>
                    <a:cubicBezTo>
                      <a:pt x="426832" y="22902"/>
                      <a:pt x="384676" y="10592"/>
                      <a:pt x="364477" y="7075"/>
                    </a:cubicBezTo>
                    <a:cubicBezTo>
                      <a:pt x="354816" y="4438"/>
                      <a:pt x="345155" y="2679"/>
                      <a:pt x="335495" y="1800"/>
                    </a:cubicBezTo>
                    <a:cubicBezTo>
                      <a:pt x="317052" y="-838"/>
                      <a:pt x="296852" y="-838"/>
                      <a:pt x="277531" y="3559"/>
                    </a:cubicBezTo>
                    <a:cubicBezTo>
                      <a:pt x="231862" y="11472"/>
                      <a:pt x="190585" y="36090"/>
                      <a:pt x="164237" y="77414"/>
                    </a:cubicBezTo>
                    <a:cubicBezTo>
                      <a:pt x="91343" y="189955"/>
                      <a:pt x="-872" y="451087"/>
                      <a:pt x="6" y="562749"/>
                    </a:cubicBezTo>
                    <a:lnTo>
                      <a:pt x="289826" y="562749"/>
                    </a:lnTo>
                    <a:cubicBezTo>
                      <a:pt x="278409" y="546923"/>
                      <a:pt x="274018" y="521425"/>
                      <a:pt x="272261" y="490652"/>
                    </a:cubicBezTo>
                    <a:cubicBezTo>
                      <a:pt x="337251" y="494169"/>
                      <a:pt x="397850" y="490652"/>
                      <a:pt x="403120" y="492411"/>
                    </a:cubicBezTo>
                    <a:cubicBezTo>
                      <a:pt x="456692" y="501203"/>
                      <a:pt x="544517" y="537252"/>
                      <a:pt x="548030" y="524063"/>
                    </a:cubicBezTo>
                    <a:cubicBezTo>
                      <a:pt x="505874" y="412401"/>
                      <a:pt x="512900" y="300739"/>
                      <a:pt x="498848" y="203144"/>
                    </a:cubicBezTo>
                    <a:lnTo>
                      <a:pt x="498848" y="203144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69D8ACA1-1DC9-3C2A-FBB5-068882EB8000}"/>
                  </a:ext>
                </a:extLst>
              </p:cNvPr>
              <p:cNvSpPr/>
              <p:nvPr/>
            </p:nvSpPr>
            <p:spPr>
              <a:xfrm>
                <a:off x="-10853243" y="2453042"/>
                <a:ext cx="330414" cy="535451"/>
              </a:xfrm>
              <a:custGeom>
                <a:avLst/>
                <a:gdLst>
                  <a:gd name="connsiteX0" fmla="*/ 328463 w 330414"/>
                  <a:gd name="connsiteY0" fmla="*/ 203982 h 535451"/>
                  <a:gd name="connsiteX1" fmla="*/ 328463 w 330414"/>
                  <a:gd name="connsiteY1" fmla="*/ 189035 h 535451"/>
                  <a:gd name="connsiteX2" fmla="*/ 288942 w 330414"/>
                  <a:gd name="connsiteY2" fmla="*/ 144194 h 535451"/>
                  <a:gd name="connsiteX3" fmla="*/ 287185 w 330414"/>
                  <a:gd name="connsiteY3" fmla="*/ 138918 h 535451"/>
                  <a:gd name="connsiteX4" fmla="*/ 229221 w 330414"/>
                  <a:gd name="connsiteY4" fmla="*/ 22860 h 535451"/>
                  <a:gd name="connsiteX5" fmla="*/ 193213 w 330414"/>
                  <a:gd name="connsiteY5" fmla="*/ 0 h 535451"/>
                  <a:gd name="connsiteX6" fmla="*/ 188822 w 330414"/>
                  <a:gd name="connsiteY6" fmla="*/ 1759 h 535451"/>
                  <a:gd name="connsiteX7" fmla="*/ 143153 w 330414"/>
                  <a:gd name="connsiteY7" fmla="*/ 187276 h 535451"/>
                  <a:gd name="connsiteX8" fmla="*/ 90459 w 330414"/>
                  <a:gd name="connsiteY8" fmla="*/ 154745 h 535451"/>
                  <a:gd name="connsiteX9" fmla="*/ 87824 w 330414"/>
                  <a:gd name="connsiteY9" fmla="*/ 243547 h 535451"/>
                  <a:gd name="connsiteX10" fmla="*/ 92215 w 330414"/>
                  <a:gd name="connsiteY10" fmla="*/ 248822 h 535451"/>
                  <a:gd name="connsiteX11" fmla="*/ 0 w 330414"/>
                  <a:gd name="connsiteY11" fmla="*/ 451925 h 535451"/>
                  <a:gd name="connsiteX12" fmla="*/ 191457 w 330414"/>
                  <a:gd name="connsiteY12" fmla="*/ 535452 h 535451"/>
                  <a:gd name="connsiteX13" fmla="*/ 223074 w 330414"/>
                  <a:gd name="connsiteY13" fmla="*/ 326195 h 535451"/>
                  <a:gd name="connsiteX14" fmla="*/ 234491 w 330414"/>
                  <a:gd name="connsiteY14" fmla="*/ 327074 h 535451"/>
                  <a:gd name="connsiteX15" fmla="*/ 295090 w 330414"/>
                  <a:gd name="connsiteY15" fmla="*/ 330591 h 535451"/>
                  <a:gd name="connsiteX16" fmla="*/ 316167 w 330414"/>
                  <a:gd name="connsiteY16" fmla="*/ 283112 h 535451"/>
                  <a:gd name="connsiteX17" fmla="*/ 327584 w 330414"/>
                  <a:gd name="connsiteY17" fmla="*/ 272562 h 535451"/>
                  <a:gd name="connsiteX18" fmla="*/ 307385 w 330414"/>
                  <a:gd name="connsiteY18" fmla="*/ 255856 h 535451"/>
                  <a:gd name="connsiteX19" fmla="*/ 326706 w 330414"/>
                  <a:gd name="connsiteY19" fmla="*/ 233875 h 535451"/>
                  <a:gd name="connsiteX20" fmla="*/ 317046 w 330414"/>
                  <a:gd name="connsiteY20" fmla="*/ 220687 h 535451"/>
                  <a:gd name="connsiteX21" fmla="*/ 317924 w 330414"/>
                  <a:gd name="connsiteY21" fmla="*/ 211015 h 535451"/>
                  <a:gd name="connsiteX22" fmla="*/ 328463 w 330414"/>
                  <a:gd name="connsiteY22" fmla="*/ 202223 h 535451"/>
                  <a:gd name="connsiteX23" fmla="*/ 328463 w 330414"/>
                  <a:gd name="connsiteY23" fmla="*/ 202223 h 535451"/>
                  <a:gd name="connsiteX24" fmla="*/ 328463 w 330414"/>
                  <a:gd name="connsiteY24" fmla="*/ 203982 h 535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0414" h="535451">
                    <a:moveTo>
                      <a:pt x="328463" y="203982"/>
                    </a:moveTo>
                    <a:cubicBezTo>
                      <a:pt x="328463" y="203982"/>
                      <a:pt x="332854" y="196068"/>
                      <a:pt x="328463" y="189035"/>
                    </a:cubicBezTo>
                    <a:lnTo>
                      <a:pt x="288942" y="144194"/>
                    </a:lnTo>
                    <a:cubicBezTo>
                      <a:pt x="288063" y="142435"/>
                      <a:pt x="287185" y="140677"/>
                      <a:pt x="287185" y="138918"/>
                    </a:cubicBezTo>
                    <a:cubicBezTo>
                      <a:pt x="281916" y="63305"/>
                      <a:pt x="229221" y="22860"/>
                      <a:pt x="229221" y="22860"/>
                    </a:cubicBezTo>
                    <a:cubicBezTo>
                      <a:pt x="214291" y="11430"/>
                      <a:pt x="200239" y="3517"/>
                      <a:pt x="193213" y="0"/>
                    </a:cubicBezTo>
                    <a:cubicBezTo>
                      <a:pt x="191457" y="0"/>
                      <a:pt x="190578" y="0"/>
                      <a:pt x="188822" y="1759"/>
                    </a:cubicBezTo>
                    <a:cubicBezTo>
                      <a:pt x="156327" y="80889"/>
                      <a:pt x="143153" y="187276"/>
                      <a:pt x="143153" y="187276"/>
                    </a:cubicBezTo>
                    <a:cubicBezTo>
                      <a:pt x="143153" y="187276"/>
                      <a:pt x="123832" y="136281"/>
                      <a:pt x="90459" y="154745"/>
                    </a:cubicBezTo>
                    <a:cubicBezTo>
                      <a:pt x="65868" y="167933"/>
                      <a:pt x="62355" y="210136"/>
                      <a:pt x="87824" y="243547"/>
                    </a:cubicBezTo>
                    <a:cubicBezTo>
                      <a:pt x="89581" y="245305"/>
                      <a:pt x="91337" y="247064"/>
                      <a:pt x="92215" y="248822"/>
                    </a:cubicBezTo>
                    <a:cubicBezTo>
                      <a:pt x="86068" y="286629"/>
                      <a:pt x="64112" y="383345"/>
                      <a:pt x="0" y="451925"/>
                    </a:cubicBezTo>
                    <a:cubicBezTo>
                      <a:pt x="23712" y="506437"/>
                      <a:pt x="104511" y="523142"/>
                      <a:pt x="191457" y="535452"/>
                    </a:cubicBezTo>
                    <a:cubicBezTo>
                      <a:pt x="191457" y="535452"/>
                      <a:pt x="214291" y="389499"/>
                      <a:pt x="223074" y="326195"/>
                    </a:cubicBezTo>
                    <a:cubicBezTo>
                      <a:pt x="230099" y="326195"/>
                      <a:pt x="234491" y="327074"/>
                      <a:pt x="234491" y="327074"/>
                    </a:cubicBezTo>
                    <a:cubicBezTo>
                      <a:pt x="254690" y="329712"/>
                      <a:pt x="275768" y="331470"/>
                      <a:pt x="295090" y="330591"/>
                    </a:cubicBezTo>
                    <a:cubicBezTo>
                      <a:pt x="295090" y="330591"/>
                      <a:pt x="338123" y="328832"/>
                      <a:pt x="316167" y="283112"/>
                    </a:cubicBezTo>
                    <a:lnTo>
                      <a:pt x="327584" y="272562"/>
                    </a:lnTo>
                    <a:cubicBezTo>
                      <a:pt x="327584" y="272562"/>
                      <a:pt x="331097" y="262011"/>
                      <a:pt x="307385" y="255856"/>
                    </a:cubicBezTo>
                    <a:cubicBezTo>
                      <a:pt x="307385" y="255856"/>
                      <a:pt x="332854" y="246185"/>
                      <a:pt x="326706" y="233875"/>
                    </a:cubicBezTo>
                    <a:lnTo>
                      <a:pt x="317046" y="220687"/>
                    </a:lnTo>
                    <a:cubicBezTo>
                      <a:pt x="315289" y="218049"/>
                      <a:pt x="315289" y="213653"/>
                      <a:pt x="317924" y="211015"/>
                    </a:cubicBezTo>
                    <a:lnTo>
                      <a:pt x="328463" y="202223"/>
                    </a:lnTo>
                    <a:lnTo>
                      <a:pt x="328463" y="202223"/>
                    </a:lnTo>
                    <a:lnTo>
                      <a:pt x="328463" y="203982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887A6B2D-C598-9536-9D00-842D84FBE488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8D0F6A89-6E26-F3DA-2D28-0F9EEEC5DB6D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91DE33A6-7F2F-DF78-97BA-F261BAD873CD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0F398EA-F39C-EE9E-EDBF-7458FF834A92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FC4E7B99-CD43-1A77-2B44-4625FAFB45CE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65EAF2A-672B-DFCE-545B-B6CE8F1EDB30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26AAEF3C-384C-5273-AAA1-3103843B0768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B8BC15A9-B73A-1686-4932-A9D4B988B16B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90B6BF9D-A681-ED35-AF14-69CFE8252E6D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7D122BE3-6673-D331-6E8E-FB01334F1D4A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D06E2B6F-6409-434F-49D1-A09FDB2D6C45}"/>
                  </a:ext>
                </a:extLst>
              </p:cNvPr>
              <p:cNvSpPr/>
              <p:nvPr/>
            </p:nvSpPr>
            <p:spPr>
              <a:xfrm>
                <a:off x="-10164051" y="2785601"/>
                <a:ext cx="173697" cy="310719"/>
              </a:xfrm>
              <a:custGeom>
                <a:avLst/>
                <a:gdLst>
                  <a:gd name="connsiteX0" fmla="*/ 170607 w 173697"/>
                  <a:gd name="connsiteY0" fmla="*/ 68370 h 310719"/>
                  <a:gd name="connsiteX1" fmla="*/ 155677 w 173697"/>
                  <a:gd name="connsiteY1" fmla="*/ 77162 h 310719"/>
                  <a:gd name="connsiteX2" fmla="*/ 137234 w 173697"/>
                  <a:gd name="connsiteY2" fmla="*/ 135192 h 310719"/>
                  <a:gd name="connsiteX3" fmla="*/ 139869 w 173697"/>
                  <a:gd name="connsiteY3" fmla="*/ 28805 h 310719"/>
                  <a:gd name="connsiteX4" fmla="*/ 124061 w 173697"/>
                  <a:gd name="connsiteY4" fmla="*/ 42873 h 310719"/>
                  <a:gd name="connsiteX5" fmla="*/ 115278 w 173697"/>
                  <a:gd name="connsiteY5" fmla="*/ 100902 h 310719"/>
                  <a:gd name="connsiteX6" fmla="*/ 110887 w 173697"/>
                  <a:gd name="connsiteY6" fmla="*/ 119366 h 310719"/>
                  <a:gd name="connsiteX7" fmla="*/ 101226 w 173697"/>
                  <a:gd name="connsiteY7" fmla="*/ 2428 h 310719"/>
                  <a:gd name="connsiteX8" fmla="*/ 84540 w 173697"/>
                  <a:gd name="connsiteY8" fmla="*/ 34080 h 310719"/>
                  <a:gd name="connsiteX9" fmla="*/ 84540 w 173697"/>
                  <a:gd name="connsiteY9" fmla="*/ 100902 h 310719"/>
                  <a:gd name="connsiteX10" fmla="*/ 81905 w 173697"/>
                  <a:gd name="connsiteY10" fmla="*/ 105298 h 310719"/>
                  <a:gd name="connsiteX11" fmla="*/ 65218 w 173697"/>
                  <a:gd name="connsiteY11" fmla="*/ 25288 h 310719"/>
                  <a:gd name="connsiteX12" fmla="*/ 49410 w 173697"/>
                  <a:gd name="connsiteY12" fmla="*/ 25288 h 310719"/>
                  <a:gd name="connsiteX13" fmla="*/ 47654 w 173697"/>
                  <a:gd name="connsiteY13" fmla="*/ 133433 h 310719"/>
                  <a:gd name="connsiteX14" fmla="*/ 37993 w 173697"/>
                  <a:gd name="connsiteY14" fmla="*/ 156293 h 310719"/>
                  <a:gd name="connsiteX15" fmla="*/ 29210 w 173697"/>
                  <a:gd name="connsiteY15" fmla="*/ 119366 h 310719"/>
                  <a:gd name="connsiteX16" fmla="*/ 3741 w 173697"/>
                  <a:gd name="connsiteY16" fmla="*/ 84196 h 310719"/>
                  <a:gd name="connsiteX17" fmla="*/ 228 w 173697"/>
                  <a:gd name="connsiteY17" fmla="*/ 88592 h 310719"/>
                  <a:gd name="connsiteX18" fmla="*/ 1985 w 173697"/>
                  <a:gd name="connsiteY18" fmla="*/ 151897 h 310719"/>
                  <a:gd name="connsiteX19" fmla="*/ 1985 w 173697"/>
                  <a:gd name="connsiteY19" fmla="*/ 151897 h 310719"/>
                  <a:gd name="connsiteX20" fmla="*/ 7254 w 173697"/>
                  <a:gd name="connsiteY20" fmla="*/ 185308 h 310719"/>
                  <a:gd name="connsiteX21" fmla="*/ 35358 w 173697"/>
                  <a:gd name="connsiteY21" fmla="*/ 294332 h 310719"/>
                  <a:gd name="connsiteX22" fmla="*/ 37993 w 173697"/>
                  <a:gd name="connsiteY22" fmla="*/ 296970 h 310719"/>
                  <a:gd name="connsiteX23" fmla="*/ 108252 w 173697"/>
                  <a:gd name="connsiteY23" fmla="*/ 310159 h 310719"/>
                  <a:gd name="connsiteX24" fmla="*/ 132843 w 173697"/>
                  <a:gd name="connsiteY24" fmla="*/ 251250 h 310719"/>
                  <a:gd name="connsiteX25" fmla="*/ 155677 w 173697"/>
                  <a:gd name="connsiteY25" fmla="*/ 182670 h 310719"/>
                  <a:gd name="connsiteX26" fmla="*/ 161825 w 173697"/>
                  <a:gd name="connsiteY26" fmla="*/ 159810 h 310719"/>
                  <a:gd name="connsiteX27" fmla="*/ 169729 w 173697"/>
                  <a:gd name="connsiteY27" fmla="*/ 70129 h 310719"/>
                  <a:gd name="connsiteX28" fmla="*/ 169729 w 173697"/>
                  <a:gd name="connsiteY28" fmla="*/ 70129 h 310719"/>
                  <a:gd name="connsiteX29" fmla="*/ 169729 w 173697"/>
                  <a:gd name="connsiteY29" fmla="*/ 68370 h 310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73697" h="310719">
                    <a:moveTo>
                      <a:pt x="170607" y="68370"/>
                    </a:moveTo>
                    <a:cubicBezTo>
                      <a:pt x="158312" y="56940"/>
                      <a:pt x="155677" y="77162"/>
                      <a:pt x="155677" y="77162"/>
                    </a:cubicBezTo>
                    <a:cubicBezTo>
                      <a:pt x="155677" y="77162"/>
                      <a:pt x="145138" y="125520"/>
                      <a:pt x="137234" y="135192"/>
                    </a:cubicBezTo>
                    <a:cubicBezTo>
                      <a:pt x="138112" y="129037"/>
                      <a:pt x="155677" y="56061"/>
                      <a:pt x="139869" y="28805"/>
                    </a:cubicBezTo>
                    <a:cubicBezTo>
                      <a:pt x="139869" y="28805"/>
                      <a:pt x="124061" y="13858"/>
                      <a:pt x="124061" y="42873"/>
                    </a:cubicBezTo>
                    <a:cubicBezTo>
                      <a:pt x="124061" y="71887"/>
                      <a:pt x="115278" y="100902"/>
                      <a:pt x="115278" y="100902"/>
                    </a:cubicBezTo>
                    <a:lnTo>
                      <a:pt x="110887" y="119366"/>
                    </a:lnTo>
                    <a:cubicBezTo>
                      <a:pt x="110887" y="119366"/>
                      <a:pt x="118791" y="15616"/>
                      <a:pt x="101226" y="2428"/>
                    </a:cubicBezTo>
                    <a:cubicBezTo>
                      <a:pt x="83662" y="-10761"/>
                      <a:pt x="84540" y="34080"/>
                      <a:pt x="84540" y="34080"/>
                    </a:cubicBezTo>
                    <a:cubicBezTo>
                      <a:pt x="84540" y="34080"/>
                      <a:pt x="87174" y="86834"/>
                      <a:pt x="84540" y="100902"/>
                    </a:cubicBezTo>
                    <a:lnTo>
                      <a:pt x="81905" y="105298"/>
                    </a:lnTo>
                    <a:cubicBezTo>
                      <a:pt x="81905" y="105298"/>
                      <a:pt x="76635" y="40235"/>
                      <a:pt x="65218" y="25288"/>
                    </a:cubicBezTo>
                    <a:cubicBezTo>
                      <a:pt x="54679" y="10341"/>
                      <a:pt x="49410" y="13858"/>
                      <a:pt x="49410" y="25288"/>
                    </a:cubicBezTo>
                    <a:cubicBezTo>
                      <a:pt x="49410" y="36718"/>
                      <a:pt x="52923" y="120245"/>
                      <a:pt x="47654" y="133433"/>
                    </a:cubicBezTo>
                    <a:cubicBezTo>
                      <a:pt x="46775" y="136071"/>
                      <a:pt x="42384" y="148380"/>
                      <a:pt x="37993" y="156293"/>
                    </a:cubicBezTo>
                    <a:cubicBezTo>
                      <a:pt x="33602" y="144863"/>
                      <a:pt x="30089" y="128158"/>
                      <a:pt x="29210" y="119366"/>
                    </a:cubicBezTo>
                    <a:cubicBezTo>
                      <a:pt x="29210" y="92109"/>
                      <a:pt x="12524" y="85955"/>
                      <a:pt x="3741" y="84196"/>
                    </a:cubicBezTo>
                    <a:cubicBezTo>
                      <a:pt x="1107" y="84196"/>
                      <a:pt x="-650" y="85955"/>
                      <a:pt x="228" y="88592"/>
                    </a:cubicBezTo>
                    <a:cubicBezTo>
                      <a:pt x="6376" y="107056"/>
                      <a:pt x="3741" y="129916"/>
                      <a:pt x="1985" y="151897"/>
                    </a:cubicBezTo>
                    <a:lnTo>
                      <a:pt x="1985" y="151897"/>
                    </a:lnTo>
                    <a:cubicBezTo>
                      <a:pt x="1985" y="153656"/>
                      <a:pt x="1985" y="171240"/>
                      <a:pt x="7254" y="185308"/>
                    </a:cubicBezTo>
                    <a:cubicBezTo>
                      <a:pt x="11646" y="198496"/>
                      <a:pt x="32723" y="281144"/>
                      <a:pt x="35358" y="294332"/>
                    </a:cubicBezTo>
                    <a:cubicBezTo>
                      <a:pt x="35358" y="295212"/>
                      <a:pt x="36236" y="296091"/>
                      <a:pt x="37993" y="296970"/>
                    </a:cubicBezTo>
                    <a:cubicBezTo>
                      <a:pt x="48532" y="299608"/>
                      <a:pt x="102983" y="313676"/>
                      <a:pt x="108252" y="310159"/>
                    </a:cubicBezTo>
                    <a:cubicBezTo>
                      <a:pt x="117913" y="304004"/>
                      <a:pt x="122304" y="275869"/>
                      <a:pt x="132843" y="251250"/>
                    </a:cubicBezTo>
                    <a:cubicBezTo>
                      <a:pt x="150408" y="205530"/>
                      <a:pt x="154799" y="183549"/>
                      <a:pt x="155677" y="182670"/>
                    </a:cubicBezTo>
                    <a:lnTo>
                      <a:pt x="161825" y="159810"/>
                    </a:lnTo>
                    <a:cubicBezTo>
                      <a:pt x="161825" y="157173"/>
                      <a:pt x="182025" y="81559"/>
                      <a:pt x="169729" y="70129"/>
                    </a:cubicBezTo>
                    <a:lnTo>
                      <a:pt x="169729" y="70129"/>
                    </a:lnTo>
                    <a:lnTo>
                      <a:pt x="169729" y="68370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5C4547AB-6221-640A-3047-B5BABA5750BB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solidFill>
                <a:srgbClr val="F9C1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6CFBE817-DBDE-5CB8-8B52-5BAAC746E0E4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15A5FB3B-20D5-A55E-357E-7D4D886EADA3}"/>
                  </a:ext>
                </a:extLst>
              </p:cNvPr>
              <p:cNvSpPr/>
              <p:nvPr/>
            </p:nvSpPr>
            <p:spPr>
              <a:xfrm>
                <a:off x="-11320983" y="2913759"/>
                <a:ext cx="1280114" cy="783067"/>
              </a:xfrm>
              <a:custGeom>
                <a:avLst/>
                <a:gdLst>
                  <a:gd name="connsiteX0" fmla="*/ 376403 w 1280114"/>
                  <a:gd name="connsiteY0" fmla="*/ 725365 h 783067"/>
                  <a:gd name="connsiteX1" fmla="*/ 861193 w 1280114"/>
                  <a:gd name="connsiteY1" fmla="*/ 701626 h 783067"/>
                  <a:gd name="connsiteX2" fmla="*/ 848897 w 1280114"/>
                  <a:gd name="connsiteY2" fmla="*/ 524022 h 783067"/>
                  <a:gd name="connsiteX3" fmla="*/ 956921 w 1280114"/>
                  <a:gd name="connsiteY3" fmla="*/ 707781 h 783067"/>
                  <a:gd name="connsiteX4" fmla="*/ 1126422 w 1280114"/>
                  <a:gd name="connsiteY4" fmla="*/ 610186 h 783067"/>
                  <a:gd name="connsiteX5" fmla="*/ 1280115 w 1280114"/>
                  <a:gd name="connsiteY5" fmla="*/ 168812 h 783067"/>
                  <a:gd name="connsiteX6" fmla="*/ 1184386 w 1280114"/>
                  <a:gd name="connsiteY6" fmla="*/ 145952 h 783067"/>
                  <a:gd name="connsiteX7" fmla="*/ 1184386 w 1280114"/>
                  <a:gd name="connsiteY7" fmla="*/ 145952 h 783067"/>
                  <a:gd name="connsiteX8" fmla="*/ 1021033 w 1280114"/>
                  <a:gd name="connsiteY8" fmla="*/ 406205 h 783067"/>
                  <a:gd name="connsiteX9" fmla="*/ 989416 w 1280114"/>
                  <a:gd name="connsiteY9" fmla="*/ 291905 h 783067"/>
                  <a:gd name="connsiteX10" fmla="*/ 933209 w 1280114"/>
                  <a:gd name="connsiteY10" fmla="*/ 124851 h 783067"/>
                  <a:gd name="connsiteX11" fmla="*/ 858558 w 1280114"/>
                  <a:gd name="connsiteY11" fmla="*/ 50995 h 783067"/>
                  <a:gd name="connsiteX12" fmla="*/ 807620 w 1280114"/>
                  <a:gd name="connsiteY12" fmla="*/ 30773 h 783067"/>
                  <a:gd name="connsiteX13" fmla="*/ 670614 w 1280114"/>
                  <a:gd name="connsiteY13" fmla="*/ 0 h 783067"/>
                  <a:gd name="connsiteX14" fmla="*/ 457201 w 1280114"/>
                  <a:gd name="connsiteY14" fmla="*/ 0 h 783067"/>
                  <a:gd name="connsiteX15" fmla="*/ 307900 w 1280114"/>
                  <a:gd name="connsiteY15" fmla="*/ 54512 h 783067"/>
                  <a:gd name="connsiteX16" fmla="*/ 204267 w 1280114"/>
                  <a:gd name="connsiteY16" fmla="*/ 139798 h 783067"/>
                  <a:gd name="connsiteX17" fmla="*/ 1393 w 1280114"/>
                  <a:gd name="connsiteY17" fmla="*/ 654148 h 783067"/>
                  <a:gd name="connsiteX18" fmla="*/ 572251 w 1280114"/>
                  <a:gd name="connsiteY18" fmla="*/ 640080 h 783067"/>
                  <a:gd name="connsiteX19" fmla="*/ 536243 w 1280114"/>
                  <a:gd name="connsiteY19" fmla="*/ 545123 h 783067"/>
                  <a:gd name="connsiteX20" fmla="*/ 244667 w 1280114"/>
                  <a:gd name="connsiteY20" fmla="*/ 589964 h 783067"/>
                  <a:gd name="connsiteX21" fmla="*/ 328978 w 1280114"/>
                  <a:gd name="connsiteY21" fmla="*/ 436098 h 783067"/>
                  <a:gd name="connsiteX22" fmla="*/ 339517 w 1280114"/>
                  <a:gd name="connsiteY22" fmla="*/ 552157 h 783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80114" h="783067">
                    <a:moveTo>
                      <a:pt x="376403" y="725365"/>
                    </a:moveTo>
                    <a:lnTo>
                      <a:pt x="861193" y="701626"/>
                    </a:lnTo>
                    <a:lnTo>
                      <a:pt x="848897" y="524022"/>
                    </a:lnTo>
                    <a:cubicBezTo>
                      <a:pt x="867341" y="559191"/>
                      <a:pt x="905105" y="648872"/>
                      <a:pt x="956921" y="707781"/>
                    </a:cubicBezTo>
                    <a:cubicBezTo>
                      <a:pt x="1024546" y="785153"/>
                      <a:pt x="1107101" y="643597"/>
                      <a:pt x="1126422" y="610186"/>
                    </a:cubicBezTo>
                    <a:cubicBezTo>
                      <a:pt x="1209855" y="465113"/>
                      <a:pt x="1280115" y="168812"/>
                      <a:pt x="1280115" y="168812"/>
                    </a:cubicBezTo>
                    <a:lnTo>
                      <a:pt x="1184386" y="145952"/>
                    </a:lnTo>
                    <a:lnTo>
                      <a:pt x="1184386" y="145952"/>
                    </a:lnTo>
                    <a:lnTo>
                      <a:pt x="1021033" y="406205"/>
                    </a:lnTo>
                    <a:cubicBezTo>
                      <a:pt x="1011372" y="368398"/>
                      <a:pt x="1000833" y="329712"/>
                      <a:pt x="989416" y="291905"/>
                    </a:cubicBezTo>
                    <a:cubicBezTo>
                      <a:pt x="972730" y="226842"/>
                      <a:pt x="953408" y="166175"/>
                      <a:pt x="933209" y="124851"/>
                    </a:cubicBezTo>
                    <a:cubicBezTo>
                      <a:pt x="913887" y="85285"/>
                      <a:pt x="885784" y="65063"/>
                      <a:pt x="858558" y="50995"/>
                    </a:cubicBezTo>
                    <a:cubicBezTo>
                      <a:pt x="831333" y="36928"/>
                      <a:pt x="824307" y="35169"/>
                      <a:pt x="807620" y="30773"/>
                    </a:cubicBezTo>
                    <a:lnTo>
                      <a:pt x="670614" y="0"/>
                    </a:lnTo>
                    <a:cubicBezTo>
                      <a:pt x="657441" y="70338"/>
                      <a:pt x="516922" y="53633"/>
                      <a:pt x="457201" y="0"/>
                    </a:cubicBezTo>
                    <a:lnTo>
                      <a:pt x="307900" y="54512"/>
                    </a:lnTo>
                    <a:cubicBezTo>
                      <a:pt x="275405" y="58908"/>
                      <a:pt x="237641" y="79131"/>
                      <a:pt x="204267" y="139798"/>
                    </a:cubicBezTo>
                    <a:cubicBezTo>
                      <a:pt x="47940" y="427306"/>
                      <a:pt x="-10024" y="596118"/>
                      <a:pt x="1393" y="654148"/>
                    </a:cubicBezTo>
                    <a:cubicBezTo>
                      <a:pt x="57601" y="952207"/>
                      <a:pt x="572251" y="640080"/>
                      <a:pt x="572251" y="640080"/>
                    </a:cubicBezTo>
                    <a:lnTo>
                      <a:pt x="536243" y="545123"/>
                    </a:lnTo>
                    <a:cubicBezTo>
                      <a:pt x="536243" y="545123"/>
                      <a:pt x="250814" y="601394"/>
                      <a:pt x="244667" y="589964"/>
                    </a:cubicBezTo>
                    <a:lnTo>
                      <a:pt x="328978" y="436098"/>
                    </a:lnTo>
                    <a:cubicBezTo>
                      <a:pt x="328978" y="441374"/>
                      <a:pt x="333369" y="493248"/>
                      <a:pt x="339517" y="55215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7E7F8DF6-C0BC-EC07-AB31-5FE46125B11A}"/>
                  </a:ext>
                </a:extLst>
              </p:cNvPr>
              <p:cNvSpPr/>
              <p:nvPr/>
            </p:nvSpPr>
            <p:spPr>
              <a:xfrm>
                <a:off x="-10720884" y="2450565"/>
                <a:ext cx="89252" cy="179202"/>
              </a:xfrm>
              <a:custGeom>
                <a:avLst/>
                <a:gdLst>
                  <a:gd name="connsiteX0" fmla="*/ 18698 w 89252"/>
                  <a:gd name="connsiteY0" fmla="*/ 178323 h 179202"/>
                  <a:gd name="connsiteX1" fmla="*/ 88080 w 89252"/>
                  <a:gd name="connsiteY1" fmla="*/ 20941 h 179202"/>
                  <a:gd name="connsiteX2" fmla="*/ 27481 w 89252"/>
                  <a:gd name="connsiteY2" fmla="*/ 719 h 179202"/>
                  <a:gd name="connsiteX3" fmla="*/ 18698 w 89252"/>
                  <a:gd name="connsiteY3" fmla="*/ 179202 h 179202"/>
                  <a:gd name="connsiteX4" fmla="*/ 18698 w 89252"/>
                  <a:gd name="connsiteY4" fmla="*/ 179202 h 179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252" h="179202">
                    <a:moveTo>
                      <a:pt x="18698" y="178323"/>
                    </a:moveTo>
                    <a:cubicBezTo>
                      <a:pt x="23968" y="120294"/>
                      <a:pt x="99497" y="83366"/>
                      <a:pt x="88080" y="20941"/>
                    </a:cubicBezTo>
                    <a:cubicBezTo>
                      <a:pt x="88080" y="20941"/>
                      <a:pt x="83688" y="-4557"/>
                      <a:pt x="27481" y="719"/>
                    </a:cubicBezTo>
                    <a:cubicBezTo>
                      <a:pt x="-28727" y="5994"/>
                      <a:pt x="18698" y="179202"/>
                      <a:pt x="18698" y="179202"/>
                    </a:cubicBezTo>
                    <a:lnTo>
                      <a:pt x="18698" y="179202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F43FEA91-0B76-F2A5-195C-072EA2637CBA}"/>
                  </a:ext>
                </a:extLst>
              </p:cNvPr>
              <p:cNvSpPr/>
              <p:nvPr/>
            </p:nvSpPr>
            <p:spPr>
              <a:xfrm>
                <a:off x="-11045578" y="2762531"/>
                <a:ext cx="272255" cy="216290"/>
              </a:xfrm>
              <a:custGeom>
                <a:avLst/>
                <a:gdLst>
                  <a:gd name="connsiteX0" fmla="*/ 272255 w 272255"/>
                  <a:gd name="connsiteY0" fmla="*/ 879 h 216290"/>
                  <a:gd name="connsiteX1" fmla="*/ 259960 w 272255"/>
                  <a:gd name="connsiteY1" fmla="*/ 216291 h 216290"/>
                  <a:gd name="connsiteX2" fmla="*/ 0 w 272255"/>
                  <a:gd name="connsiteY2" fmla="*/ 216291 h 216290"/>
                  <a:gd name="connsiteX3" fmla="*/ 62355 w 272255"/>
                  <a:gd name="connsiteY3" fmla="*/ 0 h 216290"/>
                  <a:gd name="connsiteX4" fmla="*/ 272255 w 272255"/>
                  <a:gd name="connsiteY4" fmla="*/ 0 h 21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255" h="216290">
                    <a:moveTo>
                      <a:pt x="272255" y="879"/>
                    </a:moveTo>
                    <a:cubicBezTo>
                      <a:pt x="272255" y="879"/>
                      <a:pt x="221317" y="162658"/>
                      <a:pt x="259960" y="216291"/>
                    </a:cubicBezTo>
                    <a:lnTo>
                      <a:pt x="0" y="216291"/>
                    </a:lnTo>
                    <a:lnTo>
                      <a:pt x="62355" y="0"/>
                    </a:lnTo>
                    <a:lnTo>
                      <a:pt x="272255" y="0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C8CF460-28D0-4733-E83F-525C7A4B613B}"/>
                </a:ext>
              </a:extLst>
            </p:cNvPr>
            <p:cNvSpPr/>
            <p:nvPr/>
          </p:nvSpPr>
          <p:spPr>
            <a:xfrm>
              <a:off x="-10873775" y="3549442"/>
              <a:ext cx="180674" cy="261131"/>
            </a:xfrm>
            <a:custGeom>
              <a:avLst/>
              <a:gdLst>
                <a:gd name="connsiteX0" fmla="*/ 180372 w 180674"/>
                <a:gd name="connsiteY0" fmla="*/ 220687 h 261131"/>
                <a:gd name="connsiteX1" fmla="*/ 149633 w 180674"/>
                <a:gd name="connsiteY1" fmla="*/ 182001 h 261131"/>
                <a:gd name="connsiteX2" fmla="*/ 93426 w 180674"/>
                <a:gd name="connsiteY2" fmla="*/ 149469 h 261131"/>
                <a:gd name="connsiteX3" fmla="*/ 122408 w 180674"/>
                <a:gd name="connsiteY3" fmla="*/ 0 h 261131"/>
                <a:gd name="connsiteX4" fmla="*/ 37218 w 180674"/>
                <a:gd name="connsiteY4" fmla="*/ 0 h 261131"/>
                <a:gd name="connsiteX5" fmla="*/ 18775 w 180674"/>
                <a:gd name="connsiteY5" fmla="*/ 135401 h 261131"/>
                <a:gd name="connsiteX6" fmla="*/ 3845 w 180674"/>
                <a:gd name="connsiteY6" fmla="*/ 186397 h 261131"/>
                <a:gd name="connsiteX7" fmla="*/ 86400 w 180674"/>
                <a:gd name="connsiteY7" fmla="*/ 232117 h 261131"/>
                <a:gd name="connsiteX8" fmla="*/ 136460 w 180674"/>
                <a:gd name="connsiteY8" fmla="*/ 249701 h 261131"/>
                <a:gd name="connsiteX9" fmla="*/ 166320 w 180674"/>
                <a:gd name="connsiteY9" fmla="*/ 261131 h 261131"/>
                <a:gd name="connsiteX10" fmla="*/ 179494 w 180674"/>
                <a:gd name="connsiteY10" fmla="*/ 220687 h 261131"/>
                <a:gd name="connsiteX11" fmla="*/ 180372 w 180674"/>
                <a:gd name="connsiteY11" fmla="*/ 220687 h 261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674" h="261131">
                  <a:moveTo>
                    <a:pt x="180372" y="220687"/>
                  </a:moveTo>
                  <a:cubicBezTo>
                    <a:pt x="183007" y="188155"/>
                    <a:pt x="168076" y="188155"/>
                    <a:pt x="149633" y="182001"/>
                  </a:cubicBezTo>
                  <a:cubicBezTo>
                    <a:pt x="123286" y="172329"/>
                    <a:pt x="93426" y="149469"/>
                    <a:pt x="93426" y="149469"/>
                  </a:cubicBezTo>
                  <a:lnTo>
                    <a:pt x="122408" y="0"/>
                  </a:lnTo>
                  <a:lnTo>
                    <a:pt x="37218" y="0"/>
                  </a:lnTo>
                  <a:lnTo>
                    <a:pt x="18775" y="135401"/>
                  </a:lnTo>
                  <a:cubicBezTo>
                    <a:pt x="18775" y="135401"/>
                    <a:pt x="-10207" y="163537"/>
                    <a:pt x="3845" y="186397"/>
                  </a:cubicBezTo>
                  <a:cubicBezTo>
                    <a:pt x="17019" y="209257"/>
                    <a:pt x="53905" y="201344"/>
                    <a:pt x="86400" y="232117"/>
                  </a:cubicBezTo>
                  <a:cubicBezTo>
                    <a:pt x="103087" y="247943"/>
                    <a:pt x="112747" y="246185"/>
                    <a:pt x="136460" y="249701"/>
                  </a:cubicBezTo>
                  <a:cubicBezTo>
                    <a:pt x="143486" y="250581"/>
                    <a:pt x="146999" y="261131"/>
                    <a:pt x="166320" y="261131"/>
                  </a:cubicBezTo>
                  <a:cubicBezTo>
                    <a:pt x="185641" y="261131"/>
                    <a:pt x="178616" y="235634"/>
                    <a:pt x="179494" y="220687"/>
                  </a:cubicBezTo>
                  <a:lnTo>
                    <a:pt x="180372" y="220687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C4E3D177-2EA3-41FF-5141-46BA1A813087}"/>
                </a:ext>
              </a:extLst>
            </p:cNvPr>
            <p:cNvSpPr/>
            <p:nvPr/>
          </p:nvSpPr>
          <p:spPr>
            <a:xfrm>
              <a:off x="-11018818" y="3375937"/>
              <a:ext cx="366021" cy="167529"/>
            </a:xfrm>
            <a:custGeom>
              <a:avLst/>
              <a:gdLst>
                <a:gd name="connsiteX0" fmla="*/ 3979 w 366021"/>
                <a:gd name="connsiteY0" fmla="*/ 97012 h 167529"/>
                <a:gd name="connsiteX1" fmla="*/ 206853 w 366021"/>
                <a:gd name="connsiteY1" fmla="*/ 125148 h 167529"/>
                <a:gd name="connsiteX2" fmla="*/ 364058 w 366021"/>
                <a:gd name="connsiteY2" fmla="*/ 154162 h 167529"/>
                <a:gd name="connsiteX3" fmla="*/ 311364 w 366021"/>
                <a:gd name="connsiteY3" fmla="*/ 52171 h 167529"/>
                <a:gd name="connsiteX4" fmla="*/ 154158 w 366021"/>
                <a:gd name="connsiteY4" fmla="*/ 297 h 167529"/>
                <a:gd name="connsiteX5" fmla="*/ 3101 w 366021"/>
                <a:gd name="connsiteY5" fmla="*/ 96133 h 167529"/>
                <a:gd name="connsiteX6" fmla="*/ 3101 w 366021"/>
                <a:gd name="connsiteY6" fmla="*/ 96133 h 1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6021" h="167529">
                  <a:moveTo>
                    <a:pt x="3979" y="97012"/>
                  </a:moveTo>
                  <a:cubicBezTo>
                    <a:pt x="21544" y="145370"/>
                    <a:pt x="206853" y="125148"/>
                    <a:pt x="206853" y="125148"/>
                  </a:cubicBezTo>
                  <a:cubicBezTo>
                    <a:pt x="206853" y="125148"/>
                    <a:pt x="357910" y="196365"/>
                    <a:pt x="364058" y="154162"/>
                  </a:cubicBezTo>
                  <a:cubicBezTo>
                    <a:pt x="371084" y="111959"/>
                    <a:pt x="360545" y="62722"/>
                    <a:pt x="311364" y="52171"/>
                  </a:cubicBezTo>
                  <a:cubicBezTo>
                    <a:pt x="262182" y="41621"/>
                    <a:pt x="211244" y="-4099"/>
                    <a:pt x="154158" y="297"/>
                  </a:cubicBezTo>
                  <a:cubicBezTo>
                    <a:pt x="43500" y="11727"/>
                    <a:pt x="-14464" y="47775"/>
                    <a:pt x="3101" y="96133"/>
                  </a:cubicBezTo>
                  <a:lnTo>
                    <a:pt x="3101" y="96133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3045FA59-B2E9-4820-9E18-749D4BB1F8F5}"/>
                </a:ext>
              </a:extLst>
            </p:cNvPr>
            <p:cNvSpPr/>
            <p:nvPr/>
          </p:nvSpPr>
          <p:spPr>
            <a:xfrm>
              <a:off x="-11008880" y="3582853"/>
              <a:ext cx="212722" cy="304647"/>
            </a:xfrm>
            <a:custGeom>
              <a:avLst/>
              <a:gdLst>
                <a:gd name="connsiteX0" fmla="*/ 147733 w 212722"/>
                <a:gd name="connsiteY0" fmla="*/ 229479 h 304647"/>
                <a:gd name="connsiteX1" fmla="*/ 105577 w 212722"/>
                <a:gd name="connsiteY1" fmla="*/ 181121 h 304647"/>
                <a:gd name="connsiteX2" fmla="*/ 212723 w 212722"/>
                <a:gd name="connsiteY2" fmla="*/ 0 h 304647"/>
                <a:gd name="connsiteX3" fmla="*/ 89769 w 212722"/>
                <a:gd name="connsiteY3" fmla="*/ 3517 h 304647"/>
                <a:gd name="connsiteX4" fmla="*/ 31805 w 212722"/>
                <a:gd name="connsiteY4" fmla="*/ 146831 h 304647"/>
                <a:gd name="connsiteX5" fmla="*/ 1066 w 212722"/>
                <a:gd name="connsiteY5" fmla="*/ 197827 h 304647"/>
                <a:gd name="connsiteX6" fmla="*/ 48491 w 212722"/>
                <a:gd name="connsiteY6" fmla="*/ 252339 h 304647"/>
                <a:gd name="connsiteX7" fmla="*/ 90647 w 212722"/>
                <a:gd name="connsiteY7" fmla="*/ 293663 h 304647"/>
                <a:gd name="connsiteX8" fmla="*/ 113481 w 212722"/>
                <a:gd name="connsiteY8" fmla="*/ 290146 h 304647"/>
                <a:gd name="connsiteX9" fmla="*/ 134559 w 212722"/>
                <a:gd name="connsiteY9" fmla="*/ 290146 h 304647"/>
                <a:gd name="connsiteX10" fmla="*/ 156515 w 212722"/>
                <a:gd name="connsiteY10" fmla="*/ 286629 h 304647"/>
                <a:gd name="connsiteX11" fmla="*/ 169689 w 212722"/>
                <a:gd name="connsiteY11" fmla="*/ 275199 h 304647"/>
                <a:gd name="connsiteX12" fmla="*/ 146854 w 212722"/>
                <a:gd name="connsiteY12" fmla="*/ 227721 h 304647"/>
                <a:gd name="connsiteX13" fmla="*/ 146854 w 212722"/>
                <a:gd name="connsiteY13" fmla="*/ 229479 h 30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722" h="304647">
                  <a:moveTo>
                    <a:pt x="147733" y="229479"/>
                  </a:moveTo>
                  <a:cubicBezTo>
                    <a:pt x="124898" y="213653"/>
                    <a:pt x="105577" y="181121"/>
                    <a:pt x="105577" y="181121"/>
                  </a:cubicBezTo>
                  <a:cubicBezTo>
                    <a:pt x="120507" y="123971"/>
                    <a:pt x="212723" y="0"/>
                    <a:pt x="212723" y="0"/>
                  </a:cubicBezTo>
                  <a:lnTo>
                    <a:pt x="89769" y="3517"/>
                  </a:lnTo>
                  <a:lnTo>
                    <a:pt x="31805" y="146831"/>
                  </a:lnTo>
                  <a:cubicBezTo>
                    <a:pt x="31805" y="146831"/>
                    <a:pt x="-6838" y="172329"/>
                    <a:pt x="1066" y="197827"/>
                  </a:cubicBezTo>
                  <a:cubicBezTo>
                    <a:pt x="8970" y="223325"/>
                    <a:pt x="22144" y="215412"/>
                    <a:pt x="48491" y="252339"/>
                  </a:cubicBezTo>
                  <a:cubicBezTo>
                    <a:pt x="62543" y="273441"/>
                    <a:pt x="67813" y="288388"/>
                    <a:pt x="90647" y="293663"/>
                  </a:cubicBezTo>
                  <a:cubicBezTo>
                    <a:pt x="100307" y="311248"/>
                    <a:pt x="117872" y="305972"/>
                    <a:pt x="113481" y="290146"/>
                  </a:cubicBezTo>
                  <a:cubicBezTo>
                    <a:pt x="116994" y="303335"/>
                    <a:pt x="139828" y="305972"/>
                    <a:pt x="134559" y="290146"/>
                  </a:cubicBezTo>
                  <a:cubicBezTo>
                    <a:pt x="138072" y="302455"/>
                    <a:pt x="158271" y="294542"/>
                    <a:pt x="156515" y="286629"/>
                  </a:cubicBezTo>
                  <a:cubicBezTo>
                    <a:pt x="161784" y="294542"/>
                    <a:pt x="181106" y="286629"/>
                    <a:pt x="169689" y="275199"/>
                  </a:cubicBezTo>
                  <a:cubicBezTo>
                    <a:pt x="197792" y="262011"/>
                    <a:pt x="179349" y="248822"/>
                    <a:pt x="146854" y="227721"/>
                  </a:cubicBezTo>
                  <a:lnTo>
                    <a:pt x="146854" y="22947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E237B0F7-1E89-DFB2-28FF-D8C6D2623D5F}"/>
                </a:ext>
              </a:extLst>
            </p:cNvPr>
            <p:cNvSpPr/>
            <p:nvPr/>
          </p:nvSpPr>
          <p:spPr>
            <a:xfrm>
              <a:off x="-10950752" y="2820159"/>
              <a:ext cx="273395" cy="309206"/>
            </a:xfrm>
            <a:custGeom>
              <a:avLst/>
              <a:gdLst>
                <a:gd name="connsiteX0" fmla="*/ 158986 w 273395"/>
                <a:gd name="connsiteY0" fmla="*/ 250103 h 309206"/>
                <a:gd name="connsiteX1" fmla="*/ 218707 w 273395"/>
                <a:gd name="connsiteY1" fmla="*/ 260653 h 309206"/>
                <a:gd name="connsiteX2" fmla="*/ 241541 w 273395"/>
                <a:gd name="connsiteY2" fmla="*/ 232518 h 309206"/>
                <a:gd name="connsiteX3" fmla="*/ 249445 w 273395"/>
                <a:gd name="connsiteY3" fmla="*/ 211417 h 309206"/>
                <a:gd name="connsiteX4" fmla="*/ 239784 w 273395"/>
                <a:gd name="connsiteY4" fmla="*/ 207900 h 309206"/>
                <a:gd name="connsiteX5" fmla="*/ 258228 w 273395"/>
                <a:gd name="connsiteY5" fmla="*/ 211417 h 309206"/>
                <a:gd name="connsiteX6" fmla="*/ 256471 w 273395"/>
                <a:gd name="connsiteY6" fmla="*/ 185919 h 309206"/>
                <a:gd name="connsiteX7" fmla="*/ 267888 w 273395"/>
                <a:gd name="connsiteY7" fmla="*/ 181523 h 309206"/>
                <a:gd name="connsiteX8" fmla="*/ 270523 w 273395"/>
                <a:gd name="connsiteY8" fmla="*/ 162180 h 309206"/>
                <a:gd name="connsiteX9" fmla="*/ 255593 w 273395"/>
                <a:gd name="connsiteY9" fmla="*/ 135803 h 309206"/>
                <a:gd name="connsiteX10" fmla="*/ 263497 w 273395"/>
                <a:gd name="connsiteY10" fmla="*/ 112064 h 309206"/>
                <a:gd name="connsiteX11" fmla="*/ 91361 w 273395"/>
                <a:gd name="connsiteY11" fmla="*/ 401 h 309206"/>
                <a:gd name="connsiteX12" fmla="*/ 24 w 273395"/>
                <a:gd name="connsiteY12" fmla="*/ 131407 h 309206"/>
                <a:gd name="connsiteX13" fmla="*/ 38667 w 273395"/>
                <a:gd name="connsiteY13" fmla="*/ 233397 h 309206"/>
                <a:gd name="connsiteX14" fmla="*/ 7928 w 273395"/>
                <a:gd name="connsiteY14" fmla="*/ 300219 h 309206"/>
                <a:gd name="connsiteX15" fmla="*/ 154595 w 273395"/>
                <a:gd name="connsiteY15" fmla="*/ 300219 h 309206"/>
                <a:gd name="connsiteX16" fmla="*/ 158108 w 273395"/>
                <a:gd name="connsiteY16" fmla="*/ 250982 h 30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3395" h="309206">
                  <a:moveTo>
                    <a:pt x="158986" y="250103"/>
                  </a:moveTo>
                  <a:cubicBezTo>
                    <a:pt x="195872" y="258895"/>
                    <a:pt x="205533" y="260653"/>
                    <a:pt x="218707" y="260653"/>
                  </a:cubicBezTo>
                  <a:cubicBezTo>
                    <a:pt x="231880" y="260653"/>
                    <a:pt x="236271" y="243948"/>
                    <a:pt x="241541" y="232518"/>
                  </a:cubicBezTo>
                  <a:cubicBezTo>
                    <a:pt x="254715" y="231639"/>
                    <a:pt x="258228" y="214934"/>
                    <a:pt x="249445" y="211417"/>
                  </a:cubicBezTo>
                  <a:cubicBezTo>
                    <a:pt x="240663" y="207900"/>
                    <a:pt x="244176" y="210537"/>
                    <a:pt x="239784" y="207900"/>
                  </a:cubicBezTo>
                  <a:cubicBezTo>
                    <a:pt x="248567" y="211417"/>
                    <a:pt x="252958" y="214054"/>
                    <a:pt x="258228" y="211417"/>
                  </a:cubicBezTo>
                  <a:cubicBezTo>
                    <a:pt x="263497" y="202624"/>
                    <a:pt x="256471" y="191194"/>
                    <a:pt x="256471" y="185919"/>
                  </a:cubicBezTo>
                  <a:cubicBezTo>
                    <a:pt x="256471" y="185919"/>
                    <a:pt x="260862" y="184160"/>
                    <a:pt x="267888" y="181523"/>
                  </a:cubicBezTo>
                  <a:cubicBezTo>
                    <a:pt x="273158" y="178885"/>
                    <a:pt x="275792" y="170093"/>
                    <a:pt x="270523" y="162180"/>
                  </a:cubicBezTo>
                  <a:cubicBezTo>
                    <a:pt x="265254" y="154267"/>
                    <a:pt x="258228" y="147233"/>
                    <a:pt x="255593" y="135803"/>
                  </a:cubicBezTo>
                  <a:cubicBezTo>
                    <a:pt x="259984" y="126131"/>
                    <a:pt x="263497" y="112064"/>
                    <a:pt x="263497" y="112064"/>
                  </a:cubicBezTo>
                  <a:cubicBezTo>
                    <a:pt x="292479" y="-12787"/>
                    <a:pt x="91361" y="401"/>
                    <a:pt x="91361" y="401"/>
                  </a:cubicBezTo>
                  <a:cubicBezTo>
                    <a:pt x="21980" y="10952"/>
                    <a:pt x="-854" y="80411"/>
                    <a:pt x="24" y="131407"/>
                  </a:cubicBezTo>
                  <a:cubicBezTo>
                    <a:pt x="903" y="182402"/>
                    <a:pt x="38667" y="233397"/>
                    <a:pt x="38667" y="233397"/>
                  </a:cubicBezTo>
                  <a:cubicBezTo>
                    <a:pt x="38667" y="233397"/>
                    <a:pt x="14954" y="279997"/>
                    <a:pt x="7928" y="300219"/>
                  </a:cubicBezTo>
                  <a:cubicBezTo>
                    <a:pt x="903" y="320441"/>
                    <a:pt x="154595" y="300219"/>
                    <a:pt x="154595" y="300219"/>
                  </a:cubicBezTo>
                  <a:lnTo>
                    <a:pt x="158108" y="250982"/>
                  </a:lnTo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04505CD3-05AC-4C0A-04F4-DE814F517A5C}"/>
                </a:ext>
              </a:extLst>
            </p:cNvPr>
            <p:cNvSpPr/>
            <p:nvPr/>
          </p:nvSpPr>
          <p:spPr>
            <a:xfrm>
              <a:off x="-10796157" y="3405134"/>
              <a:ext cx="209436" cy="177361"/>
            </a:xfrm>
            <a:custGeom>
              <a:avLst/>
              <a:gdLst>
                <a:gd name="connsiteX0" fmla="*/ 75529 w 209436"/>
                <a:gd name="connsiteY0" fmla="*/ 33525 h 177361"/>
                <a:gd name="connsiteX1" fmla="*/ 0 w 209436"/>
                <a:gd name="connsiteY1" fmla="*/ 107380 h 177361"/>
                <a:gd name="connsiteX2" fmla="*/ 11417 w 209436"/>
                <a:gd name="connsiteY2" fmla="*/ 168047 h 177361"/>
                <a:gd name="connsiteX3" fmla="*/ 155449 w 209436"/>
                <a:gd name="connsiteY3" fmla="*/ 172444 h 177361"/>
                <a:gd name="connsiteX4" fmla="*/ 196726 w 209436"/>
                <a:gd name="connsiteY4" fmla="*/ 152221 h 177361"/>
                <a:gd name="connsiteX5" fmla="*/ 196726 w 209436"/>
                <a:gd name="connsiteY5" fmla="*/ 124965 h 177361"/>
                <a:gd name="connsiteX6" fmla="*/ 167744 w 209436"/>
                <a:gd name="connsiteY6" fmla="*/ 138154 h 177361"/>
                <a:gd name="connsiteX7" fmla="*/ 196726 w 209436"/>
                <a:gd name="connsiteY7" fmla="*/ 124965 h 177361"/>
                <a:gd name="connsiteX8" fmla="*/ 202874 w 209436"/>
                <a:gd name="connsiteY8" fmla="*/ 91554 h 177361"/>
                <a:gd name="connsiteX9" fmla="*/ 165109 w 209436"/>
                <a:gd name="connsiteY9" fmla="*/ 110018 h 177361"/>
                <a:gd name="connsiteX10" fmla="*/ 202874 w 209436"/>
                <a:gd name="connsiteY10" fmla="*/ 90675 h 177361"/>
                <a:gd name="connsiteX11" fmla="*/ 194970 w 209436"/>
                <a:gd name="connsiteY11" fmla="*/ 51110 h 177361"/>
                <a:gd name="connsiteX12" fmla="*/ 160718 w 209436"/>
                <a:gd name="connsiteY12" fmla="*/ 81883 h 177361"/>
                <a:gd name="connsiteX13" fmla="*/ 187944 w 209436"/>
                <a:gd name="connsiteY13" fmla="*/ 68694 h 177361"/>
                <a:gd name="connsiteX14" fmla="*/ 185309 w 209436"/>
                <a:gd name="connsiteY14" fmla="*/ 30887 h 177361"/>
                <a:gd name="connsiteX15" fmla="*/ 136128 w 209436"/>
                <a:gd name="connsiteY15" fmla="*/ 30008 h 177361"/>
                <a:gd name="connsiteX16" fmla="*/ 159840 w 209436"/>
                <a:gd name="connsiteY16" fmla="*/ 48472 h 177361"/>
                <a:gd name="connsiteX17" fmla="*/ 140519 w 209436"/>
                <a:gd name="connsiteY17" fmla="*/ 55506 h 177361"/>
                <a:gd name="connsiteX18" fmla="*/ 108024 w 209436"/>
                <a:gd name="connsiteY18" fmla="*/ 56385 h 177361"/>
                <a:gd name="connsiteX19" fmla="*/ 144032 w 209436"/>
                <a:gd name="connsiteY19" fmla="*/ 4510 h 177361"/>
                <a:gd name="connsiteX20" fmla="*/ 75529 w 209436"/>
                <a:gd name="connsiteY20" fmla="*/ 33525 h 177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436" h="177361">
                  <a:moveTo>
                    <a:pt x="75529" y="33525"/>
                  </a:moveTo>
                  <a:cubicBezTo>
                    <a:pt x="64112" y="43197"/>
                    <a:pt x="0" y="107380"/>
                    <a:pt x="0" y="107380"/>
                  </a:cubicBezTo>
                  <a:cubicBezTo>
                    <a:pt x="0" y="107380"/>
                    <a:pt x="7904" y="151342"/>
                    <a:pt x="11417" y="168047"/>
                  </a:cubicBezTo>
                  <a:cubicBezTo>
                    <a:pt x="20199" y="174202"/>
                    <a:pt x="120319" y="182994"/>
                    <a:pt x="155449" y="172444"/>
                  </a:cubicBezTo>
                  <a:cubicBezTo>
                    <a:pt x="187066" y="162772"/>
                    <a:pt x="190578" y="159255"/>
                    <a:pt x="196726" y="152221"/>
                  </a:cubicBezTo>
                  <a:cubicBezTo>
                    <a:pt x="202874" y="145187"/>
                    <a:pt x="206387" y="118810"/>
                    <a:pt x="196726" y="124965"/>
                  </a:cubicBezTo>
                  <a:cubicBezTo>
                    <a:pt x="186187" y="136395"/>
                    <a:pt x="167744" y="138154"/>
                    <a:pt x="167744" y="138154"/>
                  </a:cubicBezTo>
                  <a:cubicBezTo>
                    <a:pt x="167744" y="138154"/>
                    <a:pt x="178283" y="138154"/>
                    <a:pt x="196726" y="124965"/>
                  </a:cubicBezTo>
                  <a:cubicBezTo>
                    <a:pt x="209900" y="114414"/>
                    <a:pt x="214291" y="98588"/>
                    <a:pt x="202874" y="91554"/>
                  </a:cubicBezTo>
                  <a:cubicBezTo>
                    <a:pt x="183553" y="110897"/>
                    <a:pt x="165109" y="110018"/>
                    <a:pt x="165109" y="110018"/>
                  </a:cubicBezTo>
                  <a:cubicBezTo>
                    <a:pt x="165109" y="110018"/>
                    <a:pt x="193213" y="104743"/>
                    <a:pt x="202874" y="90675"/>
                  </a:cubicBezTo>
                  <a:cubicBezTo>
                    <a:pt x="215169" y="73090"/>
                    <a:pt x="194970" y="44955"/>
                    <a:pt x="194970" y="51110"/>
                  </a:cubicBezTo>
                  <a:cubicBezTo>
                    <a:pt x="194970" y="65177"/>
                    <a:pt x="187066" y="72211"/>
                    <a:pt x="160718" y="81883"/>
                  </a:cubicBezTo>
                  <a:cubicBezTo>
                    <a:pt x="160718" y="81883"/>
                    <a:pt x="176527" y="81883"/>
                    <a:pt x="187944" y="68694"/>
                  </a:cubicBezTo>
                  <a:cubicBezTo>
                    <a:pt x="199361" y="55506"/>
                    <a:pt x="196726" y="40559"/>
                    <a:pt x="185309" y="30887"/>
                  </a:cubicBezTo>
                  <a:cubicBezTo>
                    <a:pt x="174770" y="21216"/>
                    <a:pt x="137884" y="23854"/>
                    <a:pt x="136128" y="30008"/>
                  </a:cubicBezTo>
                  <a:cubicBezTo>
                    <a:pt x="122076" y="69574"/>
                    <a:pt x="163353" y="45834"/>
                    <a:pt x="159840" y="48472"/>
                  </a:cubicBezTo>
                  <a:cubicBezTo>
                    <a:pt x="149301" y="54627"/>
                    <a:pt x="147545" y="53747"/>
                    <a:pt x="140519" y="55506"/>
                  </a:cubicBezTo>
                  <a:cubicBezTo>
                    <a:pt x="133493" y="57264"/>
                    <a:pt x="117684" y="57264"/>
                    <a:pt x="108024" y="56385"/>
                  </a:cubicBezTo>
                  <a:cubicBezTo>
                    <a:pt x="105389" y="53747"/>
                    <a:pt x="156327" y="22974"/>
                    <a:pt x="144032" y="4510"/>
                  </a:cubicBezTo>
                  <a:cubicBezTo>
                    <a:pt x="131736" y="-13953"/>
                    <a:pt x="79920" y="30008"/>
                    <a:pt x="75529" y="33525"/>
                  </a:cubicBezTo>
                  <a:close/>
                </a:path>
              </a:pathLst>
            </a:custGeom>
            <a:solidFill>
              <a:srgbClr val="F9C174"/>
            </a:solidFill>
            <a:ln w="6764" cap="flat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D2F57DF2-1238-DE25-40C7-B9C99B8F56DB}"/>
                </a:ext>
              </a:extLst>
            </p:cNvPr>
            <p:cNvSpPr/>
            <p:nvPr/>
          </p:nvSpPr>
          <p:spPr>
            <a:xfrm>
              <a:off x="-10852365" y="3844864"/>
              <a:ext cx="13173" cy="14947"/>
            </a:xfrm>
            <a:custGeom>
              <a:avLst/>
              <a:gdLst>
                <a:gd name="connsiteX0" fmla="*/ 0 w 13173"/>
                <a:gd name="connsiteY0" fmla="*/ 0 h 14947"/>
                <a:gd name="connsiteX1" fmla="*/ 13174 w 13173"/>
                <a:gd name="connsiteY1" fmla="*/ 14947 h 1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73" h="14947">
                  <a:moveTo>
                    <a:pt x="0" y="0"/>
                  </a:moveTo>
                  <a:cubicBezTo>
                    <a:pt x="0" y="0"/>
                    <a:pt x="9660" y="7034"/>
                    <a:pt x="13174" y="14947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08FC0FD-AF4E-65D5-6933-A86F98DC9295}"/>
                </a:ext>
              </a:extLst>
            </p:cNvPr>
            <p:cNvSpPr/>
            <p:nvPr/>
          </p:nvSpPr>
          <p:spPr>
            <a:xfrm>
              <a:off x="-10864660" y="3857173"/>
              <a:ext cx="12295" cy="13188"/>
            </a:xfrm>
            <a:custGeom>
              <a:avLst/>
              <a:gdLst>
                <a:gd name="connsiteX0" fmla="*/ 0 w 12295"/>
                <a:gd name="connsiteY0" fmla="*/ 0 h 13188"/>
                <a:gd name="connsiteX1" fmla="*/ 12296 w 12295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95" h="13188">
                  <a:moveTo>
                    <a:pt x="0" y="0"/>
                  </a:moveTo>
                  <a:cubicBezTo>
                    <a:pt x="0" y="0"/>
                    <a:pt x="7904" y="5275"/>
                    <a:pt x="12296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42975230-47B1-9522-3151-5D187BA99506}"/>
                </a:ext>
              </a:extLst>
            </p:cNvPr>
            <p:cNvSpPr/>
            <p:nvPr/>
          </p:nvSpPr>
          <p:spPr>
            <a:xfrm>
              <a:off x="-10881347" y="3861569"/>
              <a:ext cx="7904" cy="13188"/>
            </a:xfrm>
            <a:custGeom>
              <a:avLst/>
              <a:gdLst>
                <a:gd name="connsiteX0" fmla="*/ 0 w 7904"/>
                <a:gd name="connsiteY0" fmla="*/ 0 h 13188"/>
                <a:gd name="connsiteX1" fmla="*/ 7904 w 7904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4" h="13188">
                  <a:moveTo>
                    <a:pt x="0" y="0"/>
                  </a:moveTo>
                  <a:cubicBezTo>
                    <a:pt x="0" y="0"/>
                    <a:pt x="4391" y="3517"/>
                    <a:pt x="7904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D8AB5918-3176-DFAE-5B87-22467570F5AC}"/>
                </a:ext>
              </a:extLst>
            </p:cNvPr>
            <p:cNvSpPr/>
            <p:nvPr/>
          </p:nvSpPr>
          <p:spPr>
            <a:xfrm>
              <a:off x="-10903303" y="3862448"/>
              <a:ext cx="8782" cy="12309"/>
            </a:xfrm>
            <a:custGeom>
              <a:avLst/>
              <a:gdLst>
                <a:gd name="connsiteX0" fmla="*/ 0 w 8782"/>
                <a:gd name="connsiteY0" fmla="*/ 0 h 12309"/>
                <a:gd name="connsiteX1" fmla="*/ 8782 w 8782"/>
                <a:gd name="connsiteY1" fmla="*/ 12309 h 1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82" h="12309">
                  <a:moveTo>
                    <a:pt x="0" y="0"/>
                  </a:moveTo>
                  <a:cubicBezTo>
                    <a:pt x="0" y="0"/>
                    <a:pt x="5270" y="2638"/>
                    <a:pt x="8782" y="12309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241A03FC-35E7-AD26-59C7-29F2536F7ACD}"/>
                </a:ext>
              </a:extLst>
            </p:cNvPr>
            <p:cNvSpPr/>
            <p:nvPr/>
          </p:nvSpPr>
          <p:spPr>
            <a:xfrm>
              <a:off x="-10717115" y="3779801"/>
              <a:ext cx="25468" cy="20222"/>
            </a:xfrm>
            <a:custGeom>
              <a:avLst/>
              <a:gdLst>
                <a:gd name="connsiteX0" fmla="*/ 0 w 25468"/>
                <a:gd name="connsiteY0" fmla="*/ 0 h 20222"/>
                <a:gd name="connsiteX1" fmla="*/ 25469 w 25468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68" h="20222">
                  <a:moveTo>
                    <a:pt x="0" y="0"/>
                  </a:moveTo>
                  <a:cubicBezTo>
                    <a:pt x="0" y="0"/>
                    <a:pt x="25469" y="4396"/>
                    <a:pt x="25469" y="20222"/>
                  </a:cubicBezTo>
                </a:path>
              </a:pathLst>
            </a:custGeom>
            <a:solidFill>
              <a:srgbClr val="FA69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35F98ED6-0E1A-5E3E-D9BF-CEB488B77FC3}"/>
                </a:ext>
              </a:extLst>
            </p:cNvPr>
            <p:cNvSpPr/>
            <p:nvPr/>
          </p:nvSpPr>
          <p:spPr>
            <a:xfrm>
              <a:off x="-10712724" y="3765733"/>
              <a:ext cx="20199" cy="17584"/>
            </a:xfrm>
            <a:custGeom>
              <a:avLst/>
              <a:gdLst>
                <a:gd name="connsiteX0" fmla="*/ 0 w 20199"/>
                <a:gd name="connsiteY0" fmla="*/ 0 h 17584"/>
                <a:gd name="connsiteX1" fmla="*/ 20199 w 20199"/>
                <a:gd name="connsiteY1" fmla="*/ 17585 h 1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99" h="17584">
                  <a:moveTo>
                    <a:pt x="0" y="0"/>
                  </a:moveTo>
                  <a:cubicBezTo>
                    <a:pt x="0" y="0"/>
                    <a:pt x="19321" y="0"/>
                    <a:pt x="20199" y="17585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7385C70A-F1FC-140F-7EC7-1B496AFC8D66}"/>
                </a:ext>
              </a:extLst>
            </p:cNvPr>
            <p:cNvSpPr/>
            <p:nvPr/>
          </p:nvSpPr>
          <p:spPr>
            <a:xfrm>
              <a:off x="-10709211" y="3752545"/>
              <a:ext cx="18815" cy="20222"/>
            </a:xfrm>
            <a:custGeom>
              <a:avLst/>
              <a:gdLst>
                <a:gd name="connsiteX0" fmla="*/ 0 w 18815"/>
                <a:gd name="connsiteY0" fmla="*/ 0 h 20222"/>
                <a:gd name="connsiteX1" fmla="*/ 16687 w 18815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5" h="20222">
                  <a:moveTo>
                    <a:pt x="0" y="0"/>
                  </a:moveTo>
                  <a:cubicBezTo>
                    <a:pt x="0" y="0"/>
                    <a:pt x="26347" y="2638"/>
                    <a:pt x="16687" y="2022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9513285E-E53D-88DA-746F-FA14F28BC278}"/>
                </a:ext>
              </a:extLst>
            </p:cNvPr>
            <p:cNvSpPr/>
            <p:nvPr/>
          </p:nvSpPr>
          <p:spPr>
            <a:xfrm>
              <a:off x="-10873076" y="3190858"/>
              <a:ext cx="325400" cy="137155"/>
            </a:xfrm>
            <a:custGeom>
              <a:avLst/>
              <a:gdLst>
                <a:gd name="connsiteX0" fmla="*/ 23346 w 325400"/>
                <a:gd name="connsiteY0" fmla="*/ 55249 h 137155"/>
                <a:gd name="connsiteX1" fmla="*/ 10173 w 325400"/>
                <a:gd name="connsiteY1" fmla="*/ 137018 h 137155"/>
                <a:gd name="connsiteX2" fmla="*/ 184065 w 325400"/>
                <a:gd name="connsiteY2" fmla="*/ 103607 h 137155"/>
                <a:gd name="connsiteX3" fmla="*/ 262228 w 325400"/>
                <a:gd name="connsiteY3" fmla="*/ 107124 h 137155"/>
                <a:gd name="connsiteX4" fmla="*/ 306141 w 325400"/>
                <a:gd name="connsiteY4" fmla="*/ 90419 h 137155"/>
                <a:gd name="connsiteX5" fmla="*/ 306141 w 325400"/>
                <a:gd name="connsiteY5" fmla="*/ 70196 h 137155"/>
                <a:gd name="connsiteX6" fmla="*/ 275402 w 325400"/>
                <a:gd name="connsiteY6" fmla="*/ 85143 h 137155"/>
                <a:gd name="connsiteX7" fmla="*/ 312288 w 325400"/>
                <a:gd name="connsiteY7" fmla="*/ 65800 h 137155"/>
                <a:gd name="connsiteX8" fmla="*/ 306141 w 325400"/>
                <a:gd name="connsiteY8" fmla="*/ 47336 h 137155"/>
                <a:gd name="connsiteX9" fmla="*/ 271011 w 325400"/>
                <a:gd name="connsiteY9" fmla="*/ 64921 h 137155"/>
                <a:gd name="connsiteX10" fmla="*/ 313166 w 325400"/>
                <a:gd name="connsiteY10" fmla="*/ 41182 h 137155"/>
                <a:gd name="connsiteX11" fmla="*/ 306141 w 325400"/>
                <a:gd name="connsiteY11" fmla="*/ 23597 h 137155"/>
                <a:gd name="connsiteX12" fmla="*/ 269254 w 325400"/>
                <a:gd name="connsiteY12" fmla="*/ 46457 h 137155"/>
                <a:gd name="connsiteX13" fmla="*/ 295601 w 325400"/>
                <a:gd name="connsiteY13" fmla="*/ 31510 h 137155"/>
                <a:gd name="connsiteX14" fmla="*/ 293845 w 325400"/>
                <a:gd name="connsiteY14" fmla="*/ 10409 h 137155"/>
                <a:gd name="connsiteX15" fmla="*/ 265741 w 325400"/>
                <a:gd name="connsiteY15" fmla="*/ 29752 h 137155"/>
                <a:gd name="connsiteX16" fmla="*/ 243785 w 325400"/>
                <a:gd name="connsiteY16" fmla="*/ 35027 h 137155"/>
                <a:gd name="connsiteX17" fmla="*/ 260472 w 325400"/>
                <a:gd name="connsiteY17" fmla="*/ 2496 h 137155"/>
                <a:gd name="connsiteX18" fmla="*/ 219194 w 325400"/>
                <a:gd name="connsiteY18" fmla="*/ 30631 h 137155"/>
                <a:gd name="connsiteX19" fmla="*/ 180552 w 325400"/>
                <a:gd name="connsiteY19" fmla="*/ 60525 h 137155"/>
                <a:gd name="connsiteX20" fmla="*/ 22468 w 325400"/>
                <a:gd name="connsiteY20" fmla="*/ 57008 h 137155"/>
                <a:gd name="connsiteX21" fmla="*/ 22468 w 325400"/>
                <a:gd name="connsiteY21" fmla="*/ 55249 h 137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5400" h="137155">
                  <a:moveTo>
                    <a:pt x="23346" y="55249"/>
                  </a:moveTo>
                  <a:cubicBezTo>
                    <a:pt x="23346" y="59646"/>
                    <a:pt x="-18809" y="134380"/>
                    <a:pt x="10173" y="137018"/>
                  </a:cubicBezTo>
                  <a:cubicBezTo>
                    <a:pt x="39155" y="139656"/>
                    <a:pt x="184065" y="103607"/>
                    <a:pt x="184065" y="103607"/>
                  </a:cubicBezTo>
                  <a:cubicBezTo>
                    <a:pt x="188456" y="108003"/>
                    <a:pt x="235881" y="111520"/>
                    <a:pt x="262228" y="107124"/>
                  </a:cubicBezTo>
                  <a:cubicBezTo>
                    <a:pt x="288576" y="102728"/>
                    <a:pt x="294723" y="95694"/>
                    <a:pt x="306141" y="90419"/>
                  </a:cubicBezTo>
                  <a:cubicBezTo>
                    <a:pt x="323705" y="81626"/>
                    <a:pt x="317558" y="63162"/>
                    <a:pt x="306141" y="70196"/>
                  </a:cubicBezTo>
                  <a:cubicBezTo>
                    <a:pt x="294723" y="77230"/>
                    <a:pt x="275402" y="85143"/>
                    <a:pt x="275402" y="85143"/>
                  </a:cubicBezTo>
                  <a:cubicBezTo>
                    <a:pt x="275402" y="85143"/>
                    <a:pt x="302627" y="75472"/>
                    <a:pt x="312288" y="65800"/>
                  </a:cubicBezTo>
                  <a:cubicBezTo>
                    <a:pt x="326340" y="53491"/>
                    <a:pt x="324583" y="33269"/>
                    <a:pt x="306141" y="47336"/>
                  </a:cubicBezTo>
                  <a:cubicBezTo>
                    <a:pt x="289454" y="57887"/>
                    <a:pt x="271011" y="64921"/>
                    <a:pt x="271011" y="64921"/>
                  </a:cubicBezTo>
                  <a:cubicBezTo>
                    <a:pt x="271011" y="64921"/>
                    <a:pt x="299114" y="53491"/>
                    <a:pt x="313166" y="41182"/>
                  </a:cubicBezTo>
                  <a:cubicBezTo>
                    <a:pt x="339514" y="18322"/>
                    <a:pt x="316679" y="13046"/>
                    <a:pt x="306141" y="23597"/>
                  </a:cubicBezTo>
                  <a:cubicBezTo>
                    <a:pt x="295601" y="34148"/>
                    <a:pt x="283306" y="40303"/>
                    <a:pt x="269254" y="46457"/>
                  </a:cubicBezTo>
                  <a:cubicBezTo>
                    <a:pt x="269254" y="46457"/>
                    <a:pt x="282428" y="41182"/>
                    <a:pt x="295601" y="31510"/>
                  </a:cubicBezTo>
                  <a:cubicBezTo>
                    <a:pt x="308775" y="21839"/>
                    <a:pt x="303506" y="3375"/>
                    <a:pt x="293845" y="10409"/>
                  </a:cubicBezTo>
                  <a:cubicBezTo>
                    <a:pt x="284184" y="17443"/>
                    <a:pt x="273645" y="27114"/>
                    <a:pt x="265741" y="29752"/>
                  </a:cubicBezTo>
                  <a:cubicBezTo>
                    <a:pt x="257837" y="32389"/>
                    <a:pt x="249055" y="35906"/>
                    <a:pt x="243785" y="35027"/>
                  </a:cubicBezTo>
                  <a:cubicBezTo>
                    <a:pt x="242029" y="33269"/>
                    <a:pt x="268376" y="13046"/>
                    <a:pt x="260472" y="2496"/>
                  </a:cubicBezTo>
                  <a:cubicBezTo>
                    <a:pt x="252568" y="-8055"/>
                    <a:pt x="228855" y="17443"/>
                    <a:pt x="219194" y="30631"/>
                  </a:cubicBezTo>
                  <a:cubicBezTo>
                    <a:pt x="209534" y="43819"/>
                    <a:pt x="180552" y="60525"/>
                    <a:pt x="180552" y="60525"/>
                  </a:cubicBezTo>
                  <a:cubicBezTo>
                    <a:pt x="180552" y="60525"/>
                    <a:pt x="21590" y="53491"/>
                    <a:pt x="22468" y="57008"/>
                  </a:cubicBezTo>
                  <a:lnTo>
                    <a:pt x="22468" y="5524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AEB76F12-5B18-7EE5-6A8F-3158A425CC25}"/>
                </a:ext>
              </a:extLst>
            </p:cNvPr>
            <p:cNvSpPr/>
            <p:nvPr/>
          </p:nvSpPr>
          <p:spPr>
            <a:xfrm>
              <a:off x="-11123877" y="3076153"/>
              <a:ext cx="353347" cy="527140"/>
            </a:xfrm>
            <a:custGeom>
              <a:avLst/>
              <a:gdLst>
                <a:gd name="connsiteX0" fmla="*/ 347041 w 353347"/>
                <a:gd name="connsiteY0" fmla="*/ 59171 h 527140"/>
                <a:gd name="connsiteX1" fmla="*/ 124846 w 353347"/>
                <a:gd name="connsiteY1" fmla="*/ 41587 h 527140"/>
                <a:gd name="connsiteX2" fmla="*/ 1013 w 353347"/>
                <a:gd name="connsiteY2" fmla="*/ 360748 h 527140"/>
                <a:gd name="connsiteX3" fmla="*/ 195983 w 353347"/>
                <a:gd name="connsiteY3" fmla="*/ 474168 h 527140"/>
                <a:gd name="connsiteX4" fmla="*/ 318937 w 353347"/>
                <a:gd name="connsiteY4" fmla="*/ 518130 h 527140"/>
                <a:gd name="connsiteX5" fmla="*/ 306642 w 353347"/>
                <a:gd name="connsiteY5" fmla="*/ 409985 h 527140"/>
                <a:gd name="connsiteX6" fmla="*/ 243408 w 353347"/>
                <a:gd name="connsiteY6" fmla="*/ 346680 h 527140"/>
                <a:gd name="connsiteX7" fmla="*/ 346163 w 353347"/>
                <a:gd name="connsiteY7" fmla="*/ 59171 h 527140"/>
                <a:gd name="connsiteX8" fmla="*/ 347041 w 353347"/>
                <a:gd name="connsiteY8" fmla="*/ 59171 h 52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347" h="527140">
                  <a:moveTo>
                    <a:pt x="347041" y="59171"/>
                  </a:moveTo>
                  <a:cubicBezTo>
                    <a:pt x="306642" y="-15563"/>
                    <a:pt x="172271" y="-17322"/>
                    <a:pt x="124846" y="41587"/>
                  </a:cubicBezTo>
                  <a:cubicBezTo>
                    <a:pt x="77421" y="100495"/>
                    <a:pt x="-10404" y="242052"/>
                    <a:pt x="1013" y="360748"/>
                  </a:cubicBezTo>
                  <a:cubicBezTo>
                    <a:pt x="12431" y="479444"/>
                    <a:pt x="195983" y="474168"/>
                    <a:pt x="195983" y="474168"/>
                  </a:cubicBezTo>
                  <a:cubicBezTo>
                    <a:pt x="195983" y="474168"/>
                    <a:pt x="294346" y="553299"/>
                    <a:pt x="318937" y="518130"/>
                  </a:cubicBezTo>
                  <a:cubicBezTo>
                    <a:pt x="341772" y="486478"/>
                    <a:pt x="336502" y="450429"/>
                    <a:pt x="306642" y="409985"/>
                  </a:cubicBezTo>
                  <a:cubicBezTo>
                    <a:pt x="282929" y="377453"/>
                    <a:pt x="243408" y="346680"/>
                    <a:pt x="243408" y="346680"/>
                  </a:cubicBezTo>
                  <a:cubicBezTo>
                    <a:pt x="243408" y="346680"/>
                    <a:pt x="386562" y="133906"/>
                    <a:pt x="346163" y="59171"/>
                  </a:cubicBezTo>
                  <a:lnTo>
                    <a:pt x="347041" y="59171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BFACC9B8-4AEC-FE0D-7A65-C5EC106AA8C9}"/>
                </a:ext>
              </a:extLst>
            </p:cNvPr>
            <p:cNvSpPr/>
            <p:nvPr/>
          </p:nvSpPr>
          <p:spPr>
            <a:xfrm>
              <a:off x="-11149211" y="3460640"/>
              <a:ext cx="378522" cy="220686"/>
            </a:xfrm>
            <a:custGeom>
              <a:avLst/>
              <a:gdLst>
                <a:gd name="connsiteX0" fmla="*/ 0 w 378522"/>
                <a:gd name="connsiteY0" fmla="*/ 0 h 220686"/>
                <a:gd name="connsiteX1" fmla="*/ 361836 w 378522"/>
                <a:gd name="connsiteY1" fmla="*/ 34290 h 220686"/>
                <a:gd name="connsiteX2" fmla="*/ 378523 w 378522"/>
                <a:gd name="connsiteY2" fmla="*/ 119575 h 220686"/>
                <a:gd name="connsiteX3" fmla="*/ 82555 w 378522"/>
                <a:gd name="connsiteY3" fmla="*/ 220687 h 22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522" h="220686">
                  <a:moveTo>
                    <a:pt x="0" y="0"/>
                  </a:moveTo>
                  <a:lnTo>
                    <a:pt x="361836" y="34290"/>
                  </a:lnTo>
                  <a:lnTo>
                    <a:pt x="378523" y="119575"/>
                  </a:lnTo>
                  <a:cubicBezTo>
                    <a:pt x="378523" y="119575"/>
                    <a:pt x="201996" y="198706"/>
                    <a:pt x="82555" y="220687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133240B8-6998-955C-40C4-8E953C72EFA9}"/>
                </a:ext>
              </a:extLst>
            </p:cNvPr>
            <p:cNvSpPr/>
            <p:nvPr/>
          </p:nvSpPr>
          <p:spPr>
            <a:xfrm>
              <a:off x="-13480067" y="1704817"/>
              <a:ext cx="8782" cy="8792"/>
            </a:xfrm>
            <a:custGeom>
              <a:avLst/>
              <a:gdLst/>
              <a:ahLst/>
              <a:cxnLst/>
              <a:rect l="l" t="t" r="r" b="b"/>
              <a:pathLst>
                <a:path w="8782" h="8792"/>
              </a:pathLst>
            </a:custGeom>
            <a:solidFill>
              <a:srgbClr val="DD9C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B7472EB4-D3F6-58AD-C7BB-8933D5DCA74D}"/>
                </a:ext>
              </a:extLst>
            </p:cNvPr>
            <p:cNvSpPr/>
            <p:nvPr/>
          </p:nvSpPr>
          <p:spPr>
            <a:xfrm>
              <a:off x="-10950752" y="2817590"/>
              <a:ext cx="263053" cy="235087"/>
            </a:xfrm>
            <a:custGeom>
              <a:avLst/>
              <a:gdLst>
                <a:gd name="connsiteX0" fmla="*/ 39545 w 263053"/>
                <a:gd name="connsiteY0" fmla="*/ 235087 h 235087"/>
                <a:gd name="connsiteX1" fmla="*/ 24 w 263053"/>
                <a:gd name="connsiteY1" fmla="*/ 133096 h 235087"/>
                <a:gd name="connsiteX2" fmla="*/ 91361 w 263053"/>
                <a:gd name="connsiteY2" fmla="*/ 2091 h 235087"/>
                <a:gd name="connsiteX3" fmla="*/ 259984 w 263053"/>
                <a:gd name="connsiteY3" fmla="*/ 51328 h 235087"/>
                <a:gd name="connsiteX4" fmla="*/ 189725 w 263053"/>
                <a:gd name="connsiteY4" fmla="*/ 82980 h 235087"/>
                <a:gd name="connsiteX5" fmla="*/ 173916 w 263053"/>
                <a:gd name="connsiteY5" fmla="*/ 125183 h 235087"/>
                <a:gd name="connsiteX6" fmla="*/ 144056 w 263053"/>
                <a:gd name="connsiteY6" fmla="*/ 148043 h 235087"/>
                <a:gd name="connsiteX7" fmla="*/ 122978 w 263053"/>
                <a:gd name="connsiteY7" fmla="*/ 107599 h 235087"/>
                <a:gd name="connsiteX8" fmla="*/ 124735 w 263053"/>
                <a:gd name="connsiteY8" fmla="*/ 172662 h 235087"/>
                <a:gd name="connsiteX9" fmla="*/ 82579 w 263053"/>
                <a:gd name="connsiteY9" fmla="*/ 228053 h 235087"/>
                <a:gd name="connsiteX10" fmla="*/ 37789 w 263053"/>
                <a:gd name="connsiteY10" fmla="*/ 232449 h 235087"/>
                <a:gd name="connsiteX11" fmla="*/ 39545 w 263053"/>
                <a:gd name="connsiteY11" fmla="*/ 235087 h 23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3053" h="235087">
                  <a:moveTo>
                    <a:pt x="39545" y="235087"/>
                  </a:moveTo>
                  <a:cubicBezTo>
                    <a:pt x="39545" y="235087"/>
                    <a:pt x="1781" y="184092"/>
                    <a:pt x="24" y="133096"/>
                  </a:cubicBezTo>
                  <a:cubicBezTo>
                    <a:pt x="-854" y="82101"/>
                    <a:pt x="21980" y="13521"/>
                    <a:pt x="91361" y="2091"/>
                  </a:cubicBezTo>
                  <a:cubicBezTo>
                    <a:pt x="91361" y="2091"/>
                    <a:pt x="226611" y="-15494"/>
                    <a:pt x="259984" y="51328"/>
                  </a:cubicBezTo>
                  <a:cubicBezTo>
                    <a:pt x="276671" y="86497"/>
                    <a:pt x="221341" y="61879"/>
                    <a:pt x="189725" y="82980"/>
                  </a:cubicBezTo>
                  <a:cubicBezTo>
                    <a:pt x="172160" y="95289"/>
                    <a:pt x="173916" y="117270"/>
                    <a:pt x="173916" y="125183"/>
                  </a:cubicBezTo>
                  <a:cubicBezTo>
                    <a:pt x="173916" y="146285"/>
                    <a:pt x="158108" y="159473"/>
                    <a:pt x="144056" y="148043"/>
                  </a:cubicBezTo>
                  <a:cubicBezTo>
                    <a:pt x="137030" y="141889"/>
                    <a:pt x="155473" y="119908"/>
                    <a:pt x="122978" y="107599"/>
                  </a:cubicBezTo>
                  <a:cubicBezTo>
                    <a:pt x="81701" y="100565"/>
                    <a:pt x="90483" y="162990"/>
                    <a:pt x="124735" y="172662"/>
                  </a:cubicBezTo>
                  <a:cubicBezTo>
                    <a:pt x="104535" y="183212"/>
                    <a:pt x="105413" y="227174"/>
                    <a:pt x="82579" y="228053"/>
                  </a:cubicBezTo>
                  <a:lnTo>
                    <a:pt x="37789" y="232449"/>
                  </a:lnTo>
                  <a:lnTo>
                    <a:pt x="39545" y="235087"/>
                  </a:lnTo>
                  <a:close/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0F92708F-5FFB-47D0-D03A-458DE49B6A73}"/>
                </a:ext>
              </a:extLst>
            </p:cNvPr>
            <p:cNvSpPr/>
            <p:nvPr/>
          </p:nvSpPr>
          <p:spPr>
            <a:xfrm>
              <a:off x="-11051904" y="2954985"/>
              <a:ext cx="132793" cy="93781"/>
            </a:xfrm>
            <a:custGeom>
              <a:avLst/>
              <a:gdLst>
                <a:gd name="connsiteX0" fmla="*/ 122254 w 132793"/>
                <a:gd name="connsiteY0" fmla="*/ 10648 h 93781"/>
                <a:gd name="connsiteX1" fmla="*/ 39699 w 132793"/>
                <a:gd name="connsiteY1" fmla="*/ 22957 h 93781"/>
                <a:gd name="connsiteX2" fmla="*/ 13352 w 132793"/>
                <a:gd name="connsiteY2" fmla="*/ 73074 h 93781"/>
                <a:gd name="connsiteX3" fmla="*/ 44091 w 132793"/>
                <a:gd name="connsiteY3" fmla="*/ 91537 h 93781"/>
                <a:gd name="connsiteX4" fmla="*/ 132793 w 132793"/>
                <a:gd name="connsiteY4" fmla="*/ 37904 h 9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793" h="93781">
                  <a:moveTo>
                    <a:pt x="122254" y="10648"/>
                  </a:moveTo>
                  <a:cubicBezTo>
                    <a:pt x="122254" y="10648"/>
                    <a:pt x="49360" y="-20125"/>
                    <a:pt x="39699" y="22957"/>
                  </a:cubicBezTo>
                  <a:cubicBezTo>
                    <a:pt x="30039" y="66040"/>
                    <a:pt x="29160" y="65161"/>
                    <a:pt x="13352" y="73074"/>
                  </a:cubicBezTo>
                  <a:cubicBezTo>
                    <a:pt x="-2456" y="80987"/>
                    <a:pt x="-15630" y="100330"/>
                    <a:pt x="44091" y="91537"/>
                  </a:cubicBezTo>
                  <a:cubicBezTo>
                    <a:pt x="103811" y="82745"/>
                    <a:pt x="132793" y="37904"/>
                    <a:pt x="132793" y="37904"/>
                  </a:cubicBezTo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CC2B76CC-3E56-6617-02E7-61C95B427743}"/>
                </a:ext>
              </a:extLst>
            </p:cNvPr>
            <p:cNvSpPr/>
            <p:nvPr/>
          </p:nvSpPr>
          <p:spPr>
            <a:xfrm>
              <a:off x="-11003024" y="3268022"/>
              <a:ext cx="361090" cy="247097"/>
            </a:xfrm>
            <a:custGeom>
              <a:avLst/>
              <a:gdLst>
                <a:gd name="connsiteX0" fmla="*/ 256048 w 361090"/>
                <a:gd name="connsiteY0" fmla="*/ 231304 h 247097"/>
                <a:gd name="connsiteX1" fmla="*/ 296447 w 361090"/>
                <a:gd name="connsiteY1" fmla="*/ 246251 h 247097"/>
                <a:gd name="connsiteX2" fmla="*/ 321916 w 361090"/>
                <a:gd name="connsiteY2" fmla="*/ 230425 h 247097"/>
                <a:gd name="connsiteX3" fmla="*/ 287665 w 361090"/>
                <a:gd name="connsiteY3" fmla="*/ 224270 h 247097"/>
                <a:gd name="connsiteX4" fmla="*/ 312256 w 361090"/>
                <a:gd name="connsiteY4" fmla="*/ 231304 h 247097"/>
                <a:gd name="connsiteX5" fmla="*/ 335090 w 361090"/>
                <a:gd name="connsiteY5" fmla="*/ 208444 h 247097"/>
                <a:gd name="connsiteX6" fmla="*/ 295569 w 361090"/>
                <a:gd name="connsiteY6" fmla="*/ 205807 h 247097"/>
                <a:gd name="connsiteX7" fmla="*/ 343873 w 361090"/>
                <a:gd name="connsiteY7" fmla="*/ 205807 h 247097"/>
                <a:gd name="connsiteX8" fmla="*/ 346507 w 361090"/>
                <a:gd name="connsiteY8" fmla="*/ 188222 h 247097"/>
                <a:gd name="connsiteX9" fmla="*/ 309621 w 361090"/>
                <a:gd name="connsiteY9" fmla="*/ 188222 h 247097"/>
                <a:gd name="connsiteX10" fmla="*/ 337725 w 361090"/>
                <a:gd name="connsiteY10" fmla="*/ 190860 h 247097"/>
                <a:gd name="connsiteX11" fmla="*/ 357046 w 361090"/>
                <a:gd name="connsiteY11" fmla="*/ 169758 h 247097"/>
                <a:gd name="connsiteX12" fmla="*/ 314890 w 361090"/>
                <a:gd name="connsiteY12" fmla="*/ 166241 h 247097"/>
                <a:gd name="connsiteX13" fmla="*/ 298204 w 361090"/>
                <a:gd name="connsiteY13" fmla="*/ 154811 h 247097"/>
                <a:gd name="connsiteX14" fmla="*/ 335968 w 361090"/>
                <a:gd name="connsiteY14" fmla="*/ 130193 h 247097"/>
                <a:gd name="connsiteX15" fmla="*/ 290300 w 361090"/>
                <a:gd name="connsiteY15" fmla="*/ 132830 h 247097"/>
                <a:gd name="connsiteX16" fmla="*/ 221797 w 361090"/>
                <a:gd name="connsiteY16" fmla="*/ 143381 h 247097"/>
                <a:gd name="connsiteX17" fmla="*/ 117286 w 361090"/>
                <a:gd name="connsiteY17" fmla="*/ 52821 h 247097"/>
                <a:gd name="connsiteX18" fmla="*/ 1358 w 361090"/>
                <a:gd name="connsiteY18" fmla="*/ 1825 h 247097"/>
                <a:gd name="connsiteX19" fmla="*/ 31218 w 361090"/>
                <a:gd name="connsiteY19" fmla="*/ 117004 h 247097"/>
                <a:gd name="connsiteX20" fmla="*/ 205110 w 361090"/>
                <a:gd name="connsiteY20" fmla="*/ 197894 h 247097"/>
                <a:gd name="connsiteX21" fmla="*/ 257805 w 361090"/>
                <a:gd name="connsiteY21" fmla="*/ 233942 h 247097"/>
                <a:gd name="connsiteX22" fmla="*/ 256048 w 361090"/>
                <a:gd name="connsiteY22" fmla="*/ 231304 h 24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090" h="247097">
                  <a:moveTo>
                    <a:pt x="256048" y="231304"/>
                  </a:moveTo>
                  <a:cubicBezTo>
                    <a:pt x="277126" y="242734"/>
                    <a:pt x="288543" y="244493"/>
                    <a:pt x="296447" y="246251"/>
                  </a:cubicBezTo>
                  <a:cubicBezTo>
                    <a:pt x="314890" y="251527"/>
                    <a:pt x="323673" y="230425"/>
                    <a:pt x="321916" y="230425"/>
                  </a:cubicBezTo>
                  <a:cubicBezTo>
                    <a:pt x="302595" y="233063"/>
                    <a:pt x="287665" y="224270"/>
                    <a:pt x="287665" y="224270"/>
                  </a:cubicBezTo>
                  <a:cubicBezTo>
                    <a:pt x="287665" y="224270"/>
                    <a:pt x="296447" y="230425"/>
                    <a:pt x="312256" y="231304"/>
                  </a:cubicBezTo>
                  <a:cubicBezTo>
                    <a:pt x="331577" y="233942"/>
                    <a:pt x="350020" y="216357"/>
                    <a:pt x="335090" y="208444"/>
                  </a:cubicBezTo>
                  <a:cubicBezTo>
                    <a:pt x="315769" y="211082"/>
                    <a:pt x="295569" y="205807"/>
                    <a:pt x="295569" y="205807"/>
                  </a:cubicBezTo>
                  <a:cubicBezTo>
                    <a:pt x="295569" y="205807"/>
                    <a:pt x="330699" y="214599"/>
                    <a:pt x="343873" y="205807"/>
                  </a:cubicBezTo>
                  <a:cubicBezTo>
                    <a:pt x="356168" y="196135"/>
                    <a:pt x="350898" y="186464"/>
                    <a:pt x="346507" y="188222"/>
                  </a:cubicBezTo>
                  <a:cubicBezTo>
                    <a:pt x="342116" y="189980"/>
                    <a:pt x="327186" y="196135"/>
                    <a:pt x="309621" y="188222"/>
                  </a:cubicBezTo>
                  <a:cubicBezTo>
                    <a:pt x="309621" y="188222"/>
                    <a:pt x="324551" y="192618"/>
                    <a:pt x="337725" y="190860"/>
                  </a:cubicBezTo>
                  <a:cubicBezTo>
                    <a:pt x="350898" y="189101"/>
                    <a:pt x="369342" y="175913"/>
                    <a:pt x="357046" y="169758"/>
                  </a:cubicBezTo>
                  <a:cubicBezTo>
                    <a:pt x="344751" y="163603"/>
                    <a:pt x="327186" y="172396"/>
                    <a:pt x="314890" y="166241"/>
                  </a:cubicBezTo>
                  <a:cubicBezTo>
                    <a:pt x="313134" y="165362"/>
                    <a:pt x="302595" y="158328"/>
                    <a:pt x="298204" y="154811"/>
                  </a:cubicBezTo>
                  <a:cubicBezTo>
                    <a:pt x="298204" y="152174"/>
                    <a:pt x="333334" y="145140"/>
                    <a:pt x="335968" y="130193"/>
                  </a:cubicBezTo>
                  <a:cubicBezTo>
                    <a:pt x="338603" y="115246"/>
                    <a:pt x="294691" y="132830"/>
                    <a:pt x="290300" y="132830"/>
                  </a:cubicBezTo>
                  <a:cubicBezTo>
                    <a:pt x="279761" y="133710"/>
                    <a:pt x="221797" y="143381"/>
                    <a:pt x="221797" y="143381"/>
                  </a:cubicBezTo>
                  <a:cubicBezTo>
                    <a:pt x="221797" y="143381"/>
                    <a:pt x="121677" y="45787"/>
                    <a:pt x="117286" y="52821"/>
                  </a:cubicBezTo>
                  <a:cubicBezTo>
                    <a:pt x="112895" y="59854"/>
                    <a:pt x="-14451" y="-12243"/>
                    <a:pt x="1358" y="1825"/>
                  </a:cubicBezTo>
                  <a:cubicBezTo>
                    <a:pt x="17166" y="15893"/>
                    <a:pt x="-13572" y="94144"/>
                    <a:pt x="31218" y="117004"/>
                  </a:cubicBezTo>
                  <a:cubicBezTo>
                    <a:pt x="76009" y="139864"/>
                    <a:pt x="206867" y="195256"/>
                    <a:pt x="205110" y="197894"/>
                  </a:cubicBezTo>
                  <a:cubicBezTo>
                    <a:pt x="205110" y="197894"/>
                    <a:pt x="236727" y="222512"/>
                    <a:pt x="257805" y="233942"/>
                  </a:cubicBezTo>
                  <a:lnTo>
                    <a:pt x="256048" y="231304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EA7EDAA0-661F-D28F-F125-1EF20195A1F7}"/>
                </a:ext>
              </a:extLst>
            </p:cNvPr>
            <p:cNvSpPr/>
            <p:nvPr/>
          </p:nvSpPr>
          <p:spPr>
            <a:xfrm>
              <a:off x="-11006568" y="3174890"/>
              <a:ext cx="157715" cy="150238"/>
            </a:xfrm>
            <a:custGeom>
              <a:avLst/>
              <a:gdLst>
                <a:gd name="connsiteX0" fmla="*/ 157716 w 157715"/>
                <a:gd name="connsiteY0" fmla="*/ 29894 h 150238"/>
                <a:gd name="connsiteX1" fmla="*/ 134003 w 157715"/>
                <a:gd name="connsiteY1" fmla="*/ 126609 h 150238"/>
                <a:gd name="connsiteX2" fmla="*/ 1389 w 157715"/>
                <a:gd name="connsiteY2" fmla="*/ 123092 h 150238"/>
                <a:gd name="connsiteX3" fmla="*/ 35640 w 157715"/>
                <a:gd name="connsiteY3" fmla="*/ 0 h 15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715" h="150238">
                  <a:moveTo>
                    <a:pt x="157716" y="29894"/>
                  </a:moveTo>
                  <a:cubicBezTo>
                    <a:pt x="157716" y="29894"/>
                    <a:pt x="149812" y="96715"/>
                    <a:pt x="134003" y="126609"/>
                  </a:cubicBezTo>
                  <a:cubicBezTo>
                    <a:pt x="116438" y="167054"/>
                    <a:pt x="22467" y="148590"/>
                    <a:pt x="1389" y="123092"/>
                  </a:cubicBezTo>
                  <a:cubicBezTo>
                    <a:pt x="-8272" y="57150"/>
                    <a:pt x="35640" y="0"/>
                    <a:pt x="35640" y="0"/>
                  </a:cubicBezTo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5" name="Graphic 6">
            <a:extLst>
              <a:ext uri="{FF2B5EF4-FFF2-40B4-BE49-F238E27FC236}">
                <a16:creationId xmlns:a16="http://schemas.microsoft.com/office/drawing/2014/main" id="{C20F609D-EB3C-55D3-A12E-E07FE7417985}"/>
              </a:ext>
            </a:extLst>
          </p:cNvPr>
          <p:cNvGrpSpPr/>
          <p:nvPr/>
        </p:nvGrpSpPr>
        <p:grpSpPr>
          <a:xfrm>
            <a:off x="-10159651" y="3689492"/>
            <a:ext cx="1772053" cy="2111660"/>
            <a:chOff x="-10159651" y="3689492"/>
            <a:chExt cx="1772053" cy="2111660"/>
          </a:xfrm>
        </p:grpSpPr>
        <p:grpSp>
          <p:nvGrpSpPr>
            <p:cNvPr id="116" name="Graphic 6">
              <a:extLst>
                <a:ext uri="{FF2B5EF4-FFF2-40B4-BE49-F238E27FC236}">
                  <a16:creationId xmlns:a16="http://schemas.microsoft.com/office/drawing/2014/main" id="{B65F25C4-09B2-4716-0AA3-B9593F61BCA2}"/>
                </a:ext>
              </a:extLst>
            </p:cNvPr>
            <p:cNvGrpSpPr/>
            <p:nvPr/>
          </p:nvGrpSpPr>
          <p:grpSpPr>
            <a:xfrm>
              <a:off x="-10145379" y="3689492"/>
              <a:ext cx="1583761" cy="2111660"/>
              <a:chOff x="-10145379" y="3689492"/>
              <a:chExt cx="1583761" cy="2111660"/>
            </a:xfrm>
          </p:grpSpPr>
          <p:sp>
            <p:nvSpPr>
              <p:cNvPr id="117" name="Freeform 116">
                <a:extLst>
                  <a:ext uri="{FF2B5EF4-FFF2-40B4-BE49-F238E27FC236}">
                    <a16:creationId xmlns:a16="http://schemas.microsoft.com/office/drawing/2014/main" id="{AF22DE33-13CC-B6F0-E65A-361A5BE05DDF}"/>
                  </a:ext>
                </a:extLst>
              </p:cNvPr>
              <p:cNvSpPr/>
              <p:nvPr/>
            </p:nvSpPr>
            <p:spPr>
              <a:xfrm>
                <a:off x="-9701867" y="5162831"/>
                <a:ext cx="224829" cy="623972"/>
              </a:xfrm>
              <a:custGeom>
                <a:avLst/>
                <a:gdLst>
                  <a:gd name="connsiteX0" fmla="*/ 103633 w 224829"/>
                  <a:gd name="connsiteY0" fmla="*/ 612824 h 623972"/>
                  <a:gd name="connsiteX1" fmla="*/ 90459 w 224829"/>
                  <a:gd name="connsiteY1" fmla="*/ 563587 h 623972"/>
                  <a:gd name="connsiteX2" fmla="*/ 96607 w 224829"/>
                  <a:gd name="connsiteY2" fmla="*/ 496765 h 623972"/>
                  <a:gd name="connsiteX3" fmla="*/ 28104 w 224829"/>
                  <a:gd name="connsiteY3" fmla="*/ 125730 h 623972"/>
                  <a:gd name="connsiteX4" fmla="*/ 0 w 224829"/>
                  <a:gd name="connsiteY4" fmla="*/ 4396 h 623972"/>
                  <a:gd name="connsiteX5" fmla="*/ 180040 w 224829"/>
                  <a:gd name="connsiteY5" fmla="*/ 0 h 623972"/>
                  <a:gd name="connsiteX6" fmla="*/ 185309 w 224829"/>
                  <a:gd name="connsiteY6" fmla="*/ 118696 h 623972"/>
                  <a:gd name="connsiteX7" fmla="*/ 194970 w 224829"/>
                  <a:gd name="connsiteY7" fmla="*/ 517867 h 623972"/>
                  <a:gd name="connsiteX8" fmla="*/ 224830 w 224829"/>
                  <a:gd name="connsiteY8" fmla="*/ 556553 h 623972"/>
                  <a:gd name="connsiteX9" fmla="*/ 103633 w 224829"/>
                  <a:gd name="connsiteY9" fmla="*/ 612824 h 623972"/>
                  <a:gd name="connsiteX10" fmla="*/ 103633 w 224829"/>
                  <a:gd name="connsiteY10" fmla="*/ 612824 h 6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4829" h="623972">
                    <a:moveTo>
                      <a:pt x="103633" y="612824"/>
                    </a:moveTo>
                    <a:cubicBezTo>
                      <a:pt x="103633" y="612824"/>
                      <a:pt x="83433" y="589964"/>
                      <a:pt x="90459" y="563587"/>
                    </a:cubicBezTo>
                    <a:cubicBezTo>
                      <a:pt x="97485" y="537210"/>
                      <a:pt x="108024" y="528418"/>
                      <a:pt x="96607" y="496765"/>
                    </a:cubicBezTo>
                    <a:cubicBezTo>
                      <a:pt x="96607" y="496765"/>
                      <a:pt x="10539" y="196069"/>
                      <a:pt x="28104" y="125730"/>
                    </a:cubicBezTo>
                    <a:cubicBezTo>
                      <a:pt x="18443" y="85285"/>
                      <a:pt x="0" y="4396"/>
                      <a:pt x="0" y="4396"/>
                    </a:cubicBezTo>
                    <a:lnTo>
                      <a:pt x="180040" y="0"/>
                    </a:lnTo>
                    <a:lnTo>
                      <a:pt x="185309" y="118696"/>
                    </a:lnTo>
                    <a:lnTo>
                      <a:pt x="194970" y="517867"/>
                    </a:lnTo>
                    <a:lnTo>
                      <a:pt x="224830" y="556553"/>
                    </a:lnTo>
                    <a:cubicBezTo>
                      <a:pt x="224830" y="556553"/>
                      <a:pt x="134371" y="656785"/>
                      <a:pt x="103633" y="612824"/>
                    </a:cubicBezTo>
                    <a:lnTo>
                      <a:pt x="103633" y="612824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eform 117">
                <a:extLst>
                  <a:ext uri="{FF2B5EF4-FFF2-40B4-BE49-F238E27FC236}">
                    <a16:creationId xmlns:a16="http://schemas.microsoft.com/office/drawing/2014/main" id="{260B7E18-1F9E-1C84-0C9B-F3488A3F334B}"/>
                  </a:ext>
                </a:extLst>
              </p:cNvPr>
              <p:cNvSpPr/>
              <p:nvPr/>
            </p:nvSpPr>
            <p:spPr>
              <a:xfrm>
                <a:off x="-9620519" y="5684214"/>
                <a:ext cx="289335" cy="116937"/>
              </a:xfrm>
              <a:custGeom>
                <a:avLst/>
                <a:gdLst>
                  <a:gd name="connsiteX0" fmla="*/ 276096 w 289335"/>
                  <a:gd name="connsiteY0" fmla="*/ 61546 h 116937"/>
                  <a:gd name="connsiteX1" fmla="*/ 129430 w 289335"/>
                  <a:gd name="connsiteY1" fmla="*/ 0 h 116937"/>
                  <a:gd name="connsiteX2" fmla="*/ 99569 w 289335"/>
                  <a:gd name="connsiteY2" fmla="*/ 76493 h 116937"/>
                  <a:gd name="connsiteX3" fmla="*/ 328 w 289335"/>
                  <a:gd name="connsiteY3" fmla="*/ 76493 h 116937"/>
                  <a:gd name="connsiteX4" fmla="*/ 7354 w 289335"/>
                  <a:gd name="connsiteY4" fmla="*/ 114300 h 116937"/>
                  <a:gd name="connsiteX5" fmla="*/ 264679 w 289335"/>
                  <a:gd name="connsiteY5" fmla="*/ 116938 h 116937"/>
                  <a:gd name="connsiteX6" fmla="*/ 276096 w 289335"/>
                  <a:gd name="connsiteY6" fmla="*/ 60667 h 116937"/>
                  <a:gd name="connsiteX7" fmla="*/ 276096 w 289335"/>
                  <a:gd name="connsiteY7" fmla="*/ 60667 h 116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9335" h="116937">
                    <a:moveTo>
                      <a:pt x="276096" y="61546"/>
                    </a:moveTo>
                    <a:cubicBezTo>
                      <a:pt x="246236" y="36049"/>
                      <a:pt x="129430" y="0"/>
                      <a:pt x="129430" y="0"/>
                    </a:cubicBezTo>
                    <a:cubicBezTo>
                      <a:pt x="129430" y="0"/>
                      <a:pt x="125039" y="72097"/>
                      <a:pt x="99569" y="76493"/>
                    </a:cubicBezTo>
                    <a:cubicBezTo>
                      <a:pt x="74101" y="80889"/>
                      <a:pt x="328" y="76493"/>
                      <a:pt x="328" y="76493"/>
                    </a:cubicBezTo>
                    <a:cubicBezTo>
                      <a:pt x="328" y="76493"/>
                      <a:pt x="-2306" y="109904"/>
                      <a:pt x="7354" y="114300"/>
                    </a:cubicBezTo>
                    <a:cubicBezTo>
                      <a:pt x="14380" y="116938"/>
                      <a:pt x="249749" y="116938"/>
                      <a:pt x="264679" y="116938"/>
                    </a:cubicBezTo>
                    <a:cubicBezTo>
                      <a:pt x="279609" y="116938"/>
                      <a:pt x="305078" y="86164"/>
                      <a:pt x="276096" y="60667"/>
                    </a:cubicBezTo>
                    <a:lnTo>
                      <a:pt x="276096" y="606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9" name="Graphic 6">
                <a:extLst>
                  <a:ext uri="{FF2B5EF4-FFF2-40B4-BE49-F238E27FC236}">
                    <a16:creationId xmlns:a16="http://schemas.microsoft.com/office/drawing/2014/main" id="{88AC4BE3-4F7D-2CDE-2F2C-49198863B08D}"/>
                  </a:ext>
                </a:extLst>
              </p:cNvPr>
              <p:cNvGrpSpPr/>
              <p:nvPr/>
            </p:nvGrpSpPr>
            <p:grpSpPr>
              <a:xfrm>
                <a:off x="-10000469" y="4565833"/>
                <a:ext cx="972045" cy="1224518"/>
                <a:chOff x="-10000469" y="4565833"/>
                <a:chExt cx="972045" cy="1224518"/>
              </a:xfrm>
            </p:grpSpPr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8F5DF71F-7939-3B3E-EDD0-60D10E080848}"/>
                    </a:ext>
                  </a:extLst>
                </p:cNvPr>
                <p:cNvSpPr/>
                <p:nvPr/>
              </p:nvSpPr>
              <p:spPr>
                <a:xfrm>
                  <a:off x="-9967975" y="5144367"/>
                  <a:ext cx="182674" cy="645984"/>
                </a:xfrm>
                <a:custGeom>
                  <a:avLst/>
                  <a:gdLst>
                    <a:gd name="connsiteX0" fmla="*/ 113293 w 182674"/>
                    <a:gd name="connsiteY0" fmla="*/ 605790 h 645984"/>
                    <a:gd name="connsiteX1" fmla="*/ 106267 w 182674"/>
                    <a:gd name="connsiteY1" fmla="*/ 513471 h 645984"/>
                    <a:gd name="connsiteX2" fmla="*/ 182675 w 182674"/>
                    <a:gd name="connsiteY2" fmla="*/ 7034 h 645984"/>
                    <a:gd name="connsiteX3" fmla="*/ 0 w 182674"/>
                    <a:gd name="connsiteY3" fmla="*/ 0 h 645984"/>
                    <a:gd name="connsiteX4" fmla="*/ 20200 w 182674"/>
                    <a:gd name="connsiteY4" fmla="*/ 512591 h 645984"/>
                    <a:gd name="connsiteX5" fmla="*/ 2635 w 182674"/>
                    <a:gd name="connsiteY5" fmla="*/ 622495 h 645984"/>
                    <a:gd name="connsiteX6" fmla="*/ 113293 w 182674"/>
                    <a:gd name="connsiteY6" fmla="*/ 606669 h 645984"/>
                    <a:gd name="connsiteX7" fmla="*/ 113293 w 182674"/>
                    <a:gd name="connsiteY7" fmla="*/ 606669 h 64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2674" h="645984">
                      <a:moveTo>
                        <a:pt x="113293" y="605790"/>
                      </a:moveTo>
                      <a:cubicBezTo>
                        <a:pt x="113293" y="605790"/>
                        <a:pt x="94850" y="545123"/>
                        <a:pt x="106267" y="513471"/>
                      </a:cubicBezTo>
                      <a:lnTo>
                        <a:pt x="182675" y="7034"/>
                      </a:lnTo>
                      <a:lnTo>
                        <a:pt x="0" y="0"/>
                      </a:lnTo>
                      <a:lnTo>
                        <a:pt x="20200" y="512591"/>
                      </a:lnTo>
                      <a:cubicBezTo>
                        <a:pt x="20200" y="512591"/>
                        <a:pt x="-6148" y="584688"/>
                        <a:pt x="2635" y="622495"/>
                      </a:cubicBezTo>
                      <a:cubicBezTo>
                        <a:pt x="10539" y="660302"/>
                        <a:pt x="83433" y="650631"/>
                        <a:pt x="113293" y="606669"/>
                      </a:cubicBezTo>
                      <a:lnTo>
                        <a:pt x="113293" y="606669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5C5C81AD-70BE-AF4E-D077-161A16A46970}"/>
                    </a:ext>
                  </a:extLst>
                </p:cNvPr>
                <p:cNvSpPr/>
                <p:nvPr/>
              </p:nvSpPr>
              <p:spPr>
                <a:xfrm>
                  <a:off x="-10000469" y="4565833"/>
                  <a:ext cx="499719" cy="602272"/>
                </a:xfrm>
                <a:custGeom>
                  <a:avLst/>
                  <a:gdLst>
                    <a:gd name="connsiteX0" fmla="*/ 233612 w 499719"/>
                    <a:gd name="connsiteY0" fmla="*/ 601394 h 602272"/>
                    <a:gd name="connsiteX1" fmla="*/ 0 w 499719"/>
                    <a:gd name="connsiteY1" fmla="*/ 601394 h 602272"/>
                    <a:gd name="connsiteX2" fmla="*/ 20199 w 499719"/>
                    <a:gd name="connsiteY2" fmla="*/ 135401 h 602272"/>
                    <a:gd name="connsiteX3" fmla="*/ 44790 w 499719"/>
                    <a:gd name="connsiteY3" fmla="*/ 45720 h 602272"/>
                    <a:gd name="connsiteX4" fmla="*/ 388183 w 499719"/>
                    <a:gd name="connsiteY4" fmla="*/ 0 h 602272"/>
                    <a:gd name="connsiteX5" fmla="*/ 449660 w 499719"/>
                    <a:gd name="connsiteY5" fmla="*/ 124851 h 602272"/>
                    <a:gd name="connsiteX6" fmla="*/ 499720 w 499719"/>
                    <a:gd name="connsiteY6" fmla="*/ 596998 h 602272"/>
                    <a:gd name="connsiteX7" fmla="*/ 274890 w 499719"/>
                    <a:gd name="connsiteY7" fmla="*/ 602273 h 602272"/>
                    <a:gd name="connsiteX8" fmla="*/ 259960 w 499719"/>
                    <a:gd name="connsiteY8" fmla="*/ 366639 h 602272"/>
                    <a:gd name="connsiteX9" fmla="*/ 238882 w 499719"/>
                    <a:gd name="connsiteY9" fmla="*/ 371915 h 602272"/>
                    <a:gd name="connsiteX10" fmla="*/ 233612 w 499719"/>
                    <a:gd name="connsiteY10" fmla="*/ 602273 h 602272"/>
                    <a:gd name="connsiteX11" fmla="*/ 233612 w 499719"/>
                    <a:gd name="connsiteY11" fmla="*/ 602273 h 602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99719" h="602272">
                      <a:moveTo>
                        <a:pt x="233612" y="601394"/>
                      </a:moveTo>
                      <a:lnTo>
                        <a:pt x="0" y="601394"/>
                      </a:lnTo>
                      <a:lnTo>
                        <a:pt x="20199" y="135401"/>
                      </a:lnTo>
                      <a:lnTo>
                        <a:pt x="44790" y="45720"/>
                      </a:lnTo>
                      <a:lnTo>
                        <a:pt x="388183" y="0"/>
                      </a:lnTo>
                      <a:lnTo>
                        <a:pt x="449660" y="124851"/>
                      </a:lnTo>
                      <a:cubicBezTo>
                        <a:pt x="462834" y="160020"/>
                        <a:pt x="499720" y="596998"/>
                        <a:pt x="499720" y="596998"/>
                      </a:cubicBezTo>
                      <a:lnTo>
                        <a:pt x="274890" y="602273"/>
                      </a:lnTo>
                      <a:lnTo>
                        <a:pt x="259960" y="366639"/>
                      </a:lnTo>
                      <a:lnTo>
                        <a:pt x="238882" y="371915"/>
                      </a:lnTo>
                      <a:lnTo>
                        <a:pt x="233612" y="602273"/>
                      </a:lnTo>
                      <a:lnTo>
                        <a:pt x="233612" y="60227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2" name="Freeform 121">
                <a:extLst>
                  <a:ext uri="{FF2B5EF4-FFF2-40B4-BE49-F238E27FC236}">
                    <a16:creationId xmlns:a16="http://schemas.microsoft.com/office/drawing/2014/main" id="{EEE1AB20-F874-A315-17E2-6068BE0260A3}"/>
                  </a:ext>
                </a:extLst>
              </p:cNvPr>
              <p:cNvSpPr/>
              <p:nvPr/>
            </p:nvSpPr>
            <p:spPr>
              <a:xfrm>
                <a:off x="-10145379" y="4042691"/>
                <a:ext cx="736845" cy="653268"/>
              </a:xfrm>
              <a:custGeom>
                <a:avLst/>
                <a:gdLst>
                  <a:gd name="connsiteX0" fmla="*/ 95728 w 736845"/>
                  <a:gd name="connsiteY0" fmla="*/ 109025 h 653268"/>
                  <a:gd name="connsiteX1" fmla="*/ 230978 w 736845"/>
                  <a:gd name="connsiteY1" fmla="*/ 19343 h 653268"/>
                  <a:gd name="connsiteX2" fmla="*/ 413652 w 736845"/>
                  <a:gd name="connsiteY2" fmla="*/ 0 h 653268"/>
                  <a:gd name="connsiteX3" fmla="*/ 555049 w 736845"/>
                  <a:gd name="connsiteY3" fmla="*/ 23739 h 653268"/>
                  <a:gd name="connsiteX4" fmla="*/ 663951 w 736845"/>
                  <a:gd name="connsiteY4" fmla="*/ 91440 h 653268"/>
                  <a:gd name="connsiteX5" fmla="*/ 736845 w 736845"/>
                  <a:gd name="connsiteY5" fmla="*/ 383345 h 653268"/>
                  <a:gd name="connsiteX6" fmla="*/ 610379 w 736845"/>
                  <a:gd name="connsiteY6" fmla="*/ 413238 h 653268"/>
                  <a:gd name="connsiteX7" fmla="*/ 613892 w 736845"/>
                  <a:gd name="connsiteY7" fmla="*/ 302455 h 653268"/>
                  <a:gd name="connsiteX8" fmla="*/ 603352 w 736845"/>
                  <a:gd name="connsiteY8" fmla="*/ 648872 h 653268"/>
                  <a:gd name="connsiteX9" fmla="*/ 152814 w 736845"/>
                  <a:gd name="connsiteY9" fmla="*/ 653269 h 653268"/>
                  <a:gd name="connsiteX10" fmla="*/ 172135 w 736845"/>
                  <a:gd name="connsiteY10" fmla="*/ 314765 h 653268"/>
                  <a:gd name="connsiteX11" fmla="*/ 133493 w 736845"/>
                  <a:gd name="connsiteY11" fmla="*/ 414997 h 653268"/>
                  <a:gd name="connsiteX12" fmla="*/ 0 w 736845"/>
                  <a:gd name="connsiteY12" fmla="*/ 327074 h 653268"/>
                  <a:gd name="connsiteX13" fmla="*/ 96607 w 736845"/>
                  <a:gd name="connsiteY13" fmla="*/ 110783 h 653268"/>
                  <a:gd name="connsiteX14" fmla="*/ 96607 w 736845"/>
                  <a:gd name="connsiteY14" fmla="*/ 109025 h 653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36845" h="653268">
                    <a:moveTo>
                      <a:pt x="95728" y="109025"/>
                    </a:moveTo>
                    <a:cubicBezTo>
                      <a:pt x="137006" y="36049"/>
                      <a:pt x="230978" y="19343"/>
                      <a:pt x="230978" y="19343"/>
                    </a:cubicBezTo>
                    <a:cubicBezTo>
                      <a:pt x="230978" y="19343"/>
                      <a:pt x="310898" y="2638"/>
                      <a:pt x="413652" y="0"/>
                    </a:cubicBezTo>
                    <a:cubicBezTo>
                      <a:pt x="518163" y="4396"/>
                      <a:pt x="555049" y="23739"/>
                      <a:pt x="555049" y="23739"/>
                    </a:cubicBezTo>
                    <a:cubicBezTo>
                      <a:pt x="598083" y="38686"/>
                      <a:pt x="645508" y="63305"/>
                      <a:pt x="663951" y="91440"/>
                    </a:cubicBezTo>
                    <a:cubicBezTo>
                      <a:pt x="685029" y="122213"/>
                      <a:pt x="716646" y="252339"/>
                      <a:pt x="736845" y="383345"/>
                    </a:cubicBezTo>
                    <a:lnTo>
                      <a:pt x="610379" y="413238"/>
                    </a:lnTo>
                    <a:lnTo>
                      <a:pt x="613892" y="302455"/>
                    </a:lnTo>
                    <a:lnTo>
                      <a:pt x="603352" y="648872"/>
                    </a:lnTo>
                    <a:lnTo>
                      <a:pt x="152814" y="653269"/>
                    </a:lnTo>
                    <a:cubicBezTo>
                      <a:pt x="152814" y="653269"/>
                      <a:pt x="170379" y="452804"/>
                      <a:pt x="172135" y="314765"/>
                    </a:cubicBezTo>
                    <a:lnTo>
                      <a:pt x="133493" y="414997"/>
                    </a:lnTo>
                    <a:cubicBezTo>
                      <a:pt x="133493" y="414997"/>
                      <a:pt x="36008" y="371915"/>
                      <a:pt x="0" y="327074"/>
                    </a:cubicBezTo>
                    <a:cubicBezTo>
                      <a:pt x="12295" y="284871"/>
                      <a:pt x="55329" y="182880"/>
                      <a:pt x="96607" y="110783"/>
                    </a:cubicBezTo>
                    <a:lnTo>
                      <a:pt x="96607" y="109025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1F680ECB-2612-CFE5-7399-C1EDAE04C65C}"/>
                  </a:ext>
                </a:extLst>
              </p:cNvPr>
              <p:cNvSpPr/>
              <p:nvPr/>
            </p:nvSpPr>
            <p:spPr>
              <a:xfrm>
                <a:off x="-9872246" y="3894980"/>
                <a:ext cx="243273" cy="239150"/>
              </a:xfrm>
              <a:custGeom>
                <a:avLst/>
                <a:gdLst>
                  <a:gd name="connsiteX0" fmla="*/ 0 w 243273"/>
                  <a:gd name="connsiteY0" fmla="*/ 160899 h 239150"/>
                  <a:gd name="connsiteX1" fmla="*/ 58842 w 243273"/>
                  <a:gd name="connsiteY1" fmla="*/ 152107 h 239150"/>
                  <a:gd name="connsiteX2" fmla="*/ 65868 w 243273"/>
                  <a:gd name="connsiteY2" fmla="*/ 0 h 239150"/>
                  <a:gd name="connsiteX3" fmla="*/ 195848 w 243273"/>
                  <a:gd name="connsiteY3" fmla="*/ 43962 h 239150"/>
                  <a:gd name="connsiteX4" fmla="*/ 191457 w 243273"/>
                  <a:gd name="connsiteY4" fmla="*/ 150349 h 239150"/>
                  <a:gd name="connsiteX5" fmla="*/ 243273 w 243273"/>
                  <a:gd name="connsiteY5" fmla="*/ 159141 h 239150"/>
                  <a:gd name="connsiteX6" fmla="*/ 122076 w 243273"/>
                  <a:gd name="connsiteY6" fmla="*/ 239151 h 239150"/>
                  <a:gd name="connsiteX7" fmla="*/ 0 w 243273"/>
                  <a:gd name="connsiteY7" fmla="*/ 160899 h 239150"/>
                  <a:gd name="connsiteX8" fmla="*/ 0 w 243273"/>
                  <a:gd name="connsiteY8" fmla="*/ 160899 h 23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3273" h="239150">
                    <a:moveTo>
                      <a:pt x="0" y="160899"/>
                    </a:moveTo>
                    <a:lnTo>
                      <a:pt x="58842" y="152107"/>
                    </a:lnTo>
                    <a:lnTo>
                      <a:pt x="65868" y="0"/>
                    </a:lnTo>
                    <a:lnTo>
                      <a:pt x="195848" y="43962"/>
                    </a:lnTo>
                    <a:lnTo>
                      <a:pt x="191457" y="150349"/>
                    </a:lnTo>
                    <a:lnTo>
                      <a:pt x="243273" y="159141"/>
                    </a:lnTo>
                    <a:cubicBezTo>
                      <a:pt x="243273" y="159141"/>
                      <a:pt x="218683" y="239151"/>
                      <a:pt x="122076" y="239151"/>
                    </a:cubicBezTo>
                    <a:cubicBezTo>
                      <a:pt x="25469" y="239151"/>
                      <a:pt x="0" y="160899"/>
                      <a:pt x="0" y="160899"/>
                    </a:cubicBezTo>
                    <a:lnTo>
                      <a:pt x="0" y="160899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64EEC14C-2FCD-BD5A-F385-E9EE242D7992}"/>
                  </a:ext>
                </a:extLst>
              </p:cNvPr>
              <p:cNvSpPr/>
              <p:nvPr/>
            </p:nvSpPr>
            <p:spPr>
              <a:xfrm>
                <a:off x="-9812907" y="3743752"/>
                <a:ext cx="230192" cy="262889"/>
              </a:xfrm>
              <a:custGeom>
                <a:avLst/>
                <a:gdLst>
                  <a:gd name="connsiteX0" fmla="*/ 23216 w 230192"/>
                  <a:gd name="connsiteY0" fmla="*/ 196068 h 262889"/>
                  <a:gd name="connsiteX1" fmla="*/ 10042 w 230192"/>
                  <a:gd name="connsiteY1" fmla="*/ 176725 h 262889"/>
                  <a:gd name="connsiteX2" fmla="*/ 8286 w 230192"/>
                  <a:gd name="connsiteY2" fmla="*/ 174088 h 262889"/>
                  <a:gd name="connsiteX3" fmla="*/ 48685 w 230192"/>
                  <a:gd name="connsiteY3" fmla="*/ 116059 h 262889"/>
                  <a:gd name="connsiteX4" fmla="*/ 53955 w 230192"/>
                  <a:gd name="connsiteY4" fmla="*/ 104629 h 262889"/>
                  <a:gd name="connsiteX5" fmla="*/ 73276 w 230192"/>
                  <a:gd name="connsiteY5" fmla="*/ 101991 h 262889"/>
                  <a:gd name="connsiteX6" fmla="*/ 68885 w 230192"/>
                  <a:gd name="connsiteY6" fmla="*/ 88802 h 262889"/>
                  <a:gd name="connsiteX7" fmla="*/ 107527 w 230192"/>
                  <a:gd name="connsiteY7" fmla="*/ 30773 h 262889"/>
                  <a:gd name="connsiteX8" fmla="*/ 159344 w 230192"/>
                  <a:gd name="connsiteY8" fmla="*/ 2638 h 262889"/>
                  <a:gd name="connsiteX9" fmla="*/ 167248 w 230192"/>
                  <a:gd name="connsiteY9" fmla="*/ 0 h 262889"/>
                  <a:gd name="connsiteX10" fmla="*/ 193595 w 230192"/>
                  <a:gd name="connsiteY10" fmla="*/ 74735 h 262889"/>
                  <a:gd name="connsiteX11" fmla="*/ 226090 w 230192"/>
                  <a:gd name="connsiteY11" fmla="*/ 116059 h 262889"/>
                  <a:gd name="connsiteX12" fmla="*/ 220821 w 230192"/>
                  <a:gd name="connsiteY12" fmla="*/ 141556 h 262889"/>
                  <a:gd name="connsiteX13" fmla="*/ 220821 w 230192"/>
                  <a:gd name="connsiteY13" fmla="*/ 171450 h 262889"/>
                  <a:gd name="connsiteX14" fmla="*/ 213795 w 230192"/>
                  <a:gd name="connsiteY14" fmla="*/ 186397 h 262889"/>
                  <a:gd name="connsiteX15" fmla="*/ 219064 w 230192"/>
                  <a:gd name="connsiteY15" fmla="*/ 203102 h 262889"/>
                  <a:gd name="connsiteX16" fmla="*/ 212916 w 230192"/>
                  <a:gd name="connsiteY16" fmla="*/ 245305 h 262889"/>
                  <a:gd name="connsiteX17" fmla="*/ 118945 w 230192"/>
                  <a:gd name="connsiteY17" fmla="*/ 262890 h 262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0192" h="262889">
                    <a:moveTo>
                      <a:pt x="23216" y="196068"/>
                    </a:moveTo>
                    <a:cubicBezTo>
                      <a:pt x="17947" y="190793"/>
                      <a:pt x="13555" y="183759"/>
                      <a:pt x="10042" y="176725"/>
                    </a:cubicBezTo>
                    <a:cubicBezTo>
                      <a:pt x="10042" y="175846"/>
                      <a:pt x="9164" y="174967"/>
                      <a:pt x="8286" y="174088"/>
                    </a:cubicBezTo>
                    <a:cubicBezTo>
                      <a:pt x="-16305" y="119575"/>
                      <a:pt x="18825" y="92319"/>
                      <a:pt x="48685" y="116059"/>
                    </a:cubicBezTo>
                    <a:cubicBezTo>
                      <a:pt x="55711" y="121334"/>
                      <a:pt x="48685" y="94078"/>
                      <a:pt x="53955" y="104629"/>
                    </a:cubicBezTo>
                    <a:cubicBezTo>
                      <a:pt x="62737" y="123972"/>
                      <a:pt x="81180" y="131005"/>
                      <a:pt x="73276" y="101991"/>
                    </a:cubicBezTo>
                    <a:cubicBezTo>
                      <a:pt x="73276" y="99353"/>
                      <a:pt x="71519" y="98474"/>
                      <a:pt x="68885" y="88802"/>
                    </a:cubicBezTo>
                    <a:cubicBezTo>
                      <a:pt x="60102" y="62425"/>
                      <a:pt x="85571" y="36928"/>
                      <a:pt x="107527" y="30773"/>
                    </a:cubicBezTo>
                    <a:cubicBezTo>
                      <a:pt x="138266" y="21981"/>
                      <a:pt x="159344" y="2638"/>
                      <a:pt x="159344" y="2638"/>
                    </a:cubicBezTo>
                    <a:cubicBezTo>
                      <a:pt x="159344" y="2638"/>
                      <a:pt x="166370" y="0"/>
                      <a:pt x="167248" y="0"/>
                    </a:cubicBezTo>
                    <a:cubicBezTo>
                      <a:pt x="172517" y="5275"/>
                      <a:pt x="195351" y="35169"/>
                      <a:pt x="193595" y="74735"/>
                    </a:cubicBezTo>
                    <a:cubicBezTo>
                      <a:pt x="193595" y="84406"/>
                      <a:pt x="219942" y="106387"/>
                      <a:pt x="226090" y="116059"/>
                    </a:cubicBezTo>
                    <a:cubicBezTo>
                      <a:pt x="232238" y="125730"/>
                      <a:pt x="232238" y="133643"/>
                      <a:pt x="220821" y="141556"/>
                    </a:cubicBezTo>
                    <a:cubicBezTo>
                      <a:pt x="206769" y="150349"/>
                      <a:pt x="216429" y="167054"/>
                      <a:pt x="220821" y="171450"/>
                    </a:cubicBezTo>
                    <a:cubicBezTo>
                      <a:pt x="225212" y="176725"/>
                      <a:pt x="209403" y="184638"/>
                      <a:pt x="213795" y="186397"/>
                    </a:cubicBezTo>
                    <a:cubicBezTo>
                      <a:pt x="213795" y="186397"/>
                      <a:pt x="224334" y="195189"/>
                      <a:pt x="219064" y="203102"/>
                    </a:cubicBezTo>
                    <a:cubicBezTo>
                      <a:pt x="213795" y="211015"/>
                      <a:pt x="216429" y="236513"/>
                      <a:pt x="212916" y="245305"/>
                    </a:cubicBezTo>
                    <a:cubicBezTo>
                      <a:pt x="206769" y="262011"/>
                      <a:pt x="142657" y="262011"/>
                      <a:pt x="118945" y="262890"/>
                    </a:cubicBezTo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5BC748F6-1516-123A-55BE-B15B8A68AE27}"/>
                  </a:ext>
                </a:extLst>
              </p:cNvPr>
              <p:cNvSpPr/>
              <p:nvPr/>
            </p:nvSpPr>
            <p:spPr>
              <a:xfrm>
                <a:off x="-9913093" y="3689492"/>
                <a:ext cx="287769" cy="295389"/>
              </a:xfrm>
              <a:custGeom>
                <a:avLst/>
                <a:gdLst>
                  <a:gd name="connsiteX0" fmla="*/ 24160 w 287769"/>
                  <a:gd name="connsiteY0" fmla="*/ 76241 h 295389"/>
                  <a:gd name="connsiteX1" fmla="*/ 61047 w 287769"/>
                  <a:gd name="connsiteY1" fmla="*/ 23487 h 295389"/>
                  <a:gd name="connsiteX2" fmla="*/ 174340 w 287769"/>
                  <a:gd name="connsiteY2" fmla="*/ 627 h 295389"/>
                  <a:gd name="connsiteX3" fmla="*/ 271825 w 287769"/>
                  <a:gd name="connsiteY3" fmla="*/ 67449 h 295389"/>
                  <a:gd name="connsiteX4" fmla="*/ 198931 w 287769"/>
                  <a:gd name="connsiteY4" fmla="*/ 88550 h 295389"/>
                  <a:gd name="connsiteX5" fmla="*/ 175218 w 287769"/>
                  <a:gd name="connsiteY5" fmla="*/ 162406 h 295389"/>
                  <a:gd name="connsiteX6" fmla="*/ 157653 w 287769"/>
                  <a:gd name="connsiteY6" fmla="*/ 185266 h 295389"/>
                  <a:gd name="connsiteX7" fmla="*/ 141845 w 287769"/>
                  <a:gd name="connsiteY7" fmla="*/ 172077 h 295389"/>
                  <a:gd name="connsiteX8" fmla="*/ 108472 w 287769"/>
                  <a:gd name="connsiteY8" fmla="*/ 227469 h 295389"/>
                  <a:gd name="connsiteX9" fmla="*/ 130428 w 287769"/>
                  <a:gd name="connsiteY9" fmla="*/ 250329 h 295389"/>
                  <a:gd name="connsiteX10" fmla="*/ 104959 w 287769"/>
                  <a:gd name="connsiteY10" fmla="*/ 285498 h 295389"/>
                  <a:gd name="connsiteX11" fmla="*/ 83881 w 287769"/>
                  <a:gd name="connsiteY11" fmla="*/ 285498 h 295389"/>
                  <a:gd name="connsiteX12" fmla="*/ 34699 w 287769"/>
                  <a:gd name="connsiteY12" fmla="*/ 221314 h 295389"/>
                  <a:gd name="connsiteX13" fmla="*/ 24160 w 287769"/>
                  <a:gd name="connsiteY13" fmla="*/ 77120 h 295389"/>
                  <a:gd name="connsiteX14" fmla="*/ 24160 w 287769"/>
                  <a:gd name="connsiteY14" fmla="*/ 77120 h 295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7769" h="295389">
                    <a:moveTo>
                      <a:pt x="24160" y="76241"/>
                    </a:moveTo>
                    <a:cubicBezTo>
                      <a:pt x="24160" y="76241"/>
                      <a:pt x="22404" y="46347"/>
                      <a:pt x="61047" y="23487"/>
                    </a:cubicBezTo>
                    <a:cubicBezTo>
                      <a:pt x="99689" y="-252"/>
                      <a:pt x="174340" y="627"/>
                      <a:pt x="174340" y="627"/>
                    </a:cubicBezTo>
                    <a:cubicBezTo>
                      <a:pt x="321006" y="-7286"/>
                      <a:pt x="290268" y="62174"/>
                      <a:pt x="271825" y="67449"/>
                    </a:cubicBezTo>
                    <a:cubicBezTo>
                      <a:pt x="253382" y="71845"/>
                      <a:pt x="229669" y="79758"/>
                      <a:pt x="198931" y="88550"/>
                    </a:cubicBezTo>
                    <a:cubicBezTo>
                      <a:pt x="176974" y="94705"/>
                      <a:pt x="146236" y="116686"/>
                      <a:pt x="175218" y="162406"/>
                    </a:cubicBezTo>
                    <a:cubicBezTo>
                      <a:pt x="204200" y="208126"/>
                      <a:pt x="157653" y="185266"/>
                      <a:pt x="157653" y="185266"/>
                    </a:cubicBezTo>
                    <a:cubicBezTo>
                      <a:pt x="157653" y="185266"/>
                      <a:pt x="146236" y="187024"/>
                      <a:pt x="141845" y="172077"/>
                    </a:cubicBezTo>
                    <a:cubicBezTo>
                      <a:pt x="137454" y="158010"/>
                      <a:pt x="83881" y="154493"/>
                      <a:pt x="108472" y="227469"/>
                    </a:cubicBezTo>
                    <a:cubicBezTo>
                      <a:pt x="115498" y="243295"/>
                      <a:pt x="128671" y="249450"/>
                      <a:pt x="130428" y="250329"/>
                    </a:cubicBezTo>
                    <a:cubicBezTo>
                      <a:pt x="138332" y="252087"/>
                      <a:pt x="108472" y="277585"/>
                      <a:pt x="104959" y="285498"/>
                    </a:cubicBezTo>
                    <a:cubicBezTo>
                      <a:pt x="98811" y="298687"/>
                      <a:pt x="90029" y="298687"/>
                      <a:pt x="83881" y="285498"/>
                    </a:cubicBezTo>
                    <a:cubicBezTo>
                      <a:pt x="78611" y="274068"/>
                      <a:pt x="61925" y="248570"/>
                      <a:pt x="34699" y="221314"/>
                    </a:cubicBezTo>
                    <a:cubicBezTo>
                      <a:pt x="-1309" y="185266"/>
                      <a:pt x="-16239" y="135150"/>
                      <a:pt x="24160" y="77120"/>
                    </a:cubicBezTo>
                    <a:lnTo>
                      <a:pt x="24160" y="7712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5E0365B4-26D7-2FD3-2B8E-7C04281D0678}"/>
                </a:ext>
              </a:extLst>
            </p:cNvPr>
            <p:cNvSpPr/>
            <p:nvPr/>
          </p:nvSpPr>
          <p:spPr>
            <a:xfrm>
              <a:off x="-9624582" y="5681577"/>
              <a:ext cx="160174" cy="74431"/>
            </a:xfrm>
            <a:custGeom>
              <a:avLst/>
              <a:gdLst>
                <a:gd name="connsiteX0" fmla="*/ 10539 w 160174"/>
                <a:gd name="connsiteY0" fmla="*/ 0 h 74431"/>
                <a:gd name="connsiteX1" fmla="*/ 0 w 160174"/>
                <a:gd name="connsiteY1" fmla="*/ 33411 h 74431"/>
                <a:gd name="connsiteX2" fmla="*/ 137884 w 160174"/>
                <a:gd name="connsiteY2" fmla="*/ 73856 h 74431"/>
                <a:gd name="connsiteX3" fmla="*/ 146667 w 160174"/>
                <a:gd name="connsiteY3" fmla="*/ 40445 h 74431"/>
                <a:gd name="connsiteX4" fmla="*/ 10539 w 160174"/>
                <a:gd name="connsiteY4" fmla="*/ 0 h 7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74" h="74431">
                  <a:moveTo>
                    <a:pt x="10539" y="0"/>
                  </a:moveTo>
                  <a:lnTo>
                    <a:pt x="0" y="33411"/>
                  </a:lnTo>
                  <a:cubicBezTo>
                    <a:pt x="0" y="33411"/>
                    <a:pt x="106267" y="67701"/>
                    <a:pt x="137884" y="73856"/>
                  </a:cubicBezTo>
                  <a:cubicBezTo>
                    <a:pt x="162475" y="79131"/>
                    <a:pt x="168623" y="46599"/>
                    <a:pt x="146667" y="40445"/>
                  </a:cubicBezTo>
                  <a:cubicBezTo>
                    <a:pt x="127345" y="35169"/>
                    <a:pt x="10539" y="0"/>
                    <a:pt x="10539" y="0"/>
                  </a:cubicBez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5AA29690-8330-F4E9-364C-73604190C84D}"/>
                </a:ext>
              </a:extLst>
            </p:cNvPr>
            <p:cNvSpPr/>
            <p:nvPr/>
          </p:nvSpPr>
          <p:spPr>
            <a:xfrm>
              <a:off x="-9714724" y="4269532"/>
              <a:ext cx="129662" cy="117936"/>
            </a:xfrm>
            <a:custGeom>
              <a:avLst/>
              <a:gdLst>
                <a:gd name="connsiteX0" fmla="*/ 561 w 129662"/>
                <a:gd name="connsiteY0" fmla="*/ 0 h 117936"/>
                <a:gd name="connsiteX1" fmla="*/ 129663 w 129662"/>
                <a:gd name="connsiteY1" fmla="*/ 4396 h 117936"/>
                <a:gd name="connsiteX2" fmla="*/ 60282 w 129662"/>
                <a:gd name="connsiteY2" fmla="*/ 117817 h 117936"/>
                <a:gd name="connsiteX3" fmla="*/ 561 w 129662"/>
                <a:gd name="connsiteY3" fmla="*/ 0 h 117936"/>
                <a:gd name="connsiteX4" fmla="*/ 561 w 129662"/>
                <a:gd name="connsiteY4" fmla="*/ 0 h 117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62" h="117936">
                  <a:moveTo>
                    <a:pt x="561" y="0"/>
                  </a:moveTo>
                  <a:lnTo>
                    <a:pt x="129663" y="4396"/>
                  </a:lnTo>
                  <a:cubicBezTo>
                    <a:pt x="129663" y="4396"/>
                    <a:pt x="129663" y="122213"/>
                    <a:pt x="60282" y="117817"/>
                  </a:cubicBezTo>
                  <a:cubicBezTo>
                    <a:pt x="-9978" y="113421"/>
                    <a:pt x="561" y="0"/>
                    <a:pt x="561" y="0"/>
                  </a:cubicBezTo>
                  <a:lnTo>
                    <a:pt x="561" y="0"/>
                  </a:lnTo>
                  <a:close/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DF9E5BDD-DC27-268D-6143-23036CAE8007}"/>
                </a:ext>
              </a:extLst>
            </p:cNvPr>
            <p:cNvSpPr/>
            <p:nvPr/>
          </p:nvSpPr>
          <p:spPr>
            <a:xfrm>
              <a:off x="-10009689" y="5676985"/>
              <a:ext cx="164667" cy="122799"/>
            </a:xfrm>
            <a:custGeom>
              <a:avLst/>
              <a:gdLst>
                <a:gd name="connsiteX0" fmla="*/ 164668 w 164667"/>
                <a:gd name="connsiteY0" fmla="*/ 103945 h 122799"/>
                <a:gd name="connsiteX1" fmla="*/ 161155 w 164667"/>
                <a:gd name="connsiteY1" fmla="*/ 52070 h 122799"/>
                <a:gd name="connsiteX2" fmla="*/ 154129 w 164667"/>
                <a:gd name="connsiteY2" fmla="*/ 28331 h 122799"/>
                <a:gd name="connsiteX3" fmla="*/ 135686 w 164667"/>
                <a:gd name="connsiteY3" fmla="*/ 12505 h 122799"/>
                <a:gd name="connsiteX4" fmla="*/ 46983 w 164667"/>
                <a:gd name="connsiteY4" fmla="*/ 12505 h 122799"/>
                <a:gd name="connsiteX5" fmla="*/ 2193 w 164667"/>
                <a:gd name="connsiteY5" fmla="*/ 81085 h 122799"/>
                <a:gd name="connsiteX6" fmla="*/ 14488 w 164667"/>
                <a:gd name="connsiteY6" fmla="*/ 122408 h 122799"/>
                <a:gd name="connsiteX7" fmla="*/ 149738 w 164667"/>
                <a:gd name="connsiteY7" fmla="*/ 122408 h 122799"/>
                <a:gd name="connsiteX8" fmla="*/ 163790 w 164667"/>
                <a:gd name="connsiteY8" fmla="*/ 103065 h 122799"/>
                <a:gd name="connsiteX9" fmla="*/ 164668 w 164667"/>
                <a:gd name="connsiteY9" fmla="*/ 103065 h 12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667" h="122799">
                  <a:moveTo>
                    <a:pt x="164668" y="103945"/>
                  </a:moveTo>
                  <a:lnTo>
                    <a:pt x="161155" y="52070"/>
                  </a:lnTo>
                  <a:lnTo>
                    <a:pt x="154129" y="28331"/>
                  </a:lnTo>
                  <a:cubicBezTo>
                    <a:pt x="151494" y="24814"/>
                    <a:pt x="140955" y="16901"/>
                    <a:pt x="135686" y="12505"/>
                  </a:cubicBezTo>
                  <a:cubicBezTo>
                    <a:pt x="100556" y="-15631"/>
                    <a:pt x="46983" y="12505"/>
                    <a:pt x="46983" y="12505"/>
                  </a:cubicBezTo>
                  <a:cubicBezTo>
                    <a:pt x="32931" y="37123"/>
                    <a:pt x="4828" y="73172"/>
                    <a:pt x="2193" y="81085"/>
                  </a:cubicBezTo>
                  <a:cubicBezTo>
                    <a:pt x="-4833" y="106582"/>
                    <a:pt x="6584" y="121529"/>
                    <a:pt x="14488" y="122408"/>
                  </a:cubicBezTo>
                  <a:cubicBezTo>
                    <a:pt x="22393" y="123288"/>
                    <a:pt x="142712" y="122408"/>
                    <a:pt x="149738" y="122408"/>
                  </a:cubicBezTo>
                  <a:cubicBezTo>
                    <a:pt x="156764" y="122408"/>
                    <a:pt x="164668" y="108341"/>
                    <a:pt x="163790" y="103065"/>
                  </a:cubicBezTo>
                  <a:lnTo>
                    <a:pt x="164668" y="103065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64E8610C-AE91-1849-E966-878EE8A225D4}"/>
                </a:ext>
              </a:extLst>
            </p:cNvPr>
            <p:cNvSpPr/>
            <p:nvPr/>
          </p:nvSpPr>
          <p:spPr>
            <a:xfrm>
              <a:off x="-10159651" y="4379436"/>
              <a:ext cx="328603" cy="513470"/>
            </a:xfrm>
            <a:custGeom>
              <a:avLst/>
              <a:gdLst>
                <a:gd name="connsiteX0" fmla="*/ 218902 w 328603"/>
                <a:gd name="connsiteY0" fmla="*/ 334987 h 513470"/>
                <a:gd name="connsiteX1" fmla="*/ 274231 w 328603"/>
                <a:gd name="connsiteY1" fmla="*/ 357847 h 513470"/>
                <a:gd name="connsiteX2" fmla="*/ 293552 w 328603"/>
                <a:gd name="connsiteY2" fmla="*/ 376311 h 513470"/>
                <a:gd name="connsiteX3" fmla="*/ 325169 w 328603"/>
                <a:gd name="connsiteY3" fmla="*/ 414117 h 513470"/>
                <a:gd name="connsiteX4" fmla="*/ 284770 w 328603"/>
                <a:gd name="connsiteY4" fmla="*/ 412359 h 513470"/>
                <a:gd name="connsiteX5" fmla="*/ 266327 w 328603"/>
                <a:gd name="connsiteY5" fmla="*/ 396533 h 513470"/>
                <a:gd name="connsiteX6" fmla="*/ 275109 w 328603"/>
                <a:gd name="connsiteY6" fmla="*/ 410601 h 513470"/>
                <a:gd name="connsiteX7" fmla="*/ 326047 w 328603"/>
                <a:gd name="connsiteY7" fmla="*/ 461596 h 513470"/>
                <a:gd name="connsiteX8" fmla="*/ 313752 w 328603"/>
                <a:gd name="connsiteY8" fmla="*/ 477422 h 513470"/>
                <a:gd name="connsiteX9" fmla="*/ 260179 w 328603"/>
                <a:gd name="connsiteY9" fmla="*/ 433461 h 513470"/>
                <a:gd name="connsiteX10" fmla="*/ 273353 w 328603"/>
                <a:gd name="connsiteY10" fmla="*/ 448408 h 513470"/>
                <a:gd name="connsiteX11" fmla="*/ 307604 w 328603"/>
                <a:gd name="connsiteY11" fmla="*/ 477422 h 513470"/>
                <a:gd name="connsiteX12" fmla="*/ 307604 w 328603"/>
                <a:gd name="connsiteY12" fmla="*/ 503799 h 513470"/>
                <a:gd name="connsiteX13" fmla="*/ 236466 w 328603"/>
                <a:gd name="connsiteY13" fmla="*/ 442253 h 513470"/>
                <a:gd name="connsiteX14" fmla="*/ 248762 w 328603"/>
                <a:gd name="connsiteY14" fmla="*/ 456321 h 513470"/>
                <a:gd name="connsiteX15" fmla="*/ 283891 w 328603"/>
                <a:gd name="connsiteY15" fmla="*/ 494127 h 513470"/>
                <a:gd name="connsiteX16" fmla="*/ 274231 w 328603"/>
                <a:gd name="connsiteY16" fmla="*/ 513471 h 513470"/>
                <a:gd name="connsiteX17" fmla="*/ 212754 w 328603"/>
                <a:gd name="connsiteY17" fmla="*/ 446649 h 513470"/>
                <a:gd name="connsiteX18" fmla="*/ 247883 w 328603"/>
                <a:gd name="connsiteY18" fmla="*/ 497644 h 513470"/>
                <a:gd name="connsiteX19" fmla="*/ 241736 w 328603"/>
                <a:gd name="connsiteY19" fmla="*/ 511712 h 513470"/>
                <a:gd name="connsiteX20" fmla="*/ 189041 w 328603"/>
                <a:gd name="connsiteY20" fmla="*/ 458079 h 513470"/>
                <a:gd name="connsiteX21" fmla="*/ 160937 w 328603"/>
                <a:gd name="connsiteY21" fmla="*/ 392137 h 513470"/>
                <a:gd name="connsiteX22" fmla="*/ 157425 w 328603"/>
                <a:gd name="connsiteY22" fmla="*/ 370156 h 513470"/>
                <a:gd name="connsiteX23" fmla="*/ 219 w 328603"/>
                <a:gd name="connsiteY23" fmla="*/ 103749 h 513470"/>
                <a:gd name="connsiteX24" fmla="*/ 26566 w 328603"/>
                <a:gd name="connsiteY24" fmla="*/ 0 h 513470"/>
                <a:gd name="connsiteX25" fmla="*/ 138103 w 328603"/>
                <a:gd name="connsiteY25" fmla="*/ 73855 h 513470"/>
                <a:gd name="connsiteX26" fmla="*/ 117904 w 328603"/>
                <a:gd name="connsiteY26" fmla="*/ 124851 h 513470"/>
                <a:gd name="connsiteX27" fmla="*/ 220658 w 328603"/>
                <a:gd name="connsiteY27" fmla="*/ 334987 h 513470"/>
                <a:gd name="connsiteX28" fmla="*/ 218902 w 328603"/>
                <a:gd name="connsiteY28" fmla="*/ 334987 h 5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603" h="513470">
                  <a:moveTo>
                    <a:pt x="218902" y="334987"/>
                  </a:moveTo>
                  <a:cubicBezTo>
                    <a:pt x="225049" y="343779"/>
                    <a:pt x="266327" y="352571"/>
                    <a:pt x="274231" y="357847"/>
                  </a:cubicBezTo>
                  <a:cubicBezTo>
                    <a:pt x="283891" y="364881"/>
                    <a:pt x="293552" y="376311"/>
                    <a:pt x="293552" y="376311"/>
                  </a:cubicBezTo>
                  <a:cubicBezTo>
                    <a:pt x="303213" y="392137"/>
                    <a:pt x="325169" y="409721"/>
                    <a:pt x="325169" y="414117"/>
                  </a:cubicBezTo>
                  <a:cubicBezTo>
                    <a:pt x="325169" y="418514"/>
                    <a:pt x="304091" y="433461"/>
                    <a:pt x="284770" y="412359"/>
                  </a:cubicBezTo>
                  <a:cubicBezTo>
                    <a:pt x="265448" y="391258"/>
                    <a:pt x="273353" y="399171"/>
                    <a:pt x="266327" y="396533"/>
                  </a:cubicBezTo>
                  <a:cubicBezTo>
                    <a:pt x="269839" y="406204"/>
                    <a:pt x="273353" y="407963"/>
                    <a:pt x="275109" y="410601"/>
                  </a:cubicBezTo>
                  <a:cubicBezTo>
                    <a:pt x="283891" y="422031"/>
                    <a:pt x="319899" y="456321"/>
                    <a:pt x="326047" y="461596"/>
                  </a:cubicBezTo>
                  <a:cubicBezTo>
                    <a:pt x="332195" y="466871"/>
                    <a:pt x="326925" y="479181"/>
                    <a:pt x="313752" y="477422"/>
                  </a:cubicBezTo>
                  <a:cubicBezTo>
                    <a:pt x="299700" y="475664"/>
                    <a:pt x="260179" y="433461"/>
                    <a:pt x="260179" y="433461"/>
                  </a:cubicBezTo>
                  <a:lnTo>
                    <a:pt x="273353" y="448408"/>
                  </a:lnTo>
                  <a:cubicBezTo>
                    <a:pt x="275109" y="451045"/>
                    <a:pt x="301456" y="473026"/>
                    <a:pt x="307604" y="477422"/>
                  </a:cubicBezTo>
                  <a:cubicBezTo>
                    <a:pt x="313752" y="481818"/>
                    <a:pt x="324291" y="500282"/>
                    <a:pt x="307604" y="503799"/>
                  </a:cubicBezTo>
                  <a:cubicBezTo>
                    <a:pt x="290918" y="506437"/>
                    <a:pt x="236466" y="442253"/>
                    <a:pt x="236466" y="442253"/>
                  </a:cubicBezTo>
                  <a:lnTo>
                    <a:pt x="248762" y="456321"/>
                  </a:lnTo>
                  <a:cubicBezTo>
                    <a:pt x="248762" y="456321"/>
                    <a:pt x="268083" y="479181"/>
                    <a:pt x="283891" y="494127"/>
                  </a:cubicBezTo>
                  <a:cubicBezTo>
                    <a:pt x="299700" y="509075"/>
                    <a:pt x="274231" y="513471"/>
                    <a:pt x="274231" y="513471"/>
                  </a:cubicBezTo>
                  <a:cubicBezTo>
                    <a:pt x="250518" y="508195"/>
                    <a:pt x="216267" y="450166"/>
                    <a:pt x="212754" y="446649"/>
                  </a:cubicBezTo>
                  <a:cubicBezTo>
                    <a:pt x="214510" y="456321"/>
                    <a:pt x="247883" y="497644"/>
                    <a:pt x="247883" y="497644"/>
                  </a:cubicBezTo>
                  <a:cubicBezTo>
                    <a:pt x="247883" y="497644"/>
                    <a:pt x="254031" y="509075"/>
                    <a:pt x="241736" y="511712"/>
                  </a:cubicBezTo>
                  <a:cubicBezTo>
                    <a:pt x="229441" y="514350"/>
                    <a:pt x="197824" y="480939"/>
                    <a:pt x="189041" y="458079"/>
                  </a:cubicBezTo>
                  <a:cubicBezTo>
                    <a:pt x="180259" y="435219"/>
                    <a:pt x="174111" y="426427"/>
                    <a:pt x="160937" y="392137"/>
                  </a:cubicBezTo>
                  <a:cubicBezTo>
                    <a:pt x="158303" y="384224"/>
                    <a:pt x="157425" y="378948"/>
                    <a:pt x="157425" y="370156"/>
                  </a:cubicBezTo>
                  <a:cubicBezTo>
                    <a:pt x="157425" y="370156"/>
                    <a:pt x="-6807" y="146831"/>
                    <a:pt x="219" y="103749"/>
                  </a:cubicBezTo>
                  <a:cubicBezTo>
                    <a:pt x="7245" y="60667"/>
                    <a:pt x="18662" y="18464"/>
                    <a:pt x="26566" y="0"/>
                  </a:cubicBezTo>
                  <a:cubicBezTo>
                    <a:pt x="79261" y="44841"/>
                    <a:pt x="138103" y="73855"/>
                    <a:pt x="138103" y="73855"/>
                  </a:cubicBezTo>
                  <a:lnTo>
                    <a:pt x="117904" y="124851"/>
                  </a:lnTo>
                  <a:lnTo>
                    <a:pt x="220658" y="334987"/>
                  </a:lnTo>
                  <a:lnTo>
                    <a:pt x="218902" y="334987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B8C40DD4-BD48-D1E6-00A9-4AC687F859A8}"/>
                </a:ext>
              </a:extLst>
            </p:cNvPr>
            <p:cNvSpPr/>
            <p:nvPr/>
          </p:nvSpPr>
          <p:spPr>
            <a:xfrm>
              <a:off x="-9537636" y="4429552"/>
              <a:ext cx="288981" cy="457248"/>
            </a:xfrm>
            <a:custGeom>
              <a:avLst/>
              <a:gdLst>
                <a:gd name="connsiteX0" fmla="*/ 202874 w 288981"/>
                <a:gd name="connsiteY0" fmla="*/ 274320 h 457248"/>
                <a:gd name="connsiteX1" fmla="*/ 252056 w 288981"/>
                <a:gd name="connsiteY1" fmla="*/ 307731 h 457248"/>
                <a:gd name="connsiteX2" fmla="*/ 269621 w 288981"/>
                <a:gd name="connsiteY2" fmla="*/ 329712 h 457248"/>
                <a:gd name="connsiteX3" fmla="*/ 288942 w 288981"/>
                <a:gd name="connsiteY3" fmla="*/ 370156 h 457248"/>
                <a:gd name="connsiteX4" fmla="*/ 254690 w 288981"/>
                <a:gd name="connsiteY4" fmla="*/ 360485 h 457248"/>
                <a:gd name="connsiteX5" fmla="*/ 236247 w 288981"/>
                <a:gd name="connsiteY5" fmla="*/ 339383 h 457248"/>
                <a:gd name="connsiteX6" fmla="*/ 242395 w 288981"/>
                <a:gd name="connsiteY6" fmla="*/ 358726 h 457248"/>
                <a:gd name="connsiteX7" fmla="*/ 281038 w 288981"/>
                <a:gd name="connsiteY7" fmla="*/ 417635 h 457248"/>
                <a:gd name="connsiteX8" fmla="*/ 266108 w 288981"/>
                <a:gd name="connsiteY8" fmla="*/ 431702 h 457248"/>
                <a:gd name="connsiteX9" fmla="*/ 223074 w 288981"/>
                <a:gd name="connsiteY9" fmla="*/ 377190 h 457248"/>
                <a:gd name="connsiteX10" fmla="*/ 232734 w 288981"/>
                <a:gd name="connsiteY10" fmla="*/ 393896 h 457248"/>
                <a:gd name="connsiteX11" fmla="*/ 257325 w 288981"/>
                <a:gd name="connsiteY11" fmla="*/ 429065 h 457248"/>
                <a:gd name="connsiteX12" fmla="*/ 253812 w 288981"/>
                <a:gd name="connsiteY12" fmla="*/ 453683 h 457248"/>
                <a:gd name="connsiteX13" fmla="*/ 198483 w 288981"/>
                <a:gd name="connsiteY13" fmla="*/ 380707 h 457248"/>
                <a:gd name="connsiteX14" fmla="*/ 203752 w 288981"/>
                <a:gd name="connsiteY14" fmla="*/ 394775 h 457248"/>
                <a:gd name="connsiteX15" fmla="*/ 233613 w 288981"/>
                <a:gd name="connsiteY15" fmla="*/ 441374 h 457248"/>
                <a:gd name="connsiteX16" fmla="*/ 219561 w 288981"/>
                <a:gd name="connsiteY16" fmla="*/ 457200 h 457248"/>
                <a:gd name="connsiteX17" fmla="*/ 174770 w 288981"/>
                <a:gd name="connsiteY17" fmla="*/ 380707 h 457248"/>
                <a:gd name="connsiteX18" fmla="*/ 197605 w 288981"/>
                <a:gd name="connsiteY18" fmla="*/ 437857 h 457248"/>
                <a:gd name="connsiteX19" fmla="*/ 190579 w 288981"/>
                <a:gd name="connsiteY19" fmla="*/ 449287 h 457248"/>
                <a:gd name="connsiteX20" fmla="*/ 149301 w 288981"/>
                <a:gd name="connsiteY20" fmla="*/ 386861 h 457248"/>
                <a:gd name="connsiteX21" fmla="*/ 135249 w 288981"/>
                <a:gd name="connsiteY21" fmla="*/ 317402 h 457248"/>
                <a:gd name="connsiteX22" fmla="*/ 135249 w 288981"/>
                <a:gd name="connsiteY22" fmla="*/ 295422 h 457248"/>
                <a:gd name="connsiteX23" fmla="*/ 0 w 288981"/>
                <a:gd name="connsiteY23" fmla="*/ 87044 h 457248"/>
                <a:gd name="connsiteX24" fmla="*/ 1757 w 288981"/>
                <a:gd name="connsiteY24" fmla="*/ 24619 h 457248"/>
                <a:gd name="connsiteX25" fmla="*/ 108024 w 288981"/>
                <a:gd name="connsiteY25" fmla="*/ 0 h 457248"/>
                <a:gd name="connsiteX26" fmla="*/ 115928 w 288981"/>
                <a:gd name="connsiteY26" fmla="*/ 57150 h 457248"/>
                <a:gd name="connsiteX27" fmla="*/ 201996 w 288981"/>
                <a:gd name="connsiteY27" fmla="*/ 273441 h 457248"/>
                <a:gd name="connsiteX28" fmla="*/ 201996 w 288981"/>
                <a:gd name="connsiteY28" fmla="*/ 273441 h 45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8981" h="457248">
                  <a:moveTo>
                    <a:pt x="202874" y="274320"/>
                  </a:moveTo>
                  <a:cubicBezTo>
                    <a:pt x="207265" y="283992"/>
                    <a:pt x="245908" y="300697"/>
                    <a:pt x="252056" y="307731"/>
                  </a:cubicBezTo>
                  <a:cubicBezTo>
                    <a:pt x="259960" y="316523"/>
                    <a:pt x="269621" y="329712"/>
                    <a:pt x="269621" y="329712"/>
                  </a:cubicBezTo>
                  <a:cubicBezTo>
                    <a:pt x="275768" y="347296"/>
                    <a:pt x="289820" y="365760"/>
                    <a:pt x="288942" y="370156"/>
                  </a:cubicBezTo>
                  <a:cubicBezTo>
                    <a:pt x="288064" y="374552"/>
                    <a:pt x="266108" y="386861"/>
                    <a:pt x="254690" y="360485"/>
                  </a:cubicBezTo>
                  <a:cubicBezTo>
                    <a:pt x="249421" y="349055"/>
                    <a:pt x="243273" y="343779"/>
                    <a:pt x="236247" y="339383"/>
                  </a:cubicBezTo>
                  <a:cubicBezTo>
                    <a:pt x="238004" y="349055"/>
                    <a:pt x="241517" y="355209"/>
                    <a:pt x="242395" y="358726"/>
                  </a:cubicBezTo>
                  <a:cubicBezTo>
                    <a:pt x="244152" y="369277"/>
                    <a:pt x="276646" y="411480"/>
                    <a:pt x="281038" y="417635"/>
                  </a:cubicBezTo>
                  <a:cubicBezTo>
                    <a:pt x="285429" y="424669"/>
                    <a:pt x="279281" y="436098"/>
                    <a:pt x="266108" y="431702"/>
                  </a:cubicBezTo>
                  <a:cubicBezTo>
                    <a:pt x="252934" y="427306"/>
                    <a:pt x="223074" y="377190"/>
                    <a:pt x="223074" y="377190"/>
                  </a:cubicBezTo>
                  <a:lnTo>
                    <a:pt x="232734" y="393896"/>
                  </a:lnTo>
                  <a:cubicBezTo>
                    <a:pt x="233613" y="397412"/>
                    <a:pt x="256447" y="424669"/>
                    <a:pt x="257325" y="429065"/>
                  </a:cubicBezTo>
                  <a:cubicBezTo>
                    <a:pt x="262594" y="436098"/>
                    <a:pt x="269621" y="453683"/>
                    <a:pt x="253812" y="453683"/>
                  </a:cubicBezTo>
                  <a:cubicBezTo>
                    <a:pt x="238004" y="453683"/>
                    <a:pt x="198483" y="380707"/>
                    <a:pt x="198483" y="380707"/>
                  </a:cubicBezTo>
                  <a:lnTo>
                    <a:pt x="203752" y="394775"/>
                  </a:lnTo>
                  <a:cubicBezTo>
                    <a:pt x="203752" y="394775"/>
                    <a:pt x="221317" y="423789"/>
                    <a:pt x="233613" y="441374"/>
                  </a:cubicBezTo>
                  <a:cubicBezTo>
                    <a:pt x="246786" y="458959"/>
                    <a:pt x="219561" y="457200"/>
                    <a:pt x="219561" y="457200"/>
                  </a:cubicBezTo>
                  <a:cubicBezTo>
                    <a:pt x="197605" y="446649"/>
                    <a:pt x="176527" y="384224"/>
                    <a:pt x="174770" y="380707"/>
                  </a:cubicBezTo>
                  <a:cubicBezTo>
                    <a:pt x="174770" y="390378"/>
                    <a:pt x="197605" y="437857"/>
                    <a:pt x="197605" y="437857"/>
                  </a:cubicBezTo>
                  <a:cubicBezTo>
                    <a:pt x="197605" y="437857"/>
                    <a:pt x="202874" y="450166"/>
                    <a:pt x="190579" y="449287"/>
                  </a:cubicBezTo>
                  <a:cubicBezTo>
                    <a:pt x="174770" y="449287"/>
                    <a:pt x="153692" y="410601"/>
                    <a:pt x="149301" y="386861"/>
                  </a:cubicBezTo>
                  <a:cubicBezTo>
                    <a:pt x="144910" y="363122"/>
                    <a:pt x="141397" y="353451"/>
                    <a:pt x="135249" y="317402"/>
                  </a:cubicBezTo>
                  <a:cubicBezTo>
                    <a:pt x="133493" y="309489"/>
                    <a:pt x="134371" y="304214"/>
                    <a:pt x="135249" y="295422"/>
                  </a:cubicBezTo>
                  <a:lnTo>
                    <a:pt x="0" y="87044"/>
                  </a:lnTo>
                  <a:lnTo>
                    <a:pt x="1757" y="24619"/>
                  </a:lnTo>
                  <a:lnTo>
                    <a:pt x="108024" y="0"/>
                  </a:lnTo>
                  <a:lnTo>
                    <a:pt x="115928" y="57150"/>
                  </a:lnTo>
                  <a:lnTo>
                    <a:pt x="201996" y="273441"/>
                  </a:lnTo>
                  <a:lnTo>
                    <a:pt x="201996" y="273441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9" name="Graphic 6">
            <a:extLst>
              <a:ext uri="{FF2B5EF4-FFF2-40B4-BE49-F238E27FC236}">
                <a16:creationId xmlns:a16="http://schemas.microsoft.com/office/drawing/2014/main" id="{15EE0FE3-1D83-4812-5797-A511FB9BDB72}"/>
              </a:ext>
            </a:extLst>
          </p:cNvPr>
          <p:cNvGrpSpPr/>
          <p:nvPr/>
        </p:nvGrpSpPr>
        <p:grpSpPr>
          <a:xfrm flipH="1">
            <a:off x="-6021333" y="1400939"/>
            <a:ext cx="3842455" cy="4626826"/>
            <a:chOff x="-8201469" y="2173664"/>
            <a:chExt cx="3043696" cy="3665014"/>
          </a:xfrm>
        </p:grpSpPr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C32BDA7D-4CD0-ADEF-EBCB-CDC77EC0DA2F}"/>
                </a:ext>
              </a:extLst>
            </p:cNvPr>
            <p:cNvSpPr/>
            <p:nvPr/>
          </p:nvSpPr>
          <p:spPr>
            <a:xfrm>
              <a:off x="-7760262" y="2173664"/>
              <a:ext cx="553185" cy="552571"/>
            </a:xfrm>
            <a:custGeom>
              <a:avLst/>
              <a:gdLst>
                <a:gd name="connsiteX0" fmla="*/ 522744 w 553185"/>
                <a:gd name="connsiteY0" fmla="*/ 139580 h 552571"/>
                <a:gd name="connsiteX1" fmla="*/ 394521 w 553185"/>
                <a:gd name="connsiteY1" fmla="*/ 519408 h 552571"/>
                <a:gd name="connsiteX2" fmla="*/ 104701 w 553185"/>
                <a:gd name="connsiteY2" fmla="*/ 445552 h 552571"/>
                <a:gd name="connsiteX3" fmla="*/ 63423 w 553185"/>
                <a:gd name="connsiteY3" fmla="*/ 76275 h 552571"/>
                <a:gd name="connsiteX4" fmla="*/ 522744 w 553185"/>
                <a:gd name="connsiteY4" fmla="*/ 139580 h 55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185" h="552571">
                  <a:moveTo>
                    <a:pt x="522744" y="139580"/>
                  </a:moveTo>
                  <a:cubicBezTo>
                    <a:pt x="602664" y="338286"/>
                    <a:pt x="513083" y="473688"/>
                    <a:pt x="394521" y="519408"/>
                  </a:cubicBezTo>
                  <a:cubicBezTo>
                    <a:pt x="257514" y="573041"/>
                    <a:pt x="200429" y="570403"/>
                    <a:pt x="104701" y="445552"/>
                  </a:cubicBezTo>
                  <a:cubicBezTo>
                    <a:pt x="8094" y="320702"/>
                    <a:pt x="-52505" y="165957"/>
                    <a:pt x="63423" y="76275"/>
                  </a:cubicBezTo>
                  <a:cubicBezTo>
                    <a:pt x="179351" y="-13406"/>
                    <a:pt x="442824" y="-58247"/>
                    <a:pt x="522744" y="139580"/>
                  </a:cubicBezTo>
                  <a:close/>
                </a:path>
              </a:pathLst>
            </a:custGeom>
            <a:solidFill>
              <a:srgbClr val="CBCBCB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1" name="Graphic 6">
              <a:extLst>
                <a:ext uri="{FF2B5EF4-FFF2-40B4-BE49-F238E27FC236}">
                  <a16:creationId xmlns:a16="http://schemas.microsoft.com/office/drawing/2014/main" id="{088A88FE-CDF1-475C-5569-83B50EFE6700}"/>
                </a:ext>
              </a:extLst>
            </p:cNvPr>
            <p:cNvGrpSpPr/>
            <p:nvPr/>
          </p:nvGrpSpPr>
          <p:grpSpPr>
            <a:xfrm>
              <a:off x="-8201469" y="2379186"/>
              <a:ext cx="3043696" cy="3459492"/>
              <a:chOff x="-8201469" y="2379186"/>
              <a:chExt cx="3043696" cy="3459492"/>
            </a:xfrm>
          </p:grpSpPr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534374A6-4630-5CDC-8733-14803FB364BA}"/>
                  </a:ext>
                </a:extLst>
              </p:cNvPr>
              <p:cNvSpPr/>
              <p:nvPr/>
            </p:nvSpPr>
            <p:spPr>
              <a:xfrm>
                <a:off x="-7770612" y="2379186"/>
                <a:ext cx="384670" cy="529318"/>
              </a:xfrm>
              <a:custGeom>
                <a:avLst/>
                <a:gdLst>
                  <a:gd name="connsiteX0" fmla="*/ 0 w 384670"/>
                  <a:gd name="connsiteY0" fmla="*/ 225083 h 529318"/>
                  <a:gd name="connsiteX1" fmla="*/ 8782 w 384670"/>
                  <a:gd name="connsiteY1" fmla="*/ 241788 h 529318"/>
                  <a:gd name="connsiteX2" fmla="*/ 2635 w 384670"/>
                  <a:gd name="connsiteY2" fmla="*/ 250581 h 529318"/>
                  <a:gd name="connsiteX3" fmla="*/ 14930 w 384670"/>
                  <a:gd name="connsiteY3" fmla="*/ 269045 h 529318"/>
                  <a:gd name="connsiteX4" fmla="*/ 21956 w 384670"/>
                  <a:gd name="connsiteY4" fmla="*/ 296301 h 529318"/>
                  <a:gd name="connsiteX5" fmla="*/ 49182 w 384670"/>
                  <a:gd name="connsiteY5" fmla="*/ 320040 h 529318"/>
                  <a:gd name="connsiteX6" fmla="*/ 104511 w 384670"/>
                  <a:gd name="connsiteY6" fmla="*/ 308610 h 529318"/>
                  <a:gd name="connsiteX7" fmla="*/ 125589 w 384670"/>
                  <a:gd name="connsiteY7" fmla="*/ 304214 h 529318"/>
                  <a:gd name="connsiteX8" fmla="*/ 132615 w 384670"/>
                  <a:gd name="connsiteY8" fmla="*/ 429065 h 529318"/>
                  <a:gd name="connsiteX9" fmla="*/ 90459 w 384670"/>
                  <a:gd name="connsiteY9" fmla="*/ 465992 h 529318"/>
                  <a:gd name="connsiteX10" fmla="*/ 384671 w 384670"/>
                  <a:gd name="connsiteY10" fmla="*/ 474785 h 529318"/>
                  <a:gd name="connsiteX11" fmla="*/ 292455 w 384670"/>
                  <a:gd name="connsiteY11" fmla="*/ 271682 h 529318"/>
                  <a:gd name="connsiteX12" fmla="*/ 292455 w 384670"/>
                  <a:gd name="connsiteY12" fmla="*/ 269924 h 529318"/>
                  <a:gd name="connsiteX13" fmla="*/ 287185 w 384670"/>
                  <a:gd name="connsiteY13" fmla="*/ 269924 h 529318"/>
                  <a:gd name="connsiteX14" fmla="*/ 254690 w 384670"/>
                  <a:gd name="connsiteY14" fmla="*/ 249702 h 529318"/>
                  <a:gd name="connsiteX15" fmla="*/ 263473 w 384670"/>
                  <a:gd name="connsiteY15" fmla="*/ 221566 h 529318"/>
                  <a:gd name="connsiteX16" fmla="*/ 218683 w 384670"/>
                  <a:gd name="connsiteY16" fmla="*/ 152986 h 529318"/>
                  <a:gd name="connsiteX17" fmla="*/ 187066 w 384670"/>
                  <a:gd name="connsiteY17" fmla="*/ 157382 h 529318"/>
                  <a:gd name="connsiteX18" fmla="*/ 197605 w 384670"/>
                  <a:gd name="connsiteY18" fmla="*/ 108145 h 529318"/>
                  <a:gd name="connsiteX19" fmla="*/ 165988 w 384670"/>
                  <a:gd name="connsiteY19" fmla="*/ 41324 h 529318"/>
                  <a:gd name="connsiteX20" fmla="*/ 122076 w 384670"/>
                  <a:gd name="connsiteY20" fmla="*/ 7913 h 529318"/>
                  <a:gd name="connsiteX21" fmla="*/ 97485 w 384670"/>
                  <a:gd name="connsiteY21" fmla="*/ 0 h 529318"/>
                  <a:gd name="connsiteX22" fmla="*/ 46547 w 384670"/>
                  <a:gd name="connsiteY22" fmla="*/ 99353 h 529318"/>
                  <a:gd name="connsiteX23" fmla="*/ 39521 w 384670"/>
                  <a:gd name="connsiteY23" fmla="*/ 139798 h 529318"/>
                  <a:gd name="connsiteX24" fmla="*/ 5270 w 384670"/>
                  <a:gd name="connsiteY24" fmla="*/ 168812 h 529318"/>
                  <a:gd name="connsiteX25" fmla="*/ 2635 w 384670"/>
                  <a:gd name="connsiteY25" fmla="*/ 189914 h 529318"/>
                  <a:gd name="connsiteX26" fmla="*/ 18443 w 384670"/>
                  <a:gd name="connsiteY26" fmla="*/ 203982 h 529318"/>
                  <a:gd name="connsiteX27" fmla="*/ 0 w 384670"/>
                  <a:gd name="connsiteY27" fmla="*/ 222445 h 529318"/>
                  <a:gd name="connsiteX28" fmla="*/ 0 w 384670"/>
                  <a:gd name="connsiteY28" fmla="*/ 225083 h 52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84670" h="529318">
                    <a:moveTo>
                      <a:pt x="0" y="225083"/>
                    </a:moveTo>
                    <a:cubicBezTo>
                      <a:pt x="1757" y="233875"/>
                      <a:pt x="8782" y="241788"/>
                      <a:pt x="8782" y="241788"/>
                    </a:cubicBezTo>
                    <a:lnTo>
                      <a:pt x="2635" y="250581"/>
                    </a:lnTo>
                    <a:cubicBezTo>
                      <a:pt x="-1756" y="267286"/>
                      <a:pt x="14930" y="269045"/>
                      <a:pt x="14930" y="269045"/>
                    </a:cubicBezTo>
                    <a:cubicBezTo>
                      <a:pt x="14930" y="269045"/>
                      <a:pt x="16687" y="275199"/>
                      <a:pt x="21956" y="296301"/>
                    </a:cubicBezTo>
                    <a:cubicBezTo>
                      <a:pt x="27226" y="317402"/>
                      <a:pt x="49182" y="320040"/>
                      <a:pt x="49182" y="320040"/>
                    </a:cubicBezTo>
                    <a:lnTo>
                      <a:pt x="104511" y="308610"/>
                    </a:lnTo>
                    <a:lnTo>
                      <a:pt x="125589" y="304214"/>
                    </a:lnTo>
                    <a:lnTo>
                      <a:pt x="132615" y="429065"/>
                    </a:lnTo>
                    <a:cubicBezTo>
                      <a:pt x="127345" y="451925"/>
                      <a:pt x="90459" y="465992"/>
                      <a:pt x="90459" y="465992"/>
                    </a:cubicBezTo>
                    <a:cubicBezTo>
                      <a:pt x="217805" y="603152"/>
                      <a:pt x="384671" y="474785"/>
                      <a:pt x="384671" y="474785"/>
                    </a:cubicBezTo>
                    <a:cubicBezTo>
                      <a:pt x="305629" y="437857"/>
                      <a:pt x="294211" y="325315"/>
                      <a:pt x="292455" y="271682"/>
                    </a:cubicBezTo>
                    <a:lnTo>
                      <a:pt x="292455" y="269924"/>
                    </a:lnTo>
                    <a:lnTo>
                      <a:pt x="287185" y="269924"/>
                    </a:lnTo>
                    <a:cubicBezTo>
                      <a:pt x="287185" y="269924"/>
                      <a:pt x="259082" y="267286"/>
                      <a:pt x="254690" y="249702"/>
                    </a:cubicBezTo>
                    <a:cubicBezTo>
                      <a:pt x="252934" y="242668"/>
                      <a:pt x="254690" y="233875"/>
                      <a:pt x="263473" y="221566"/>
                    </a:cubicBezTo>
                    <a:cubicBezTo>
                      <a:pt x="294211" y="177605"/>
                      <a:pt x="253812" y="128368"/>
                      <a:pt x="218683" y="152986"/>
                    </a:cubicBezTo>
                    <a:cubicBezTo>
                      <a:pt x="198483" y="167054"/>
                      <a:pt x="187066" y="157382"/>
                      <a:pt x="187066" y="157382"/>
                    </a:cubicBezTo>
                    <a:cubicBezTo>
                      <a:pt x="187066" y="157382"/>
                      <a:pt x="207266" y="126609"/>
                      <a:pt x="197605" y="108145"/>
                    </a:cubicBezTo>
                    <a:cubicBezTo>
                      <a:pt x="181796" y="79131"/>
                      <a:pt x="204631" y="54512"/>
                      <a:pt x="165988" y="41324"/>
                    </a:cubicBezTo>
                    <a:cubicBezTo>
                      <a:pt x="147545" y="35169"/>
                      <a:pt x="155449" y="14947"/>
                      <a:pt x="122076" y="7913"/>
                    </a:cubicBezTo>
                    <a:cubicBezTo>
                      <a:pt x="111537" y="5275"/>
                      <a:pt x="97485" y="0"/>
                      <a:pt x="97485" y="0"/>
                    </a:cubicBezTo>
                    <a:cubicBezTo>
                      <a:pt x="49182" y="35169"/>
                      <a:pt x="48303" y="72976"/>
                      <a:pt x="46547" y="99353"/>
                    </a:cubicBezTo>
                    <a:cubicBezTo>
                      <a:pt x="44791" y="130126"/>
                      <a:pt x="39521" y="139798"/>
                      <a:pt x="39521" y="139798"/>
                    </a:cubicBezTo>
                    <a:lnTo>
                      <a:pt x="5270" y="168812"/>
                    </a:lnTo>
                    <a:cubicBezTo>
                      <a:pt x="5270" y="168812"/>
                      <a:pt x="-3513" y="180242"/>
                      <a:pt x="2635" y="189914"/>
                    </a:cubicBezTo>
                    <a:cubicBezTo>
                      <a:pt x="7904" y="197827"/>
                      <a:pt x="20200" y="193431"/>
                      <a:pt x="18443" y="203982"/>
                    </a:cubicBezTo>
                    <a:cubicBezTo>
                      <a:pt x="16687" y="214532"/>
                      <a:pt x="0" y="222445"/>
                      <a:pt x="0" y="222445"/>
                    </a:cubicBezTo>
                    <a:lnTo>
                      <a:pt x="0" y="225083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2C77924F-B5C6-D495-F4E5-6BD5B2A87F2E}"/>
                  </a:ext>
                </a:extLst>
              </p:cNvPr>
              <p:cNvSpPr/>
              <p:nvPr/>
            </p:nvSpPr>
            <p:spPr>
              <a:xfrm>
                <a:off x="-7862827" y="5314058"/>
                <a:ext cx="166866" cy="142435"/>
              </a:xfrm>
              <a:custGeom>
                <a:avLst/>
                <a:gdLst>
                  <a:gd name="connsiteX0" fmla="*/ 10539 w 166866"/>
                  <a:gd name="connsiteY0" fmla="*/ 0 h 142435"/>
                  <a:gd name="connsiteX1" fmla="*/ 0 w 166866"/>
                  <a:gd name="connsiteY1" fmla="*/ 101112 h 142435"/>
                  <a:gd name="connsiteX2" fmla="*/ 68503 w 166866"/>
                  <a:gd name="connsiteY2" fmla="*/ 123092 h 142435"/>
                  <a:gd name="connsiteX3" fmla="*/ 125589 w 166866"/>
                  <a:gd name="connsiteY3" fmla="*/ 142435 h 142435"/>
                  <a:gd name="connsiteX4" fmla="*/ 166866 w 166866"/>
                  <a:gd name="connsiteY4" fmla="*/ 8792 h 142435"/>
                  <a:gd name="connsiteX5" fmla="*/ 10539 w 166866"/>
                  <a:gd name="connsiteY5" fmla="*/ 0 h 142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6866" h="142435">
                    <a:moveTo>
                      <a:pt x="10539" y="0"/>
                    </a:moveTo>
                    <a:cubicBezTo>
                      <a:pt x="7026" y="36049"/>
                      <a:pt x="3513" y="70338"/>
                      <a:pt x="0" y="101112"/>
                    </a:cubicBezTo>
                    <a:cubicBezTo>
                      <a:pt x="17565" y="101991"/>
                      <a:pt x="57964" y="105508"/>
                      <a:pt x="68503" y="123092"/>
                    </a:cubicBezTo>
                    <a:cubicBezTo>
                      <a:pt x="78164" y="138918"/>
                      <a:pt x="108024" y="141556"/>
                      <a:pt x="125589" y="142435"/>
                    </a:cubicBezTo>
                    <a:cubicBezTo>
                      <a:pt x="136128" y="101112"/>
                      <a:pt x="150180" y="55391"/>
                      <a:pt x="166866" y="8792"/>
                    </a:cubicBezTo>
                    <a:cubicBezTo>
                      <a:pt x="115928" y="11430"/>
                      <a:pt x="58842" y="10551"/>
                      <a:pt x="10539" y="0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485FC40E-B028-661B-FA41-84D63ED1FFFC}"/>
                  </a:ext>
                </a:extLst>
              </p:cNvPr>
              <p:cNvSpPr/>
              <p:nvPr/>
            </p:nvSpPr>
            <p:spPr>
              <a:xfrm>
                <a:off x="-8130764" y="5404619"/>
                <a:ext cx="426899" cy="398715"/>
              </a:xfrm>
              <a:custGeom>
                <a:avLst/>
                <a:gdLst>
                  <a:gd name="connsiteX0" fmla="*/ 409334 w 426899"/>
                  <a:gd name="connsiteY0" fmla="*/ 101112 h 398715"/>
                  <a:gd name="connsiteX1" fmla="*/ 419873 w 426899"/>
                  <a:gd name="connsiteY1" fmla="*/ 34290 h 398715"/>
                  <a:gd name="connsiteX2" fmla="*/ 344344 w 426899"/>
                  <a:gd name="connsiteY2" fmla="*/ 23739 h 398715"/>
                  <a:gd name="connsiteX3" fmla="*/ 255642 w 426899"/>
                  <a:gd name="connsiteY3" fmla="*/ 0 h 398715"/>
                  <a:gd name="connsiteX4" fmla="*/ 215242 w 426899"/>
                  <a:gd name="connsiteY4" fmla="*/ 183759 h 398715"/>
                  <a:gd name="connsiteX5" fmla="*/ 22907 w 426899"/>
                  <a:gd name="connsiteY5" fmla="*/ 299818 h 398715"/>
                  <a:gd name="connsiteX6" fmla="*/ 73 w 426899"/>
                  <a:gd name="connsiteY6" fmla="*/ 356088 h 398715"/>
                  <a:gd name="connsiteX7" fmla="*/ 51011 w 426899"/>
                  <a:gd name="connsiteY7" fmla="*/ 394775 h 398715"/>
                  <a:gd name="connsiteX8" fmla="*/ 207338 w 426899"/>
                  <a:gd name="connsiteY8" fmla="*/ 394775 h 398715"/>
                  <a:gd name="connsiteX9" fmla="*/ 308336 w 426899"/>
                  <a:gd name="connsiteY9" fmla="*/ 345538 h 398715"/>
                  <a:gd name="connsiteX10" fmla="*/ 310971 w 426899"/>
                  <a:gd name="connsiteY10" fmla="*/ 398292 h 398715"/>
                  <a:gd name="connsiteX11" fmla="*/ 426899 w 426899"/>
                  <a:gd name="connsiteY11" fmla="*/ 398292 h 398715"/>
                  <a:gd name="connsiteX12" fmla="*/ 426899 w 426899"/>
                  <a:gd name="connsiteY12" fmla="*/ 327953 h 398715"/>
                  <a:gd name="connsiteX13" fmla="*/ 406700 w 426899"/>
                  <a:gd name="connsiteY13" fmla="*/ 218049 h 398715"/>
                  <a:gd name="connsiteX14" fmla="*/ 408456 w 426899"/>
                  <a:gd name="connsiteY14" fmla="*/ 101991 h 398715"/>
                  <a:gd name="connsiteX15" fmla="*/ 408456 w 426899"/>
                  <a:gd name="connsiteY15" fmla="*/ 101991 h 398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6899" h="398715">
                    <a:moveTo>
                      <a:pt x="409334" y="101112"/>
                    </a:moveTo>
                    <a:cubicBezTo>
                      <a:pt x="416360" y="74735"/>
                      <a:pt x="419873" y="34290"/>
                      <a:pt x="419873" y="34290"/>
                    </a:cubicBezTo>
                    <a:cubicBezTo>
                      <a:pt x="419873" y="34290"/>
                      <a:pt x="354883" y="38686"/>
                      <a:pt x="344344" y="23739"/>
                    </a:cubicBezTo>
                    <a:cubicBezTo>
                      <a:pt x="332927" y="7034"/>
                      <a:pt x="255642" y="0"/>
                      <a:pt x="255642" y="0"/>
                    </a:cubicBezTo>
                    <a:cubicBezTo>
                      <a:pt x="255642" y="0"/>
                      <a:pt x="253007" y="117817"/>
                      <a:pt x="215242" y="183759"/>
                    </a:cubicBezTo>
                    <a:cubicBezTo>
                      <a:pt x="177478" y="249702"/>
                      <a:pt x="51889" y="267286"/>
                      <a:pt x="22907" y="299818"/>
                    </a:cubicBezTo>
                    <a:cubicBezTo>
                      <a:pt x="6221" y="319161"/>
                      <a:pt x="-805" y="337625"/>
                      <a:pt x="73" y="356088"/>
                    </a:cubicBezTo>
                    <a:cubicBezTo>
                      <a:pt x="73" y="373673"/>
                      <a:pt x="38716" y="393016"/>
                      <a:pt x="51011" y="394775"/>
                    </a:cubicBezTo>
                    <a:cubicBezTo>
                      <a:pt x="62428" y="396533"/>
                      <a:pt x="203825" y="402688"/>
                      <a:pt x="207338" y="394775"/>
                    </a:cubicBezTo>
                    <a:cubicBezTo>
                      <a:pt x="237198" y="343779"/>
                      <a:pt x="308336" y="345538"/>
                      <a:pt x="308336" y="345538"/>
                    </a:cubicBezTo>
                    <a:lnTo>
                      <a:pt x="310971" y="398292"/>
                    </a:lnTo>
                    <a:lnTo>
                      <a:pt x="426899" y="398292"/>
                    </a:lnTo>
                    <a:lnTo>
                      <a:pt x="426899" y="327953"/>
                    </a:lnTo>
                    <a:cubicBezTo>
                      <a:pt x="426899" y="275199"/>
                      <a:pt x="406700" y="218049"/>
                      <a:pt x="406700" y="218049"/>
                    </a:cubicBezTo>
                    <a:cubicBezTo>
                      <a:pt x="408456" y="203982"/>
                      <a:pt x="401430" y="128368"/>
                      <a:pt x="408456" y="101991"/>
                    </a:cubicBezTo>
                    <a:lnTo>
                      <a:pt x="408456" y="101991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19363C6C-3E59-0CB0-E6C8-E546FA2579CF}"/>
                  </a:ext>
                </a:extLst>
              </p:cNvPr>
              <p:cNvSpPr/>
              <p:nvPr/>
            </p:nvSpPr>
            <p:spPr>
              <a:xfrm>
                <a:off x="-7927817" y="3481742"/>
                <a:ext cx="797444" cy="1864088"/>
              </a:xfrm>
              <a:custGeom>
                <a:avLst/>
                <a:gdLst>
                  <a:gd name="connsiteX0" fmla="*/ 795688 w 797444"/>
                  <a:gd name="connsiteY0" fmla="*/ 722727 h 1864088"/>
                  <a:gd name="connsiteX1" fmla="*/ 722794 w 797444"/>
                  <a:gd name="connsiteY1" fmla="*/ 722727 h 1864088"/>
                  <a:gd name="connsiteX2" fmla="*/ 650778 w 797444"/>
                  <a:gd name="connsiteY2" fmla="*/ 0 h 1864088"/>
                  <a:gd name="connsiteX3" fmla="*/ 477764 w 797444"/>
                  <a:gd name="connsiteY3" fmla="*/ 2638 h 1864088"/>
                  <a:gd name="connsiteX4" fmla="*/ 303872 w 797444"/>
                  <a:gd name="connsiteY4" fmla="*/ 43962 h 1864088"/>
                  <a:gd name="connsiteX5" fmla="*/ 111537 w 797444"/>
                  <a:gd name="connsiteY5" fmla="*/ 72097 h 1864088"/>
                  <a:gd name="connsiteX6" fmla="*/ 53573 w 797444"/>
                  <a:gd name="connsiteY6" fmla="*/ 757897 h 1864088"/>
                  <a:gd name="connsiteX7" fmla="*/ 0 w 797444"/>
                  <a:gd name="connsiteY7" fmla="*/ 1822645 h 1864088"/>
                  <a:gd name="connsiteX8" fmla="*/ 34251 w 797444"/>
                  <a:gd name="connsiteY8" fmla="*/ 1832317 h 1864088"/>
                  <a:gd name="connsiteX9" fmla="*/ 190579 w 797444"/>
                  <a:gd name="connsiteY9" fmla="*/ 1841109 h 1864088"/>
                  <a:gd name="connsiteX10" fmla="*/ 326706 w 797444"/>
                  <a:gd name="connsiteY10" fmla="*/ 1826162 h 1864088"/>
                  <a:gd name="connsiteX11" fmla="*/ 432973 w 797444"/>
                  <a:gd name="connsiteY11" fmla="*/ 753501 h 1864088"/>
                  <a:gd name="connsiteX12" fmla="*/ 482155 w 797444"/>
                  <a:gd name="connsiteY12" fmla="*/ 1841988 h 1864088"/>
                  <a:gd name="connsiteX13" fmla="*/ 578762 w 797444"/>
                  <a:gd name="connsiteY13" fmla="*/ 1859573 h 1864088"/>
                  <a:gd name="connsiteX14" fmla="*/ 720159 w 797444"/>
                  <a:gd name="connsiteY14" fmla="*/ 1856935 h 1864088"/>
                  <a:gd name="connsiteX15" fmla="*/ 797444 w 797444"/>
                  <a:gd name="connsiteY15" fmla="*/ 1819128 h 1864088"/>
                  <a:gd name="connsiteX16" fmla="*/ 794810 w 797444"/>
                  <a:gd name="connsiteY16" fmla="*/ 723607 h 1864088"/>
                  <a:gd name="connsiteX17" fmla="*/ 795688 w 797444"/>
                  <a:gd name="connsiteY17" fmla="*/ 723607 h 1864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97444" h="1864088">
                    <a:moveTo>
                      <a:pt x="795688" y="722727"/>
                    </a:moveTo>
                    <a:lnTo>
                      <a:pt x="722794" y="722727"/>
                    </a:lnTo>
                    <a:cubicBezTo>
                      <a:pt x="722794" y="722727"/>
                      <a:pt x="654291" y="266407"/>
                      <a:pt x="650778" y="0"/>
                    </a:cubicBezTo>
                    <a:lnTo>
                      <a:pt x="477764" y="2638"/>
                    </a:lnTo>
                    <a:cubicBezTo>
                      <a:pt x="459321" y="11430"/>
                      <a:pt x="350418" y="27256"/>
                      <a:pt x="303872" y="43962"/>
                    </a:cubicBezTo>
                    <a:cubicBezTo>
                      <a:pt x="257325" y="60667"/>
                      <a:pt x="148423" y="72097"/>
                      <a:pt x="111537" y="72097"/>
                    </a:cubicBezTo>
                    <a:lnTo>
                      <a:pt x="53573" y="757897"/>
                    </a:lnTo>
                    <a:lnTo>
                      <a:pt x="0" y="1822645"/>
                    </a:lnTo>
                    <a:cubicBezTo>
                      <a:pt x="10539" y="1826162"/>
                      <a:pt x="21956" y="1829679"/>
                      <a:pt x="34251" y="1832317"/>
                    </a:cubicBezTo>
                    <a:cubicBezTo>
                      <a:pt x="82554" y="1842868"/>
                      <a:pt x="139640" y="1843747"/>
                      <a:pt x="190579" y="1841109"/>
                    </a:cubicBezTo>
                    <a:cubicBezTo>
                      <a:pt x="265229" y="1837592"/>
                      <a:pt x="326706" y="1826162"/>
                      <a:pt x="326706" y="1826162"/>
                    </a:cubicBezTo>
                    <a:lnTo>
                      <a:pt x="432973" y="753501"/>
                    </a:lnTo>
                    <a:lnTo>
                      <a:pt x="482155" y="1841988"/>
                    </a:lnTo>
                    <a:cubicBezTo>
                      <a:pt x="518163" y="1850781"/>
                      <a:pt x="549780" y="1856056"/>
                      <a:pt x="578762" y="1859573"/>
                    </a:cubicBezTo>
                    <a:cubicBezTo>
                      <a:pt x="641117" y="1867486"/>
                      <a:pt x="686786" y="1863969"/>
                      <a:pt x="720159" y="1856935"/>
                    </a:cubicBezTo>
                    <a:cubicBezTo>
                      <a:pt x="779001" y="1844626"/>
                      <a:pt x="797444" y="1819128"/>
                      <a:pt x="797444" y="1819128"/>
                    </a:cubicBezTo>
                    <a:cubicBezTo>
                      <a:pt x="797444" y="1819128"/>
                      <a:pt x="797444" y="1153551"/>
                      <a:pt x="794810" y="723607"/>
                    </a:cubicBezTo>
                    <a:lnTo>
                      <a:pt x="795688" y="72360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1D884A4A-45B7-D09E-95C2-7DB2A1407F7C}"/>
                  </a:ext>
                </a:extLst>
              </p:cNvPr>
              <p:cNvSpPr/>
              <p:nvPr/>
            </p:nvSpPr>
            <p:spPr>
              <a:xfrm>
                <a:off x="-7946260" y="3431625"/>
                <a:ext cx="50059" cy="113420"/>
              </a:xfrm>
              <a:custGeom>
                <a:avLst/>
                <a:gdLst>
                  <a:gd name="connsiteX0" fmla="*/ 0 w 50059"/>
                  <a:gd name="connsiteY0" fmla="*/ 84406 h 113420"/>
                  <a:gd name="connsiteX1" fmla="*/ 36886 w 50059"/>
                  <a:gd name="connsiteY1" fmla="*/ 113421 h 113420"/>
                  <a:gd name="connsiteX2" fmla="*/ 50060 w 50059"/>
                  <a:gd name="connsiteY2" fmla="*/ 0 h 113420"/>
                  <a:gd name="connsiteX3" fmla="*/ 0 w 50059"/>
                  <a:gd name="connsiteY3" fmla="*/ 84406 h 113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59" h="113420">
                    <a:moveTo>
                      <a:pt x="0" y="84406"/>
                    </a:moveTo>
                    <a:lnTo>
                      <a:pt x="36886" y="113421"/>
                    </a:lnTo>
                    <a:lnTo>
                      <a:pt x="50060" y="0"/>
                    </a:lnTo>
                    <a:lnTo>
                      <a:pt x="0" y="8440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1E9AE011-A8B1-5CAE-C690-0C61393537E3}"/>
                  </a:ext>
                </a:extLst>
              </p:cNvPr>
              <p:cNvSpPr/>
              <p:nvPr/>
            </p:nvSpPr>
            <p:spPr>
              <a:xfrm>
                <a:off x="-7348177" y="5338677"/>
                <a:ext cx="141396" cy="71217"/>
              </a:xfrm>
              <a:custGeom>
                <a:avLst/>
                <a:gdLst>
                  <a:gd name="connsiteX0" fmla="*/ 0 w 141396"/>
                  <a:gd name="connsiteY0" fmla="*/ 2638 h 71217"/>
                  <a:gd name="connsiteX1" fmla="*/ 7026 w 141396"/>
                  <a:gd name="connsiteY1" fmla="*/ 71218 h 71217"/>
                  <a:gd name="connsiteX2" fmla="*/ 134371 w 141396"/>
                  <a:gd name="connsiteY2" fmla="*/ 64184 h 71217"/>
                  <a:gd name="connsiteX3" fmla="*/ 141397 w 141396"/>
                  <a:gd name="connsiteY3" fmla="*/ 0 h 71217"/>
                  <a:gd name="connsiteX4" fmla="*/ 0 w 141396"/>
                  <a:gd name="connsiteY4" fmla="*/ 2638 h 7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396" h="71217">
                    <a:moveTo>
                      <a:pt x="0" y="2638"/>
                    </a:moveTo>
                    <a:lnTo>
                      <a:pt x="7026" y="71218"/>
                    </a:lnTo>
                    <a:cubicBezTo>
                      <a:pt x="13174" y="66822"/>
                      <a:pt x="50060" y="39565"/>
                      <a:pt x="134371" y="64184"/>
                    </a:cubicBezTo>
                    <a:lnTo>
                      <a:pt x="141397" y="0"/>
                    </a:lnTo>
                    <a:cubicBezTo>
                      <a:pt x="108024" y="7034"/>
                      <a:pt x="62355" y="10551"/>
                      <a:pt x="0" y="2638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E2AF3EC9-4999-C606-8A10-434F85A5012D}"/>
                  </a:ext>
                </a:extLst>
              </p:cNvPr>
              <p:cNvSpPr/>
              <p:nvPr/>
            </p:nvSpPr>
            <p:spPr>
              <a:xfrm>
                <a:off x="-6895004" y="2666257"/>
                <a:ext cx="258269" cy="413676"/>
              </a:xfrm>
              <a:custGeom>
                <a:avLst/>
                <a:gdLst>
                  <a:gd name="connsiteX0" fmla="*/ 256447 w 258269"/>
                  <a:gd name="connsiteY0" fmla="*/ 81327 h 413676"/>
                  <a:gd name="connsiteX1" fmla="*/ 238882 w 258269"/>
                  <a:gd name="connsiteY1" fmla="*/ 84844 h 413676"/>
                  <a:gd name="connsiteX2" fmla="*/ 191457 w 258269"/>
                  <a:gd name="connsiteY2" fmla="*/ 157820 h 413676"/>
                  <a:gd name="connsiteX3" fmla="*/ 238882 w 258269"/>
                  <a:gd name="connsiteY3" fmla="*/ 36486 h 413676"/>
                  <a:gd name="connsiteX4" fmla="*/ 218683 w 258269"/>
                  <a:gd name="connsiteY4" fmla="*/ 44399 h 413676"/>
                  <a:gd name="connsiteX5" fmla="*/ 172136 w 258269"/>
                  <a:gd name="connsiteY5" fmla="*/ 122651 h 413676"/>
                  <a:gd name="connsiteX6" fmla="*/ 209900 w 258269"/>
                  <a:gd name="connsiteY6" fmla="*/ 4834 h 413676"/>
                  <a:gd name="connsiteX7" fmla="*/ 182674 w 258269"/>
                  <a:gd name="connsiteY7" fmla="*/ 23298 h 413676"/>
                  <a:gd name="connsiteX8" fmla="*/ 144032 w 258269"/>
                  <a:gd name="connsiteY8" fmla="*/ 103308 h 413676"/>
                  <a:gd name="connsiteX9" fmla="*/ 163353 w 258269"/>
                  <a:gd name="connsiteY9" fmla="*/ 16264 h 413676"/>
                  <a:gd name="connsiteX10" fmla="*/ 144032 w 258269"/>
                  <a:gd name="connsiteY10" fmla="*/ 8351 h 413676"/>
                  <a:gd name="connsiteX11" fmla="*/ 109780 w 258269"/>
                  <a:gd name="connsiteY11" fmla="*/ 111221 h 413676"/>
                  <a:gd name="connsiteX12" fmla="*/ 75529 w 258269"/>
                  <a:gd name="connsiteY12" fmla="*/ 154303 h 413676"/>
                  <a:gd name="connsiteX13" fmla="*/ 43912 w 258269"/>
                  <a:gd name="connsiteY13" fmla="*/ 130564 h 413676"/>
                  <a:gd name="connsiteX14" fmla="*/ 43912 w 258269"/>
                  <a:gd name="connsiteY14" fmla="*/ 130564 h 413676"/>
                  <a:gd name="connsiteX15" fmla="*/ 0 w 258269"/>
                  <a:gd name="connsiteY15" fmla="*/ 120013 h 413676"/>
                  <a:gd name="connsiteX16" fmla="*/ 19321 w 258269"/>
                  <a:gd name="connsiteY16" fmla="*/ 150786 h 413676"/>
                  <a:gd name="connsiteX17" fmla="*/ 38643 w 258269"/>
                  <a:gd name="connsiteY17" fmla="*/ 207057 h 413676"/>
                  <a:gd name="connsiteX18" fmla="*/ 50938 w 258269"/>
                  <a:gd name="connsiteY18" fmla="*/ 236072 h 413676"/>
                  <a:gd name="connsiteX19" fmla="*/ 57964 w 258269"/>
                  <a:gd name="connsiteY19" fmla="*/ 261569 h 413676"/>
                  <a:gd name="connsiteX20" fmla="*/ 35130 w 258269"/>
                  <a:gd name="connsiteY20" fmla="*/ 355647 h 413676"/>
                  <a:gd name="connsiteX21" fmla="*/ 136128 w 258269"/>
                  <a:gd name="connsiteY21" fmla="*/ 413676 h 413676"/>
                  <a:gd name="connsiteX22" fmla="*/ 136128 w 258269"/>
                  <a:gd name="connsiteY22" fmla="*/ 286188 h 413676"/>
                  <a:gd name="connsiteX23" fmla="*/ 210778 w 258269"/>
                  <a:gd name="connsiteY23" fmla="*/ 180680 h 413676"/>
                  <a:gd name="connsiteX24" fmla="*/ 257325 w 258269"/>
                  <a:gd name="connsiteY24" fmla="*/ 80448 h 413676"/>
                  <a:gd name="connsiteX25" fmla="*/ 256447 w 258269"/>
                  <a:gd name="connsiteY25" fmla="*/ 80448 h 413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58269" h="413676">
                    <a:moveTo>
                      <a:pt x="256447" y="81327"/>
                    </a:moveTo>
                    <a:cubicBezTo>
                      <a:pt x="248543" y="66380"/>
                      <a:pt x="238882" y="84844"/>
                      <a:pt x="238882" y="84844"/>
                    </a:cubicBezTo>
                    <a:lnTo>
                      <a:pt x="191457" y="157820"/>
                    </a:lnTo>
                    <a:cubicBezTo>
                      <a:pt x="191457" y="157820"/>
                      <a:pt x="245030" y="69018"/>
                      <a:pt x="238882" y="36486"/>
                    </a:cubicBezTo>
                    <a:cubicBezTo>
                      <a:pt x="238882" y="36486"/>
                      <a:pt x="228343" y="17143"/>
                      <a:pt x="218683" y="44399"/>
                    </a:cubicBezTo>
                    <a:cubicBezTo>
                      <a:pt x="209022" y="71655"/>
                      <a:pt x="172136" y="122651"/>
                      <a:pt x="172136" y="122651"/>
                    </a:cubicBezTo>
                    <a:cubicBezTo>
                      <a:pt x="172136" y="122651"/>
                      <a:pt x="222195" y="23298"/>
                      <a:pt x="209900" y="4834"/>
                    </a:cubicBezTo>
                    <a:cubicBezTo>
                      <a:pt x="197605" y="-12751"/>
                      <a:pt x="182674" y="23298"/>
                      <a:pt x="182674" y="23298"/>
                    </a:cubicBezTo>
                    <a:lnTo>
                      <a:pt x="144032" y="103308"/>
                    </a:lnTo>
                    <a:cubicBezTo>
                      <a:pt x="144032" y="103308"/>
                      <a:pt x="168623" y="32969"/>
                      <a:pt x="163353" y="16264"/>
                    </a:cubicBezTo>
                    <a:cubicBezTo>
                      <a:pt x="158084" y="-1321"/>
                      <a:pt x="148423" y="-2200"/>
                      <a:pt x="144032" y="8351"/>
                    </a:cubicBezTo>
                    <a:cubicBezTo>
                      <a:pt x="140519" y="18902"/>
                      <a:pt x="119441" y="100670"/>
                      <a:pt x="109780" y="111221"/>
                    </a:cubicBezTo>
                    <a:cubicBezTo>
                      <a:pt x="105389" y="115617"/>
                      <a:pt x="81676" y="145511"/>
                      <a:pt x="75529" y="154303"/>
                    </a:cubicBezTo>
                    <a:cubicBezTo>
                      <a:pt x="66747" y="168371"/>
                      <a:pt x="54451" y="152545"/>
                      <a:pt x="43912" y="130564"/>
                    </a:cubicBezTo>
                    <a:lnTo>
                      <a:pt x="43912" y="130564"/>
                    </a:lnTo>
                    <a:cubicBezTo>
                      <a:pt x="30738" y="97153"/>
                      <a:pt x="879" y="107704"/>
                      <a:pt x="0" y="120013"/>
                    </a:cubicBezTo>
                    <a:cubicBezTo>
                      <a:pt x="0" y="128805"/>
                      <a:pt x="14052" y="143752"/>
                      <a:pt x="19321" y="150786"/>
                    </a:cubicBezTo>
                    <a:cubicBezTo>
                      <a:pt x="24591" y="156941"/>
                      <a:pt x="36886" y="200023"/>
                      <a:pt x="38643" y="207057"/>
                    </a:cubicBezTo>
                    <a:cubicBezTo>
                      <a:pt x="41278" y="222004"/>
                      <a:pt x="46547" y="227279"/>
                      <a:pt x="50938" y="236072"/>
                    </a:cubicBezTo>
                    <a:cubicBezTo>
                      <a:pt x="50938" y="238709"/>
                      <a:pt x="57964" y="259811"/>
                      <a:pt x="57964" y="261569"/>
                    </a:cubicBezTo>
                    <a:lnTo>
                      <a:pt x="35130" y="355647"/>
                    </a:lnTo>
                    <a:lnTo>
                      <a:pt x="136128" y="413676"/>
                    </a:lnTo>
                    <a:lnTo>
                      <a:pt x="136128" y="286188"/>
                    </a:lnTo>
                    <a:lnTo>
                      <a:pt x="210778" y="180680"/>
                    </a:lnTo>
                    <a:cubicBezTo>
                      <a:pt x="210778" y="180680"/>
                      <a:pt x="266107" y="95395"/>
                      <a:pt x="257325" y="80448"/>
                    </a:cubicBezTo>
                    <a:lnTo>
                      <a:pt x="256447" y="80448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9054F0C3-7A77-5B8D-4E55-E2529CDDF0F0}"/>
                  </a:ext>
                </a:extLst>
              </p:cNvPr>
              <p:cNvSpPr/>
              <p:nvPr/>
            </p:nvSpPr>
            <p:spPr>
              <a:xfrm>
                <a:off x="-7375516" y="5388583"/>
                <a:ext cx="206500" cy="450095"/>
              </a:xfrm>
              <a:custGeom>
                <a:avLst/>
                <a:gdLst>
                  <a:gd name="connsiteX0" fmla="*/ 206500 w 206500"/>
                  <a:gd name="connsiteY0" fmla="*/ 391467 h 450095"/>
                  <a:gd name="connsiteX1" fmla="*/ 189814 w 206500"/>
                  <a:gd name="connsiteY1" fmla="*/ 292114 h 450095"/>
                  <a:gd name="connsiteX2" fmla="*/ 173127 w 206500"/>
                  <a:gd name="connsiteY2" fmla="*/ 176056 h 450095"/>
                  <a:gd name="connsiteX3" fmla="*/ 167858 w 206500"/>
                  <a:gd name="connsiteY3" fmla="*/ 18674 h 450095"/>
                  <a:gd name="connsiteX4" fmla="*/ 28217 w 206500"/>
                  <a:gd name="connsiteY4" fmla="*/ 25707 h 450095"/>
                  <a:gd name="connsiteX5" fmla="*/ 35243 w 206500"/>
                  <a:gd name="connsiteY5" fmla="*/ 126819 h 450095"/>
                  <a:gd name="connsiteX6" fmla="*/ 10652 w 206500"/>
                  <a:gd name="connsiteY6" fmla="*/ 284201 h 450095"/>
                  <a:gd name="connsiteX7" fmla="*/ 10652 w 206500"/>
                  <a:gd name="connsiteY7" fmla="*/ 407293 h 450095"/>
                  <a:gd name="connsiteX8" fmla="*/ 174006 w 206500"/>
                  <a:gd name="connsiteY8" fmla="*/ 438066 h 450095"/>
                  <a:gd name="connsiteX9" fmla="*/ 206500 w 206500"/>
                  <a:gd name="connsiteY9" fmla="*/ 391467 h 450095"/>
                  <a:gd name="connsiteX10" fmla="*/ 206500 w 206500"/>
                  <a:gd name="connsiteY10" fmla="*/ 391467 h 450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6500" h="450095">
                    <a:moveTo>
                      <a:pt x="206500" y="391467"/>
                    </a:moveTo>
                    <a:cubicBezTo>
                      <a:pt x="206500" y="349264"/>
                      <a:pt x="189814" y="292114"/>
                      <a:pt x="189814" y="292114"/>
                    </a:cubicBezTo>
                    <a:cubicBezTo>
                      <a:pt x="189814" y="270134"/>
                      <a:pt x="173127" y="176056"/>
                      <a:pt x="173127" y="176056"/>
                    </a:cubicBezTo>
                    <a:lnTo>
                      <a:pt x="167858" y="18674"/>
                    </a:lnTo>
                    <a:cubicBezTo>
                      <a:pt x="138876" y="-7703"/>
                      <a:pt x="49295" y="-6824"/>
                      <a:pt x="28217" y="25707"/>
                    </a:cubicBezTo>
                    <a:cubicBezTo>
                      <a:pt x="18557" y="40654"/>
                      <a:pt x="35243" y="126819"/>
                      <a:pt x="35243" y="126819"/>
                    </a:cubicBezTo>
                    <a:cubicBezTo>
                      <a:pt x="35243" y="126819"/>
                      <a:pt x="15922" y="234964"/>
                      <a:pt x="10652" y="284201"/>
                    </a:cubicBezTo>
                    <a:cubicBezTo>
                      <a:pt x="5383" y="334317"/>
                      <a:pt x="-10425" y="343110"/>
                      <a:pt x="10652" y="407293"/>
                    </a:cubicBezTo>
                    <a:cubicBezTo>
                      <a:pt x="31730" y="471477"/>
                      <a:pt x="160832" y="446859"/>
                      <a:pt x="174006" y="438066"/>
                    </a:cubicBezTo>
                    <a:cubicBezTo>
                      <a:pt x="189814" y="428395"/>
                      <a:pt x="206500" y="416965"/>
                      <a:pt x="206500" y="391467"/>
                    </a:cubicBezTo>
                    <a:lnTo>
                      <a:pt x="206500" y="3914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1579C032-5F0E-950E-930E-51AFE6D327FE}"/>
                  </a:ext>
                </a:extLst>
              </p:cNvPr>
              <p:cNvSpPr/>
              <p:nvPr/>
            </p:nvSpPr>
            <p:spPr>
              <a:xfrm>
                <a:off x="-7588816" y="2618337"/>
                <a:ext cx="69381" cy="130126"/>
              </a:xfrm>
              <a:custGeom>
                <a:avLst/>
                <a:gdLst>
                  <a:gd name="connsiteX0" fmla="*/ 879 w 69381"/>
                  <a:gd name="connsiteY0" fmla="*/ 65063 h 130126"/>
                  <a:gd name="connsiteX1" fmla="*/ 35130 w 69381"/>
                  <a:gd name="connsiteY1" fmla="*/ 130126 h 130126"/>
                  <a:gd name="connsiteX2" fmla="*/ 69381 w 69381"/>
                  <a:gd name="connsiteY2" fmla="*/ 65063 h 130126"/>
                  <a:gd name="connsiteX3" fmla="*/ 66747 w 69381"/>
                  <a:gd name="connsiteY3" fmla="*/ 41324 h 130126"/>
                  <a:gd name="connsiteX4" fmla="*/ 57964 w 69381"/>
                  <a:gd name="connsiteY4" fmla="*/ 17585 h 130126"/>
                  <a:gd name="connsiteX5" fmla="*/ 34252 w 69381"/>
                  <a:gd name="connsiteY5" fmla="*/ 0 h 130126"/>
                  <a:gd name="connsiteX6" fmla="*/ 2635 w 69381"/>
                  <a:gd name="connsiteY6" fmla="*/ 38686 h 130126"/>
                  <a:gd name="connsiteX7" fmla="*/ 0 w 69381"/>
                  <a:gd name="connsiteY7" fmla="*/ 53633 h 130126"/>
                  <a:gd name="connsiteX8" fmla="*/ 0 w 69381"/>
                  <a:gd name="connsiteY8" fmla="*/ 64184 h 130126"/>
                  <a:gd name="connsiteX9" fmla="*/ 0 w 69381"/>
                  <a:gd name="connsiteY9" fmla="*/ 64184 h 130126"/>
                  <a:gd name="connsiteX10" fmla="*/ 23713 w 69381"/>
                  <a:gd name="connsiteY10" fmla="*/ 50995 h 130126"/>
                  <a:gd name="connsiteX11" fmla="*/ 23713 w 69381"/>
                  <a:gd name="connsiteY11" fmla="*/ 37807 h 130126"/>
                  <a:gd name="connsiteX12" fmla="*/ 34252 w 69381"/>
                  <a:gd name="connsiteY12" fmla="*/ 14947 h 130126"/>
                  <a:gd name="connsiteX13" fmla="*/ 42156 w 69381"/>
                  <a:gd name="connsiteY13" fmla="*/ 25498 h 130126"/>
                  <a:gd name="connsiteX14" fmla="*/ 45669 w 69381"/>
                  <a:gd name="connsiteY14" fmla="*/ 44841 h 130126"/>
                  <a:gd name="connsiteX15" fmla="*/ 45669 w 69381"/>
                  <a:gd name="connsiteY15" fmla="*/ 50995 h 130126"/>
                  <a:gd name="connsiteX16" fmla="*/ 34252 w 69381"/>
                  <a:gd name="connsiteY16" fmla="*/ 86165 h 130126"/>
                  <a:gd name="connsiteX17" fmla="*/ 22835 w 69381"/>
                  <a:gd name="connsiteY17" fmla="*/ 51875 h 130126"/>
                  <a:gd name="connsiteX18" fmla="*/ 22835 w 69381"/>
                  <a:gd name="connsiteY18" fmla="*/ 51875 h 130126"/>
                  <a:gd name="connsiteX19" fmla="*/ 22835 w 69381"/>
                  <a:gd name="connsiteY19" fmla="*/ 51875 h 130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9381" h="130126">
                    <a:moveTo>
                      <a:pt x="879" y="65063"/>
                    </a:moveTo>
                    <a:cubicBezTo>
                      <a:pt x="879" y="101112"/>
                      <a:pt x="15808" y="130126"/>
                      <a:pt x="35130" y="130126"/>
                    </a:cubicBezTo>
                    <a:cubicBezTo>
                      <a:pt x="54451" y="130126"/>
                      <a:pt x="69381" y="101112"/>
                      <a:pt x="69381" y="65063"/>
                    </a:cubicBezTo>
                    <a:cubicBezTo>
                      <a:pt x="69381" y="29015"/>
                      <a:pt x="69381" y="49237"/>
                      <a:pt x="66747" y="41324"/>
                    </a:cubicBezTo>
                    <a:cubicBezTo>
                      <a:pt x="64990" y="32532"/>
                      <a:pt x="62356" y="24618"/>
                      <a:pt x="57964" y="17585"/>
                    </a:cubicBezTo>
                    <a:cubicBezTo>
                      <a:pt x="51817" y="7034"/>
                      <a:pt x="43912" y="0"/>
                      <a:pt x="34252" y="0"/>
                    </a:cubicBezTo>
                    <a:cubicBezTo>
                      <a:pt x="20199" y="0"/>
                      <a:pt x="7904" y="15826"/>
                      <a:pt x="2635" y="38686"/>
                    </a:cubicBezTo>
                    <a:cubicBezTo>
                      <a:pt x="2635" y="43082"/>
                      <a:pt x="879" y="48358"/>
                      <a:pt x="0" y="53633"/>
                    </a:cubicBezTo>
                    <a:lnTo>
                      <a:pt x="0" y="64184"/>
                    </a:lnTo>
                    <a:lnTo>
                      <a:pt x="0" y="64184"/>
                    </a:lnTo>
                    <a:close/>
                    <a:moveTo>
                      <a:pt x="23713" y="50995"/>
                    </a:moveTo>
                    <a:lnTo>
                      <a:pt x="23713" y="37807"/>
                    </a:lnTo>
                    <a:cubicBezTo>
                      <a:pt x="25469" y="24618"/>
                      <a:pt x="29860" y="14947"/>
                      <a:pt x="34252" y="14947"/>
                    </a:cubicBezTo>
                    <a:cubicBezTo>
                      <a:pt x="38643" y="14947"/>
                      <a:pt x="40399" y="19343"/>
                      <a:pt x="42156" y="25498"/>
                    </a:cubicBezTo>
                    <a:cubicBezTo>
                      <a:pt x="43912" y="30773"/>
                      <a:pt x="44791" y="36928"/>
                      <a:pt x="45669" y="44841"/>
                    </a:cubicBezTo>
                    <a:lnTo>
                      <a:pt x="45669" y="50995"/>
                    </a:lnTo>
                    <a:cubicBezTo>
                      <a:pt x="45669" y="70338"/>
                      <a:pt x="40399" y="86165"/>
                      <a:pt x="34252" y="86165"/>
                    </a:cubicBezTo>
                    <a:cubicBezTo>
                      <a:pt x="28104" y="86165"/>
                      <a:pt x="22835" y="71218"/>
                      <a:pt x="22835" y="51875"/>
                    </a:cubicBezTo>
                    <a:lnTo>
                      <a:pt x="22835" y="51875"/>
                    </a:lnTo>
                    <a:cubicBezTo>
                      <a:pt x="22835" y="51875"/>
                      <a:pt x="22835" y="51875"/>
                      <a:pt x="22835" y="51875"/>
                    </a:cubicBezTo>
                    <a:close/>
                  </a:path>
                </a:pathLst>
              </a:custGeom>
              <a:solidFill>
                <a:srgbClr val="FA69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CE9B141B-8BBA-3BCA-AF84-26874AF925A7}"/>
                  </a:ext>
                </a:extLst>
              </p:cNvPr>
              <p:cNvSpPr/>
              <p:nvPr/>
            </p:nvSpPr>
            <p:spPr>
              <a:xfrm>
                <a:off x="-7815402" y="2831111"/>
                <a:ext cx="555562" cy="763172"/>
              </a:xfrm>
              <a:custGeom>
                <a:avLst/>
                <a:gdLst>
                  <a:gd name="connsiteX0" fmla="*/ 410139 w 555562"/>
                  <a:gd name="connsiteY0" fmla="*/ 879 h 763172"/>
                  <a:gd name="connsiteX1" fmla="*/ 137884 w 555562"/>
                  <a:gd name="connsiteY1" fmla="*/ 22860 h 763172"/>
                  <a:gd name="connsiteX2" fmla="*/ 118563 w 555562"/>
                  <a:gd name="connsiteY2" fmla="*/ 87044 h 763172"/>
                  <a:gd name="connsiteX3" fmla="*/ 0 w 555562"/>
                  <a:gd name="connsiteY3" fmla="*/ 750863 h 763172"/>
                  <a:gd name="connsiteX4" fmla="*/ 33373 w 555562"/>
                  <a:gd name="connsiteY4" fmla="*/ 763172 h 763172"/>
                  <a:gd name="connsiteX5" fmla="*/ 186188 w 555562"/>
                  <a:gd name="connsiteY5" fmla="*/ 730641 h 763172"/>
                  <a:gd name="connsiteX6" fmla="*/ 555049 w 555562"/>
                  <a:gd name="connsiteY6" fmla="*/ 684041 h 763172"/>
                  <a:gd name="connsiteX7" fmla="*/ 410139 w 555562"/>
                  <a:gd name="connsiteY7" fmla="*/ 0 h 763172"/>
                  <a:gd name="connsiteX8" fmla="*/ 410139 w 555562"/>
                  <a:gd name="connsiteY8" fmla="*/ 0 h 763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5562" h="763172">
                    <a:moveTo>
                      <a:pt x="410139" y="879"/>
                    </a:moveTo>
                    <a:cubicBezTo>
                      <a:pt x="268742" y="109025"/>
                      <a:pt x="137884" y="22860"/>
                      <a:pt x="137884" y="22860"/>
                    </a:cubicBezTo>
                    <a:lnTo>
                      <a:pt x="118563" y="87044"/>
                    </a:lnTo>
                    <a:cubicBezTo>
                      <a:pt x="112415" y="118696"/>
                      <a:pt x="8782" y="708660"/>
                      <a:pt x="0" y="750863"/>
                    </a:cubicBezTo>
                    <a:cubicBezTo>
                      <a:pt x="7026" y="757897"/>
                      <a:pt x="19321" y="762293"/>
                      <a:pt x="33373" y="763172"/>
                    </a:cubicBezTo>
                    <a:cubicBezTo>
                      <a:pt x="104511" y="759655"/>
                      <a:pt x="138762" y="751742"/>
                      <a:pt x="186188" y="730641"/>
                    </a:cubicBezTo>
                    <a:cubicBezTo>
                      <a:pt x="320559" y="673491"/>
                      <a:pt x="555049" y="684041"/>
                      <a:pt x="555049" y="684041"/>
                    </a:cubicBezTo>
                    <a:cubicBezTo>
                      <a:pt x="565588" y="366639"/>
                      <a:pt x="410139" y="0"/>
                      <a:pt x="410139" y="0"/>
                    </a:cubicBezTo>
                    <a:lnTo>
                      <a:pt x="410139" y="0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02A6940E-F248-4551-56BC-D36172F31A94}"/>
                  </a:ext>
                </a:extLst>
              </p:cNvPr>
              <p:cNvSpPr/>
              <p:nvPr/>
            </p:nvSpPr>
            <p:spPr>
              <a:xfrm>
                <a:off x="-7418436" y="2824077"/>
                <a:ext cx="710497" cy="1381271"/>
              </a:xfrm>
              <a:custGeom>
                <a:avLst/>
                <a:gdLst>
                  <a:gd name="connsiteX0" fmla="*/ 620918 w 710497"/>
                  <a:gd name="connsiteY0" fmla="*/ 236513 h 1381271"/>
                  <a:gd name="connsiteX1" fmla="*/ 519920 w 710497"/>
                  <a:gd name="connsiteY1" fmla="*/ 178484 h 1381271"/>
                  <a:gd name="connsiteX2" fmla="*/ 513772 w 710497"/>
                  <a:gd name="connsiteY2" fmla="*/ 174967 h 1381271"/>
                  <a:gd name="connsiteX3" fmla="*/ 456686 w 710497"/>
                  <a:gd name="connsiteY3" fmla="*/ 315644 h 1381271"/>
                  <a:gd name="connsiteX4" fmla="*/ 228343 w 710497"/>
                  <a:gd name="connsiteY4" fmla="*/ 68580 h 1381271"/>
                  <a:gd name="connsiteX5" fmla="*/ 0 w 710497"/>
                  <a:gd name="connsiteY5" fmla="*/ 0 h 1381271"/>
                  <a:gd name="connsiteX6" fmla="*/ 79920 w 710497"/>
                  <a:gd name="connsiteY6" fmla="*/ 243547 h 1381271"/>
                  <a:gd name="connsiteX7" fmla="*/ 142275 w 710497"/>
                  <a:gd name="connsiteY7" fmla="*/ 617220 h 1381271"/>
                  <a:gd name="connsiteX8" fmla="*/ 142275 w 710497"/>
                  <a:gd name="connsiteY8" fmla="*/ 691955 h 1381271"/>
                  <a:gd name="connsiteX9" fmla="*/ 212535 w 710497"/>
                  <a:gd name="connsiteY9" fmla="*/ 1381271 h 1381271"/>
                  <a:gd name="connsiteX10" fmla="*/ 387305 w 710497"/>
                  <a:gd name="connsiteY10" fmla="*/ 1381271 h 1381271"/>
                  <a:gd name="connsiteX11" fmla="*/ 341636 w 710497"/>
                  <a:gd name="connsiteY11" fmla="*/ 711298 h 1381271"/>
                  <a:gd name="connsiteX12" fmla="*/ 310020 w 710497"/>
                  <a:gd name="connsiteY12" fmla="*/ 519625 h 1381271"/>
                  <a:gd name="connsiteX13" fmla="*/ 310020 w 710497"/>
                  <a:gd name="connsiteY13" fmla="*/ 521384 h 1381271"/>
                  <a:gd name="connsiteX14" fmla="*/ 519920 w 710497"/>
                  <a:gd name="connsiteY14" fmla="*/ 616341 h 1381271"/>
                  <a:gd name="connsiteX15" fmla="*/ 630578 w 710497"/>
                  <a:gd name="connsiteY15" fmla="*/ 559191 h 1381271"/>
                  <a:gd name="connsiteX16" fmla="*/ 710498 w 710497"/>
                  <a:gd name="connsiteY16" fmla="*/ 289267 h 1381271"/>
                  <a:gd name="connsiteX17" fmla="*/ 620039 w 710497"/>
                  <a:gd name="connsiteY17" fmla="*/ 237392 h 1381271"/>
                  <a:gd name="connsiteX18" fmla="*/ 620918 w 710497"/>
                  <a:gd name="connsiteY18" fmla="*/ 237392 h 1381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10497" h="1381271">
                    <a:moveTo>
                      <a:pt x="620918" y="236513"/>
                    </a:moveTo>
                    <a:lnTo>
                      <a:pt x="519920" y="178484"/>
                    </a:lnTo>
                    <a:lnTo>
                      <a:pt x="513772" y="174967"/>
                    </a:lnTo>
                    <a:lnTo>
                      <a:pt x="456686" y="315644"/>
                    </a:lnTo>
                    <a:cubicBezTo>
                      <a:pt x="456686" y="315644"/>
                      <a:pt x="285429" y="102870"/>
                      <a:pt x="228343" y="68580"/>
                    </a:cubicBezTo>
                    <a:cubicBezTo>
                      <a:pt x="171257" y="34290"/>
                      <a:pt x="0" y="0"/>
                      <a:pt x="0" y="0"/>
                    </a:cubicBezTo>
                    <a:lnTo>
                      <a:pt x="79920" y="243547"/>
                    </a:lnTo>
                    <a:cubicBezTo>
                      <a:pt x="79920" y="243547"/>
                      <a:pt x="138762" y="350813"/>
                      <a:pt x="142275" y="617220"/>
                    </a:cubicBezTo>
                    <a:lnTo>
                      <a:pt x="142275" y="691955"/>
                    </a:lnTo>
                    <a:cubicBezTo>
                      <a:pt x="145788" y="958361"/>
                      <a:pt x="212535" y="1381271"/>
                      <a:pt x="212535" y="1381271"/>
                    </a:cubicBezTo>
                    <a:lnTo>
                      <a:pt x="387305" y="1381271"/>
                    </a:lnTo>
                    <a:cubicBezTo>
                      <a:pt x="387305" y="1381271"/>
                      <a:pt x="349540" y="779878"/>
                      <a:pt x="341636" y="711298"/>
                    </a:cubicBezTo>
                    <a:cubicBezTo>
                      <a:pt x="337245" y="675249"/>
                      <a:pt x="323193" y="590843"/>
                      <a:pt x="310020" y="519625"/>
                    </a:cubicBezTo>
                    <a:lnTo>
                      <a:pt x="310020" y="521384"/>
                    </a:lnTo>
                    <a:cubicBezTo>
                      <a:pt x="310020" y="521384"/>
                      <a:pt x="459321" y="612824"/>
                      <a:pt x="519920" y="616341"/>
                    </a:cubicBezTo>
                    <a:cubicBezTo>
                      <a:pt x="580518" y="619858"/>
                      <a:pt x="630578" y="559191"/>
                      <a:pt x="630578" y="559191"/>
                    </a:cubicBezTo>
                    <a:lnTo>
                      <a:pt x="710498" y="289267"/>
                    </a:lnTo>
                    <a:lnTo>
                      <a:pt x="620039" y="237392"/>
                    </a:lnTo>
                    <a:lnTo>
                      <a:pt x="620918" y="237392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A61FB3AA-8EA0-8E21-2A3B-11147C567199}"/>
                  </a:ext>
                </a:extLst>
              </p:cNvPr>
              <p:cNvSpPr/>
              <p:nvPr/>
            </p:nvSpPr>
            <p:spPr>
              <a:xfrm>
                <a:off x="-8201469" y="2846058"/>
                <a:ext cx="533611" cy="1359290"/>
              </a:xfrm>
              <a:custGeom>
                <a:avLst/>
                <a:gdLst>
                  <a:gd name="connsiteX0" fmla="*/ 521316 w 533611"/>
                  <a:gd name="connsiteY0" fmla="*/ 0 h 1359290"/>
                  <a:gd name="connsiteX1" fmla="*/ 258721 w 533611"/>
                  <a:gd name="connsiteY1" fmla="*/ 133643 h 1359290"/>
                  <a:gd name="connsiteX2" fmla="*/ 518 w 533611"/>
                  <a:gd name="connsiteY2" fmla="*/ 749984 h 1359290"/>
                  <a:gd name="connsiteX3" fmla="*/ 256087 w 533611"/>
                  <a:gd name="connsiteY3" fmla="*/ 993531 h 1359290"/>
                  <a:gd name="connsiteX4" fmla="*/ 216566 w 533611"/>
                  <a:gd name="connsiteY4" fmla="*/ 1317088 h 1359290"/>
                  <a:gd name="connsiteX5" fmla="*/ 216566 w 533611"/>
                  <a:gd name="connsiteY5" fmla="*/ 1359291 h 1359290"/>
                  <a:gd name="connsiteX6" fmla="*/ 350937 w 533611"/>
                  <a:gd name="connsiteY6" fmla="*/ 1355774 h 1359290"/>
                  <a:gd name="connsiteX7" fmla="*/ 533611 w 533611"/>
                  <a:gd name="connsiteY7" fmla="*/ 192551 h 1359290"/>
                  <a:gd name="connsiteX8" fmla="*/ 520438 w 533611"/>
                  <a:gd name="connsiteY8" fmla="*/ 879 h 1359290"/>
                  <a:gd name="connsiteX9" fmla="*/ 521316 w 533611"/>
                  <a:gd name="connsiteY9" fmla="*/ 879 h 1359290"/>
                  <a:gd name="connsiteX10" fmla="*/ 255208 w 533611"/>
                  <a:gd name="connsiteY10" fmla="*/ 669974 h 1359290"/>
                  <a:gd name="connsiteX11" fmla="*/ 305268 w 533611"/>
                  <a:gd name="connsiteY11" fmla="*/ 585568 h 1359290"/>
                  <a:gd name="connsiteX12" fmla="*/ 291216 w 533611"/>
                  <a:gd name="connsiteY12" fmla="*/ 698988 h 1359290"/>
                  <a:gd name="connsiteX13" fmla="*/ 254330 w 533611"/>
                  <a:gd name="connsiteY13" fmla="*/ 669974 h 1359290"/>
                  <a:gd name="connsiteX14" fmla="*/ 254330 w 533611"/>
                  <a:gd name="connsiteY14" fmla="*/ 669974 h 135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611" h="1359290">
                    <a:moveTo>
                      <a:pt x="521316" y="0"/>
                    </a:moveTo>
                    <a:cubicBezTo>
                      <a:pt x="521316" y="0"/>
                      <a:pt x="327224" y="60667"/>
                      <a:pt x="258721" y="133643"/>
                    </a:cubicBezTo>
                    <a:cubicBezTo>
                      <a:pt x="190219" y="205740"/>
                      <a:pt x="16327" y="633046"/>
                      <a:pt x="518" y="749984"/>
                    </a:cubicBezTo>
                    <a:cubicBezTo>
                      <a:pt x="-13534" y="854612"/>
                      <a:pt x="263113" y="997048"/>
                      <a:pt x="256087" y="993531"/>
                    </a:cubicBezTo>
                    <a:lnTo>
                      <a:pt x="216566" y="1317088"/>
                    </a:lnTo>
                    <a:lnTo>
                      <a:pt x="216566" y="1359291"/>
                    </a:lnTo>
                    <a:lnTo>
                      <a:pt x="350937" y="1355774"/>
                    </a:lnTo>
                    <a:cubicBezTo>
                      <a:pt x="350937" y="1355774"/>
                      <a:pt x="532733" y="281354"/>
                      <a:pt x="533611" y="192551"/>
                    </a:cubicBezTo>
                    <a:cubicBezTo>
                      <a:pt x="533611" y="82648"/>
                      <a:pt x="520438" y="879"/>
                      <a:pt x="520438" y="879"/>
                    </a:cubicBezTo>
                    <a:lnTo>
                      <a:pt x="521316" y="879"/>
                    </a:lnTo>
                    <a:close/>
                    <a:moveTo>
                      <a:pt x="255208" y="669974"/>
                    </a:moveTo>
                    <a:lnTo>
                      <a:pt x="305268" y="585568"/>
                    </a:lnTo>
                    <a:lnTo>
                      <a:pt x="291216" y="698988"/>
                    </a:lnTo>
                    <a:lnTo>
                      <a:pt x="254330" y="669974"/>
                    </a:lnTo>
                    <a:lnTo>
                      <a:pt x="254330" y="669974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32DCFB66-F274-BFF9-847B-49368EB3EE17}"/>
                  </a:ext>
                </a:extLst>
              </p:cNvPr>
              <p:cNvSpPr/>
              <p:nvPr/>
            </p:nvSpPr>
            <p:spPr>
              <a:xfrm>
                <a:off x="-7863705" y="3677810"/>
                <a:ext cx="140518" cy="184638"/>
              </a:xfrm>
              <a:custGeom>
                <a:avLst/>
                <a:gdLst>
                  <a:gd name="connsiteX0" fmla="*/ 37764 w 140518"/>
                  <a:gd name="connsiteY0" fmla="*/ 0 h 184638"/>
                  <a:gd name="connsiteX1" fmla="*/ 0 w 140518"/>
                  <a:gd name="connsiteY1" fmla="*/ 119575 h 184638"/>
                  <a:gd name="connsiteX2" fmla="*/ 53573 w 140518"/>
                  <a:gd name="connsiteY2" fmla="*/ 121334 h 184638"/>
                  <a:gd name="connsiteX3" fmla="*/ 69381 w 140518"/>
                  <a:gd name="connsiteY3" fmla="*/ 154745 h 184638"/>
                  <a:gd name="connsiteX4" fmla="*/ 94850 w 140518"/>
                  <a:gd name="connsiteY4" fmla="*/ 184638 h 184638"/>
                  <a:gd name="connsiteX5" fmla="*/ 140519 w 140518"/>
                  <a:gd name="connsiteY5" fmla="*/ 34290 h 184638"/>
                  <a:gd name="connsiteX6" fmla="*/ 38643 w 140518"/>
                  <a:gd name="connsiteY6" fmla="*/ 0 h 184638"/>
                  <a:gd name="connsiteX7" fmla="*/ 37764 w 140518"/>
                  <a:gd name="connsiteY7" fmla="*/ 0 h 18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518" h="184638">
                    <a:moveTo>
                      <a:pt x="37764" y="0"/>
                    </a:moveTo>
                    <a:lnTo>
                      <a:pt x="0" y="119575"/>
                    </a:lnTo>
                    <a:cubicBezTo>
                      <a:pt x="0" y="119575"/>
                      <a:pt x="41278" y="117817"/>
                      <a:pt x="53573" y="121334"/>
                    </a:cubicBezTo>
                    <a:cubicBezTo>
                      <a:pt x="65868" y="124851"/>
                      <a:pt x="61477" y="141556"/>
                      <a:pt x="69381" y="154745"/>
                    </a:cubicBezTo>
                    <a:cubicBezTo>
                      <a:pt x="77285" y="167933"/>
                      <a:pt x="94850" y="184638"/>
                      <a:pt x="94850" y="184638"/>
                    </a:cubicBezTo>
                    <a:cubicBezTo>
                      <a:pt x="119441" y="133643"/>
                      <a:pt x="138762" y="83527"/>
                      <a:pt x="140519" y="34290"/>
                    </a:cubicBezTo>
                    <a:lnTo>
                      <a:pt x="38643" y="0"/>
                    </a:lnTo>
                    <a:lnTo>
                      <a:pt x="37764" y="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AD703AA5-0839-29F0-1504-E75CBC881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8345EAFA-102C-D2AD-EC6A-90DC51E36C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59195" y="12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0FD36DDE-527C-18FC-AEF0-0C1823379F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01187" y="1293765"/>
            <a:ext cx="4339949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EF7A19F7-1140-2152-D24D-3FDE4981A1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59195" y="21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4C5DFA58-F9F2-A427-5B4C-38D6E3D3F5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01187" y="2193765"/>
            <a:ext cx="4339949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1" name="Text Placeholder 19">
            <a:extLst>
              <a:ext uri="{FF2B5EF4-FFF2-40B4-BE49-F238E27FC236}">
                <a16:creationId xmlns:a16="http://schemas.microsoft.com/office/drawing/2014/main" id="{2197A31F-E09C-EBD7-C68B-1FE7303623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59195" y="30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2" name="Text Placeholder 21">
            <a:extLst>
              <a:ext uri="{FF2B5EF4-FFF2-40B4-BE49-F238E27FC236}">
                <a16:creationId xmlns:a16="http://schemas.microsoft.com/office/drawing/2014/main" id="{A88DA719-48BD-6500-83BD-1CFEECBC74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01187" y="3093765"/>
            <a:ext cx="4339950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3" name="Text Placeholder 19">
            <a:extLst>
              <a:ext uri="{FF2B5EF4-FFF2-40B4-BE49-F238E27FC236}">
                <a16:creationId xmlns:a16="http://schemas.microsoft.com/office/drawing/2014/main" id="{0BDBA34A-420E-FCDF-E993-43EAF953BD8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59195" y="39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4" name="Text Placeholder 21">
            <a:extLst>
              <a:ext uri="{FF2B5EF4-FFF2-40B4-BE49-F238E27FC236}">
                <a16:creationId xmlns:a16="http://schemas.microsoft.com/office/drawing/2014/main" id="{919D5AF6-FFD1-126E-C4F6-E0B953F67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01186" y="3993765"/>
            <a:ext cx="4339950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5" name="Text Placeholder 19">
            <a:extLst>
              <a:ext uri="{FF2B5EF4-FFF2-40B4-BE49-F238E27FC236}">
                <a16:creationId xmlns:a16="http://schemas.microsoft.com/office/drawing/2014/main" id="{EDCC8F9C-2AF0-4930-2017-BF0F9C6C34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59195" y="48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6" name="Text Placeholder 21">
            <a:extLst>
              <a:ext uri="{FF2B5EF4-FFF2-40B4-BE49-F238E27FC236}">
                <a16:creationId xmlns:a16="http://schemas.microsoft.com/office/drawing/2014/main" id="{D08BFB44-5E2A-3717-3700-1F0D2253A0A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01184" y="4893765"/>
            <a:ext cx="433995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7" name="Text Placeholder 19">
            <a:extLst>
              <a:ext uri="{FF2B5EF4-FFF2-40B4-BE49-F238E27FC236}">
                <a16:creationId xmlns:a16="http://schemas.microsoft.com/office/drawing/2014/main" id="{625F2E87-D4E2-D2D8-1815-24AE8598720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59195" y="5793765"/>
            <a:ext cx="825133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38" name="Text Placeholder 21">
            <a:extLst>
              <a:ext uri="{FF2B5EF4-FFF2-40B4-BE49-F238E27FC236}">
                <a16:creationId xmlns:a16="http://schemas.microsoft.com/office/drawing/2014/main" id="{49A577CD-B7D4-FC7D-628A-1B32096538B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01184" y="5793765"/>
            <a:ext cx="4339951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156477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7537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660CB3EB-D911-068E-EFD8-9CAF76591B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D08538-F249-ACC9-C269-6FB8F093FC1D}"/>
              </a:ext>
            </a:extLst>
          </p:cNvPr>
          <p:cNvSpPr txBox="1"/>
          <p:nvPr userDrawn="1"/>
        </p:nvSpPr>
        <p:spPr>
          <a:xfrm>
            <a:off x="562131" y="661815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kern="100" spc="-30"/>
          </a:p>
        </p:txBody>
      </p:sp>
    </p:spTree>
    <p:extLst>
      <p:ext uri="{BB962C8B-B14F-4D97-AF65-F5344CB8AC3E}">
        <p14:creationId xmlns:p14="http://schemas.microsoft.com/office/powerpoint/2010/main" val="135892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71201" y="1595671"/>
            <a:ext cx="5363719" cy="684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300"/>
              </a:spcBef>
              <a:defRPr sz="1600" b="1"/>
            </a:lvl1pPr>
            <a:lvl2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093464-3095-F78A-B2E2-863308B11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1201" y="2309563"/>
            <a:ext cx="2556000" cy="295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A55CB9-BA61-9A40-7BB0-B8BD345AD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8920" y="2309563"/>
            <a:ext cx="2556000" cy="3046208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B6113062-1D91-EC7D-6945-C25F22130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45DEFE8B-4606-FC48-F916-C19283E5F1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5" y="1595671"/>
            <a:ext cx="5339472" cy="684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300"/>
              </a:spcBef>
              <a:defRPr sz="1600" b="1"/>
            </a:lvl1pPr>
            <a:lvl2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B35C85BB-8C0F-03CB-68D4-2B200A528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87375" y="2309563"/>
            <a:ext cx="2556000" cy="295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27D3E646-7529-805E-C883-B8C09B6A5EF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70847" y="2309563"/>
            <a:ext cx="2556000" cy="29520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2FD32158-CA7A-863A-1719-88BE9C70C5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868865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87375" y="1554108"/>
            <a:ext cx="3492000" cy="540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093464-3095-F78A-B2E2-863308B11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2094108"/>
            <a:ext cx="349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A55CB9-BA61-9A40-7BB0-B8BD345AD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7375" y="4104000"/>
            <a:ext cx="3492000" cy="183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7" name="Name">
            <a:extLst>
              <a:ext uri="{FF2B5EF4-FFF2-40B4-BE49-F238E27FC236}">
                <a16:creationId xmlns:a16="http://schemas.microsoft.com/office/drawing/2014/main" id="{87D54A67-96F9-8691-B724-52896F51B5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9144" y="1554108"/>
            <a:ext cx="3492000" cy="540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58" name="Picture Placeholder 16">
            <a:extLst>
              <a:ext uri="{FF2B5EF4-FFF2-40B4-BE49-F238E27FC236}">
                <a16:creationId xmlns:a16="http://schemas.microsoft.com/office/drawing/2014/main" id="{C23838DB-C9C8-8D7E-C987-8EC962FBF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59144" y="2094108"/>
            <a:ext cx="349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5B706369-B81D-4A5C-BEF1-A0BC15B643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59144" y="4104000"/>
            <a:ext cx="3492000" cy="183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Name">
            <a:extLst>
              <a:ext uri="{FF2B5EF4-FFF2-40B4-BE49-F238E27FC236}">
                <a16:creationId xmlns:a16="http://schemas.microsoft.com/office/drawing/2014/main" id="{5F2A3F5B-C07A-B1D0-5E4B-C6948BAD8C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9137" y="1562880"/>
            <a:ext cx="3492000" cy="540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F3CF9A67-D10C-4D4B-5C00-7D932A04E8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49137" y="2102880"/>
            <a:ext cx="349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E929FF09-CFC1-C80B-2197-2C857D9BC02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49137" y="4112772"/>
            <a:ext cx="3492000" cy="183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C7D52EC-77FE-52B8-8520-5A955E0C0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7BE143D1-09C8-EA15-4F7A-26150B4E44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26049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87375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093464-3095-F78A-B2E2-863308B11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A55CB9-BA61-9A40-7BB0-B8BD345AD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7375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7" name="Name">
            <a:extLst>
              <a:ext uri="{FF2B5EF4-FFF2-40B4-BE49-F238E27FC236}">
                <a16:creationId xmlns:a16="http://schemas.microsoft.com/office/drawing/2014/main" id="{87D54A67-96F9-8691-B724-52896F51B5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0000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58" name="Picture Placeholder 16">
            <a:extLst>
              <a:ext uri="{FF2B5EF4-FFF2-40B4-BE49-F238E27FC236}">
                <a16:creationId xmlns:a16="http://schemas.microsoft.com/office/drawing/2014/main" id="{C23838DB-C9C8-8D7E-C987-8EC962FBF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420000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5B706369-B81D-4A5C-BEF1-A0BC15B643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0000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Name">
            <a:extLst>
              <a:ext uri="{FF2B5EF4-FFF2-40B4-BE49-F238E27FC236}">
                <a16:creationId xmlns:a16="http://schemas.microsoft.com/office/drawing/2014/main" id="{5F2A3F5B-C07A-B1D0-5E4B-C6948BAD8C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60000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F3CF9A67-D10C-4D4B-5C00-7D932A04E8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60000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E929FF09-CFC1-C80B-2197-2C857D9BC02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60000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8" name="Name">
            <a:extLst>
              <a:ext uri="{FF2B5EF4-FFF2-40B4-BE49-F238E27FC236}">
                <a16:creationId xmlns:a16="http://schemas.microsoft.com/office/drawing/2014/main" id="{9156FAE6-7FAF-8CD0-1115-28AE5D4844C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29138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6" name="Picture Placeholder 16">
            <a:extLst>
              <a:ext uri="{FF2B5EF4-FFF2-40B4-BE49-F238E27FC236}">
                <a16:creationId xmlns:a16="http://schemas.microsoft.com/office/drawing/2014/main" id="{2BFF0F51-1E18-4B8F-C7DE-8EC473064E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229138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A9561B99-449E-4769-2EAB-6972E0A58B7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9138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B86C685-A85C-4587-FE4A-757736055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D1668DF-F9A2-EB40-29FF-CD5C46B476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713457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hoto">
            <a:extLst>
              <a:ext uri="{FF2B5EF4-FFF2-40B4-BE49-F238E27FC236}">
                <a16:creationId xmlns:a16="http://schemas.microsoft.com/office/drawing/2014/main" id="{30F70C74-F4B1-3B37-BACC-5FBA204E66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87375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6" name="Name">
            <a:extLst>
              <a:ext uri="{FF2B5EF4-FFF2-40B4-BE49-F238E27FC236}">
                <a16:creationId xmlns:a16="http://schemas.microsoft.com/office/drawing/2014/main" id="{E2D042C5-ED9A-EC05-248E-E87546060C7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31301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7" name="Photo">
            <a:extLst>
              <a:ext uri="{FF2B5EF4-FFF2-40B4-BE49-F238E27FC236}">
                <a16:creationId xmlns:a16="http://schemas.microsoft.com/office/drawing/2014/main" id="{FE0DD311-5C76-EFD9-E991-566599DBB2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446030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8" name="Name">
            <a:extLst>
              <a:ext uri="{FF2B5EF4-FFF2-40B4-BE49-F238E27FC236}">
                <a16:creationId xmlns:a16="http://schemas.microsoft.com/office/drawing/2014/main" id="{E73BBE74-9646-680D-1DBF-33BE45459DE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389956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45" name="Photo">
            <a:extLst>
              <a:ext uri="{FF2B5EF4-FFF2-40B4-BE49-F238E27FC236}">
                <a16:creationId xmlns:a16="http://schemas.microsoft.com/office/drawing/2014/main" id="{888DB714-54BB-E8C0-DF50-84FC04A44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304685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46" name="Name">
            <a:extLst>
              <a:ext uri="{FF2B5EF4-FFF2-40B4-BE49-F238E27FC236}">
                <a16:creationId xmlns:a16="http://schemas.microsoft.com/office/drawing/2014/main" id="{DC3B0798-68A1-8C83-30B3-29D56F6FECB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48611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47" name="Photo">
            <a:extLst>
              <a:ext uri="{FF2B5EF4-FFF2-40B4-BE49-F238E27FC236}">
                <a16:creationId xmlns:a16="http://schemas.microsoft.com/office/drawing/2014/main" id="{E06E67B6-0656-D807-6E28-9E1F7E4A9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9163339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48" name="Name">
            <a:extLst>
              <a:ext uri="{FF2B5EF4-FFF2-40B4-BE49-F238E27FC236}">
                <a16:creationId xmlns:a16="http://schemas.microsoft.com/office/drawing/2014/main" id="{97857D0C-5A61-A54B-1983-CB8C04C9C1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07265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9" name="Photo">
            <a:extLst>
              <a:ext uri="{FF2B5EF4-FFF2-40B4-BE49-F238E27FC236}">
                <a16:creationId xmlns:a16="http://schemas.microsoft.com/office/drawing/2014/main" id="{60619E85-C7BC-AC62-E0EF-E7A8868F6A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1301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2ED548-03FB-1143-B808-174885F26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6" name="Photo">
            <a:extLst>
              <a:ext uri="{FF2B5EF4-FFF2-40B4-BE49-F238E27FC236}">
                <a16:creationId xmlns:a16="http://schemas.microsoft.com/office/drawing/2014/main" id="{C45B5D83-EBCF-229A-8186-414008C75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446030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D0AAB61C-76E9-BA00-F090-B18A31B5D6D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389956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8" name="Photo">
            <a:extLst>
              <a:ext uri="{FF2B5EF4-FFF2-40B4-BE49-F238E27FC236}">
                <a16:creationId xmlns:a16="http://schemas.microsoft.com/office/drawing/2014/main" id="{4CD638C7-8BAC-1C52-4147-F8DD7326EB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304685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9" name="Name">
            <a:extLst>
              <a:ext uri="{FF2B5EF4-FFF2-40B4-BE49-F238E27FC236}">
                <a16:creationId xmlns:a16="http://schemas.microsoft.com/office/drawing/2014/main" id="{68D2D78B-B3C8-94ED-AFE3-FE3764F68C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48611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BB127E9C-74D4-E090-044E-7CF9AD69FD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9163339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1" name="Name">
            <a:extLst>
              <a:ext uri="{FF2B5EF4-FFF2-40B4-BE49-F238E27FC236}">
                <a16:creationId xmlns:a16="http://schemas.microsoft.com/office/drawing/2014/main" id="{EBF8D7B9-BD0F-0A0B-C8A6-65373B57F8C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107265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7" name="Photo">
            <a:extLst>
              <a:ext uri="{FF2B5EF4-FFF2-40B4-BE49-F238E27FC236}">
                <a16:creationId xmlns:a16="http://schemas.microsoft.com/office/drawing/2014/main" id="{D461CB8D-D83D-B76A-8172-3537CA4274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87375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8" name="Name">
            <a:extLst>
              <a:ext uri="{FF2B5EF4-FFF2-40B4-BE49-F238E27FC236}">
                <a16:creationId xmlns:a16="http://schemas.microsoft.com/office/drawing/2014/main" id="{AA8FD8BB-F900-E1E6-DB2C-0160849D132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31301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9" name="Photo">
            <a:extLst>
              <a:ext uri="{FF2B5EF4-FFF2-40B4-BE49-F238E27FC236}">
                <a16:creationId xmlns:a16="http://schemas.microsoft.com/office/drawing/2014/main" id="{C87E4CFC-A76E-2A8F-D0A1-E760BDE95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446030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0" name="Name">
            <a:extLst>
              <a:ext uri="{FF2B5EF4-FFF2-40B4-BE49-F238E27FC236}">
                <a16:creationId xmlns:a16="http://schemas.microsoft.com/office/drawing/2014/main" id="{6CF9058C-A42F-27F3-09F4-F31C9AD6C98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389956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1" name="Photo">
            <a:extLst>
              <a:ext uri="{FF2B5EF4-FFF2-40B4-BE49-F238E27FC236}">
                <a16:creationId xmlns:a16="http://schemas.microsoft.com/office/drawing/2014/main" id="{7C0EDA73-0E19-E4F4-D3F1-73C92553BC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304685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2" name="Name">
            <a:extLst>
              <a:ext uri="{FF2B5EF4-FFF2-40B4-BE49-F238E27FC236}">
                <a16:creationId xmlns:a16="http://schemas.microsoft.com/office/drawing/2014/main" id="{1A84167B-B3D3-96E1-765B-35C83EFBFF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48611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3" name="Photo">
            <a:extLst>
              <a:ext uri="{FF2B5EF4-FFF2-40B4-BE49-F238E27FC236}">
                <a16:creationId xmlns:a16="http://schemas.microsoft.com/office/drawing/2014/main" id="{9E5055ED-F256-224E-18C4-07B094925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163339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4" name="Name">
            <a:extLst>
              <a:ext uri="{FF2B5EF4-FFF2-40B4-BE49-F238E27FC236}">
                <a16:creationId xmlns:a16="http://schemas.microsoft.com/office/drawing/2014/main" id="{79E999DE-A1D6-721F-191E-7117748E43A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07265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869FC9CC-9AD3-B763-D80A-1AF4EC82D0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348997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Media Placeholder 44">
            <a:extLst>
              <a:ext uri="{FF2B5EF4-FFF2-40B4-BE49-F238E27FC236}">
                <a16:creationId xmlns:a16="http://schemas.microsoft.com/office/drawing/2014/main" id="{FA45BFB3-67FB-D56E-F7EC-9EE4E9B366AA}"/>
              </a:ext>
            </a:extLst>
          </p:cNvPr>
          <p:cNvSpPr>
            <a:spLocks noGrp="1" noChangeAspect="1"/>
          </p:cNvSpPr>
          <p:nvPr>
            <p:ph type="media" sz="quarter" idx="11"/>
          </p:nvPr>
        </p:nvSpPr>
        <p:spPr>
          <a:xfrm>
            <a:off x="1776000" y="1217418"/>
            <a:ext cx="8640000" cy="4787924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F98ED0-8855-75DF-52D9-B89C69F739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6" name="footnotes">
            <a:extLst>
              <a:ext uri="{FF2B5EF4-FFF2-40B4-BE49-F238E27FC236}">
                <a16:creationId xmlns:a16="http://schemas.microsoft.com/office/drawing/2014/main" id="{AAE380B2-57C9-5B38-45AA-C1BD79F40A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819078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7385A6E-DBFF-E23C-3DAF-634AD6DD5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5" y="584200"/>
            <a:ext cx="2554800" cy="1235891"/>
          </a:xfrm>
        </p:spPr>
        <p:txBody>
          <a:bodyPr anchor="t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2786EEC0-3A40-806E-576A-3B4F5D0A01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975" y="1989000"/>
            <a:ext cx="2556000" cy="1440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</a:t>
            </a:r>
            <a:br>
              <a:rPr lang="en-GB"/>
            </a:br>
            <a:r>
              <a:rPr lang="en-GB"/>
              <a:t>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222A164-8778-FD85-D8FF-C09CD7826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2039" y="584201"/>
            <a:ext cx="6769100" cy="56895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notes">
            <a:extLst>
              <a:ext uri="{FF2B5EF4-FFF2-40B4-BE49-F238E27FC236}">
                <a16:creationId xmlns:a16="http://schemas.microsoft.com/office/drawing/2014/main" id="{C5EF6C21-06AC-BD1C-4EB9-BFD3B49F36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72039" y="6102000"/>
            <a:ext cx="535196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592961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06FBAE-7F72-CD65-3E5B-02A5627677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3" y="0"/>
            <a:ext cx="3648076" cy="6858000"/>
          </a:xfrm>
          <a:custGeom>
            <a:avLst/>
            <a:gdLst>
              <a:gd name="connsiteX0" fmla="*/ 7 w 8572495"/>
              <a:gd name="connsiteY0" fmla="*/ 0 h 6858000"/>
              <a:gd name="connsiteX1" fmla="*/ 8572495 w 8572495"/>
              <a:gd name="connsiteY1" fmla="*/ 1695829 h 6858000"/>
              <a:gd name="connsiteX2" fmla="*/ 8572495 w 8572495"/>
              <a:gd name="connsiteY2" fmla="*/ 5162172 h 6858000"/>
              <a:gd name="connsiteX3" fmla="*/ 7 w 8572495"/>
              <a:gd name="connsiteY3" fmla="*/ 6858000 h 6858000"/>
              <a:gd name="connsiteX4" fmla="*/ 0 w 8572495"/>
              <a:gd name="connsiteY4" fmla="*/ 6857999 h 6858000"/>
              <a:gd name="connsiteX5" fmla="*/ 0 w 8572495"/>
              <a:gd name="connsiteY5" fmla="*/ 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72495" h="6858000">
                <a:moveTo>
                  <a:pt x="7" y="0"/>
                </a:moveTo>
                <a:lnTo>
                  <a:pt x="8572495" y="1695829"/>
                </a:lnTo>
                <a:lnTo>
                  <a:pt x="8572495" y="5162172"/>
                </a:lnTo>
                <a:lnTo>
                  <a:pt x="7" y="6858000"/>
                </a:lnTo>
                <a:lnTo>
                  <a:pt x="0" y="6857999"/>
                </a:lnTo>
                <a:lnTo>
                  <a:pt x="0" y="1"/>
                </a:lnTo>
                <a:close/>
              </a:path>
            </a:pathLst>
          </a:custGeom>
          <a:solidFill>
            <a:srgbClr val="4CD300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tx1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tx1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tx1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tx1">
                    <a:alpha val="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5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107155E9-29C0-4F5A-3B1A-054E2EF7F8D8}"/>
              </a:ext>
            </a:extLst>
          </p:cNvPr>
          <p:cNvGrpSpPr/>
          <p:nvPr userDrawn="1"/>
        </p:nvGrpSpPr>
        <p:grpSpPr>
          <a:xfrm>
            <a:off x="0" y="-243000"/>
            <a:ext cx="8572500" cy="7344000"/>
            <a:chOff x="0" y="-243000"/>
            <a:chExt cx="8572500" cy="73440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746C574-DFF9-47C9-8465-E472708D92D7}"/>
                </a:ext>
              </a:extLst>
            </p:cNvPr>
            <p:cNvGrpSpPr/>
            <p:nvPr userDrawn="1"/>
          </p:nvGrpSpPr>
          <p:grpSpPr>
            <a:xfrm>
              <a:off x="0" y="-243000"/>
              <a:ext cx="8572500" cy="180000"/>
              <a:chOff x="0" y="-2043000"/>
              <a:chExt cx="8572500" cy="10142533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210EDD7-E90A-5B0B-7DA0-41F3DB6C50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50% Mark">
                <a:extLst>
                  <a:ext uri="{FF2B5EF4-FFF2-40B4-BE49-F238E27FC236}">
                    <a16:creationId xmlns:a16="http://schemas.microsoft.com/office/drawing/2014/main" id="{0907C615-7953-B6BC-B232-117A3505D7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100% Mark">
                <a:extLst>
                  <a:ext uri="{FF2B5EF4-FFF2-40B4-BE49-F238E27FC236}">
                    <a16:creationId xmlns:a16="http://schemas.microsoft.com/office/drawing/2014/main" id="{A1870CA0-2057-F5FE-F291-517441788C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50% Mark">
                <a:extLst>
                  <a:ext uri="{FF2B5EF4-FFF2-40B4-BE49-F238E27FC236}">
                    <a16:creationId xmlns:a16="http://schemas.microsoft.com/office/drawing/2014/main" id="{9272DAEC-25F2-C107-BC7F-DEB28692EB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200% Mark">
                <a:extLst>
                  <a:ext uri="{FF2B5EF4-FFF2-40B4-BE49-F238E27FC236}">
                    <a16:creationId xmlns:a16="http://schemas.microsoft.com/office/drawing/2014/main" id="{9CD4C702-DE53-7369-FCA2-CA099703CC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250% Mark">
                <a:extLst>
                  <a:ext uri="{FF2B5EF4-FFF2-40B4-BE49-F238E27FC236}">
                    <a16:creationId xmlns:a16="http://schemas.microsoft.com/office/drawing/2014/main" id="{4A48A43B-A8D6-AB86-ED70-634A2B93BB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C85D123-A188-4A7D-5844-87CF77D86C91}"/>
                </a:ext>
              </a:extLst>
            </p:cNvPr>
            <p:cNvGrpSpPr/>
            <p:nvPr userDrawn="1"/>
          </p:nvGrpSpPr>
          <p:grpSpPr>
            <a:xfrm>
              <a:off x="0" y="6921000"/>
              <a:ext cx="8572500" cy="180000"/>
              <a:chOff x="0" y="-2043000"/>
              <a:chExt cx="8572500" cy="10142533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460F146-04EC-0F01-7040-9C3F0B6FA3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50% Mark">
                <a:extLst>
                  <a:ext uri="{FF2B5EF4-FFF2-40B4-BE49-F238E27FC236}">
                    <a16:creationId xmlns:a16="http://schemas.microsoft.com/office/drawing/2014/main" id="{8C333C07-FF82-9C27-D689-C080DCDC2F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100% Mark">
                <a:extLst>
                  <a:ext uri="{FF2B5EF4-FFF2-40B4-BE49-F238E27FC236}">
                    <a16:creationId xmlns:a16="http://schemas.microsoft.com/office/drawing/2014/main" id="{D1DC9600-412F-57C4-651A-A4B1423EFAD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150% Mark">
                <a:extLst>
                  <a:ext uri="{FF2B5EF4-FFF2-40B4-BE49-F238E27FC236}">
                    <a16:creationId xmlns:a16="http://schemas.microsoft.com/office/drawing/2014/main" id="{DB4DD0AB-49E8-6F63-A125-6CBA3B9E0A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200% Mark">
                <a:extLst>
                  <a:ext uri="{FF2B5EF4-FFF2-40B4-BE49-F238E27FC236}">
                    <a16:creationId xmlns:a16="http://schemas.microsoft.com/office/drawing/2014/main" id="{9F985A50-5519-D6DF-8B96-39A47A3A3D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250% Mark">
                <a:extLst>
                  <a:ext uri="{FF2B5EF4-FFF2-40B4-BE49-F238E27FC236}">
                    <a16:creationId xmlns:a16="http://schemas.microsoft.com/office/drawing/2014/main" id="{28480E8E-5094-5366-DA51-AA3F67F622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AC169E5-16B0-10D4-5B53-5FF1BDBBC8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8193" y="1773000"/>
            <a:ext cx="7582946" cy="431923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650C64-D872-AD2C-9700-2773C86DE6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8193" y="1075636"/>
            <a:ext cx="7582943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2924D50-C209-CFBF-2D4E-2FC62B71E3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8193" y="596235"/>
            <a:ext cx="7582943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One line master title style hea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CD712-6FAF-5FDE-6B79-FCA56C826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7C4D123A-CE8E-D0B5-C1EF-BA425B90A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11" name="footnotes">
            <a:extLst>
              <a:ext uri="{FF2B5EF4-FFF2-40B4-BE49-F238E27FC236}">
                <a16:creationId xmlns:a16="http://schemas.microsoft.com/office/drawing/2014/main" id="{0F47C2DE-37A8-E115-CD2D-E6340B8A1D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8193" y="6102000"/>
            <a:ext cx="6165806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94DAB51D-E67A-404A-F935-C61F7FFD5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373" y="2000250"/>
            <a:ext cx="2736000" cy="285840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3600">
                <a:latin typeface="+mj-lt"/>
              </a:defRPr>
            </a:lvl1pPr>
          </a:lstStyle>
          <a:p>
            <a:pPr>
              <a:buClrTx/>
              <a:buFontTx/>
            </a:pPr>
            <a:r>
              <a:rPr lang="en-GB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559298-77DD-721F-4275-553FE3B5B09C}"/>
              </a:ext>
            </a:extLst>
          </p:cNvPr>
          <p:cNvSpPr txBox="1"/>
          <p:nvPr userDrawn="1"/>
        </p:nvSpPr>
        <p:spPr>
          <a:xfrm>
            <a:off x="5181600" y="6705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kern="100" spc="-30"/>
          </a:p>
        </p:txBody>
      </p:sp>
      <p:sp>
        <p:nvSpPr>
          <p:cNvPr id="4" name="Slide Number Static">
            <a:extLst>
              <a:ext uri="{FF2B5EF4-FFF2-40B4-BE49-F238E27FC236}">
                <a16:creationId xmlns:a16="http://schemas.microsoft.com/office/drawing/2014/main" id="{A6558380-DF12-F780-1F09-DD96C0126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82661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5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107155E9-29C0-4F5A-3B1A-054E2EF7F8D8}"/>
              </a:ext>
            </a:extLst>
          </p:cNvPr>
          <p:cNvGrpSpPr/>
          <p:nvPr userDrawn="1"/>
        </p:nvGrpSpPr>
        <p:grpSpPr>
          <a:xfrm>
            <a:off x="0" y="-243000"/>
            <a:ext cx="8572500" cy="7344000"/>
            <a:chOff x="0" y="-243000"/>
            <a:chExt cx="8572500" cy="73440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746C574-DFF9-47C9-8465-E472708D92D7}"/>
                </a:ext>
              </a:extLst>
            </p:cNvPr>
            <p:cNvGrpSpPr/>
            <p:nvPr userDrawn="1"/>
          </p:nvGrpSpPr>
          <p:grpSpPr>
            <a:xfrm>
              <a:off x="0" y="-243000"/>
              <a:ext cx="8572500" cy="180000"/>
              <a:chOff x="0" y="-2043000"/>
              <a:chExt cx="8572500" cy="10142533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210EDD7-E90A-5B0B-7DA0-41F3DB6C50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50% Mark">
                <a:extLst>
                  <a:ext uri="{FF2B5EF4-FFF2-40B4-BE49-F238E27FC236}">
                    <a16:creationId xmlns:a16="http://schemas.microsoft.com/office/drawing/2014/main" id="{0907C615-7953-B6BC-B232-117A3505D7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100% Mark">
                <a:extLst>
                  <a:ext uri="{FF2B5EF4-FFF2-40B4-BE49-F238E27FC236}">
                    <a16:creationId xmlns:a16="http://schemas.microsoft.com/office/drawing/2014/main" id="{A1870CA0-2057-F5FE-F291-517441788C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50% Mark">
                <a:extLst>
                  <a:ext uri="{FF2B5EF4-FFF2-40B4-BE49-F238E27FC236}">
                    <a16:creationId xmlns:a16="http://schemas.microsoft.com/office/drawing/2014/main" id="{9272DAEC-25F2-C107-BC7F-DEB28692EB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200% Mark">
                <a:extLst>
                  <a:ext uri="{FF2B5EF4-FFF2-40B4-BE49-F238E27FC236}">
                    <a16:creationId xmlns:a16="http://schemas.microsoft.com/office/drawing/2014/main" id="{9CD4C702-DE53-7369-FCA2-CA099703CC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250% Mark">
                <a:extLst>
                  <a:ext uri="{FF2B5EF4-FFF2-40B4-BE49-F238E27FC236}">
                    <a16:creationId xmlns:a16="http://schemas.microsoft.com/office/drawing/2014/main" id="{4A48A43B-A8D6-AB86-ED70-634A2B93BB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C85D123-A188-4A7D-5844-87CF77D86C91}"/>
                </a:ext>
              </a:extLst>
            </p:cNvPr>
            <p:cNvGrpSpPr/>
            <p:nvPr userDrawn="1"/>
          </p:nvGrpSpPr>
          <p:grpSpPr>
            <a:xfrm>
              <a:off x="0" y="6921000"/>
              <a:ext cx="8572500" cy="180000"/>
              <a:chOff x="0" y="-2043000"/>
              <a:chExt cx="8572500" cy="10142533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460F146-04EC-0F01-7040-9C3F0B6FA3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50% Mark">
                <a:extLst>
                  <a:ext uri="{FF2B5EF4-FFF2-40B4-BE49-F238E27FC236}">
                    <a16:creationId xmlns:a16="http://schemas.microsoft.com/office/drawing/2014/main" id="{8C333C07-FF82-9C27-D689-C080DCDC2F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100% Mark">
                <a:extLst>
                  <a:ext uri="{FF2B5EF4-FFF2-40B4-BE49-F238E27FC236}">
                    <a16:creationId xmlns:a16="http://schemas.microsoft.com/office/drawing/2014/main" id="{D1DC9600-412F-57C4-651A-A4B1423EFAD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150% Mark">
                <a:extLst>
                  <a:ext uri="{FF2B5EF4-FFF2-40B4-BE49-F238E27FC236}">
                    <a16:creationId xmlns:a16="http://schemas.microsoft.com/office/drawing/2014/main" id="{DB4DD0AB-49E8-6F63-A125-6CBA3B9E0A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200% Mark">
                <a:extLst>
                  <a:ext uri="{FF2B5EF4-FFF2-40B4-BE49-F238E27FC236}">
                    <a16:creationId xmlns:a16="http://schemas.microsoft.com/office/drawing/2014/main" id="{9F985A50-5519-D6DF-8B96-39A47A3A3D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250% Mark">
                <a:extLst>
                  <a:ext uri="{FF2B5EF4-FFF2-40B4-BE49-F238E27FC236}">
                    <a16:creationId xmlns:a16="http://schemas.microsoft.com/office/drawing/2014/main" id="{28480E8E-5094-5366-DA51-AA3F67F622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Subtitle 2">
            <a:extLst>
              <a:ext uri="{FF2B5EF4-FFF2-40B4-BE49-F238E27FC236}">
                <a16:creationId xmlns:a16="http://schemas.microsoft.com/office/drawing/2014/main" id="{11650C64-D872-AD2C-9700-2773C86DE6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7623" y="1075636"/>
            <a:ext cx="10473514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2924D50-C209-CFBF-2D4E-2FC62B71E3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7623" y="596235"/>
            <a:ext cx="10473514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One line master title style hea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CD712-6FAF-5FDE-6B79-FCA56C826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39273CA8-BE2E-8DF0-0E20-3DCA45037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10" name="footnotes">
            <a:extLst>
              <a:ext uri="{FF2B5EF4-FFF2-40B4-BE49-F238E27FC236}">
                <a16:creationId xmlns:a16="http://schemas.microsoft.com/office/drawing/2014/main" id="{88766D66-80DF-CFA4-6500-8193E011B4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07826" y="6102000"/>
            <a:ext cx="851617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3F28D0E1-CC1C-26A8-8FEA-FC95BD3D8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-1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z="1000" smtClean="0"/>
              <a:pPr/>
              <a:t>‹#›</a:t>
            </a:fld>
            <a:endParaRPr lang="en-GB" sz="10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DDFD4-9C26-370F-A928-2DF3084D16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621" y="1773000"/>
            <a:ext cx="10473518" cy="431923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24571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4"/>
            <a:ext cx="5268665" cy="9277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DDE6DB5-3337-2923-E916-811C7B87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230EA2F-4888-1BAE-161D-A054B37662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0"/>
          <a:stretch/>
        </p:blipFill>
        <p:spPr>
          <a:xfrm>
            <a:off x="5710425" y="277985"/>
            <a:ext cx="5268665" cy="6580015"/>
          </a:xfrm>
          <a:prstGeom prst="rect">
            <a:avLst/>
          </a:prstGeom>
        </p:spPr>
      </p:pic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667C1DBA-535E-3793-63D8-258B68BE72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6687" y="509764"/>
            <a:ext cx="3946526" cy="5744425"/>
          </a:xfrm>
          <a:prstGeom prst="round2SameRect">
            <a:avLst>
              <a:gd name="adj1" fmla="val 2088"/>
              <a:gd name="adj2" fmla="val 2128"/>
            </a:avLst>
          </a:prstGeo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3471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0A3D76-AB94-4F36-799C-B4A43450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8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A3D76-AB94-4F36-799C-B4A43450459F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3A9FBCB7-64C8-3334-37BD-F3B8A49DE9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12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5CE6E23-185E-6743-91C2-61D59594F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7282" y="1293765"/>
            <a:ext cx="1024385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923CF1CE-3D31-7F6E-DCDF-E2F32A2553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1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32ED8768-6538-2B1A-5362-29FACA673D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7282" y="2193765"/>
            <a:ext cx="10243853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C1E5DC26-4E6F-3BA6-58B6-F8B36941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30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26DE173D-E761-A333-0E17-81FA88BE0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7282" y="3093765"/>
            <a:ext cx="1024385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CDF225B3-43B7-A7EE-F801-EE1CFF559F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39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221CA5C7-1F08-8BBE-8775-34E8EE29D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7281" y="3993765"/>
            <a:ext cx="10243854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97DE4764-8675-CC7C-7D0D-87C75EAE0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48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F590146E-A290-D74E-2524-F9FEB48C32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97279" y="4893765"/>
            <a:ext cx="10243857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53B440B1-4AF1-02C4-D21D-AF9D0377BB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5" y="5793765"/>
            <a:ext cx="795744" cy="468000"/>
          </a:xfrm>
        </p:spPr>
        <p:txBody>
          <a:bodyPr rIns="0" anchor="ctr" anchorCtr="0">
            <a:noAutofit/>
          </a:bodyPr>
          <a:lstStyle>
            <a:lvl1pPr algn="l">
              <a:spcBef>
                <a:spcPts val="0"/>
              </a:spcBef>
              <a:defRPr sz="3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F425F257-B79D-5713-0549-ACA5273F15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97279" y="5793765"/>
            <a:ext cx="10243857" cy="468000"/>
          </a:xfrm>
        </p:spPr>
        <p:txBody>
          <a:bodyPr anchor="ctr" anchorCtr="0"/>
          <a:lstStyle>
            <a:lvl1pPr>
              <a:defRPr sz="1800"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C1602382-22BB-1E2D-EC89-BC09E05B4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159E32D-5C8A-D3EB-196F-55944097E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grpSp>
        <p:nvGrpSpPr>
          <p:cNvPr id="12" name="Graphic 6">
            <a:extLst>
              <a:ext uri="{FF2B5EF4-FFF2-40B4-BE49-F238E27FC236}">
                <a16:creationId xmlns:a16="http://schemas.microsoft.com/office/drawing/2014/main" id="{B5CFCF9A-2780-ADBF-86CC-00E75F133F40}"/>
              </a:ext>
            </a:extLst>
          </p:cNvPr>
          <p:cNvGrpSpPr/>
          <p:nvPr/>
        </p:nvGrpSpPr>
        <p:grpSpPr>
          <a:xfrm>
            <a:off x="-12394315" y="2136257"/>
            <a:ext cx="2480746" cy="3669345"/>
            <a:chOff x="-12394315" y="2136257"/>
            <a:chExt cx="2480746" cy="3669345"/>
          </a:xfrm>
        </p:grpSpPr>
        <p:grpSp>
          <p:nvGrpSpPr>
            <p:cNvPr id="13" name="Graphic 6">
              <a:extLst>
                <a:ext uri="{FF2B5EF4-FFF2-40B4-BE49-F238E27FC236}">
                  <a16:creationId xmlns:a16="http://schemas.microsoft.com/office/drawing/2014/main" id="{C3EDF20E-631C-53E0-FA9E-F4170B5F24A9}"/>
                </a:ext>
              </a:extLst>
            </p:cNvPr>
            <p:cNvGrpSpPr/>
            <p:nvPr/>
          </p:nvGrpSpPr>
          <p:grpSpPr>
            <a:xfrm>
              <a:off x="-12394315" y="2136257"/>
              <a:ext cx="2480746" cy="3669345"/>
              <a:chOff x="-12394315" y="2136257"/>
              <a:chExt cx="2480746" cy="3669345"/>
            </a:xfrm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478D2EF2-54C5-BD00-D54F-60EFD17622C1}"/>
                  </a:ext>
                </a:extLst>
              </p:cNvPr>
              <p:cNvSpPr/>
              <p:nvPr/>
            </p:nvSpPr>
            <p:spPr>
              <a:xfrm>
                <a:off x="-12178674" y="3689240"/>
                <a:ext cx="836249" cy="1834954"/>
              </a:xfrm>
              <a:custGeom>
                <a:avLst/>
                <a:gdLst>
                  <a:gd name="connsiteX0" fmla="*/ 163 w 836249"/>
                  <a:gd name="connsiteY0" fmla="*/ 1557117 h 1834954"/>
                  <a:gd name="connsiteX1" fmla="*/ 29145 w 836249"/>
                  <a:gd name="connsiteY1" fmla="*/ 1353136 h 1834954"/>
                  <a:gd name="connsiteX2" fmla="*/ 95891 w 836249"/>
                  <a:gd name="connsiteY2" fmla="*/ 0 h 1834954"/>
                  <a:gd name="connsiteX3" fmla="*/ 813416 w 836249"/>
                  <a:gd name="connsiteY3" fmla="*/ 31652 h 1834954"/>
                  <a:gd name="connsiteX4" fmla="*/ 826589 w 836249"/>
                  <a:gd name="connsiteY4" fmla="*/ 371915 h 1834954"/>
                  <a:gd name="connsiteX5" fmla="*/ 836250 w 836249"/>
                  <a:gd name="connsiteY5" fmla="*/ 1670538 h 1834954"/>
                  <a:gd name="connsiteX6" fmla="*/ 775651 w 836249"/>
                  <a:gd name="connsiteY6" fmla="*/ 1762858 h 1834954"/>
                  <a:gd name="connsiteX7" fmla="*/ 746669 w 836249"/>
                  <a:gd name="connsiteY7" fmla="*/ 1825283 h 1834954"/>
                  <a:gd name="connsiteX8" fmla="*/ 614055 w 836249"/>
                  <a:gd name="connsiteY8" fmla="*/ 1834954 h 1834954"/>
                  <a:gd name="connsiteX9" fmla="*/ 597368 w 836249"/>
                  <a:gd name="connsiteY9" fmla="*/ 1776046 h 1834954"/>
                  <a:gd name="connsiteX10" fmla="*/ 518326 w 836249"/>
                  <a:gd name="connsiteY10" fmla="*/ 1664384 h 1834954"/>
                  <a:gd name="connsiteX11" fmla="*/ 451580 w 836249"/>
                  <a:gd name="connsiteY11" fmla="*/ 534572 h 1834954"/>
                  <a:gd name="connsiteX12" fmla="*/ 451580 w 836249"/>
                  <a:gd name="connsiteY12" fmla="*/ 232117 h 1834954"/>
                  <a:gd name="connsiteX13" fmla="*/ 257488 w 836249"/>
                  <a:gd name="connsiteY13" fmla="*/ 1753186 h 1834954"/>
                  <a:gd name="connsiteX14" fmla="*/ 250462 w 836249"/>
                  <a:gd name="connsiteY14" fmla="*/ 1753186 h 1834954"/>
                  <a:gd name="connsiteX15" fmla="*/ 236410 w 836249"/>
                  <a:gd name="connsiteY15" fmla="*/ 1804181 h 1834954"/>
                  <a:gd name="connsiteX16" fmla="*/ 80083 w 836249"/>
                  <a:gd name="connsiteY16" fmla="*/ 1795389 h 1834954"/>
                  <a:gd name="connsiteX17" fmla="*/ 61640 w 836249"/>
                  <a:gd name="connsiteY17" fmla="*/ 1738239 h 1834954"/>
                  <a:gd name="connsiteX18" fmla="*/ 51101 w 836249"/>
                  <a:gd name="connsiteY18" fmla="*/ 1738239 h 1834954"/>
                  <a:gd name="connsiteX19" fmla="*/ 163 w 836249"/>
                  <a:gd name="connsiteY19" fmla="*/ 1556238 h 1834954"/>
                  <a:gd name="connsiteX20" fmla="*/ 163 w 836249"/>
                  <a:gd name="connsiteY20" fmla="*/ 1556238 h 183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36249" h="1834954">
                    <a:moveTo>
                      <a:pt x="163" y="1557117"/>
                    </a:moveTo>
                    <a:cubicBezTo>
                      <a:pt x="3676" y="1442817"/>
                      <a:pt x="29145" y="1353136"/>
                      <a:pt x="29145" y="1353136"/>
                    </a:cubicBezTo>
                    <a:lnTo>
                      <a:pt x="95891" y="0"/>
                    </a:lnTo>
                    <a:lnTo>
                      <a:pt x="813416" y="31652"/>
                    </a:lnTo>
                    <a:lnTo>
                      <a:pt x="826589" y="371915"/>
                    </a:lnTo>
                    <a:lnTo>
                      <a:pt x="836250" y="1670538"/>
                    </a:lnTo>
                    <a:cubicBezTo>
                      <a:pt x="836250" y="1670538"/>
                      <a:pt x="807268" y="1747031"/>
                      <a:pt x="775651" y="1762858"/>
                    </a:cubicBezTo>
                    <a:lnTo>
                      <a:pt x="746669" y="1825283"/>
                    </a:lnTo>
                    <a:lnTo>
                      <a:pt x="614055" y="1834954"/>
                    </a:lnTo>
                    <a:lnTo>
                      <a:pt x="597368" y="1776046"/>
                    </a:lnTo>
                    <a:cubicBezTo>
                      <a:pt x="597368" y="1776046"/>
                      <a:pt x="518326" y="1734722"/>
                      <a:pt x="518326" y="1664384"/>
                    </a:cubicBezTo>
                    <a:cubicBezTo>
                      <a:pt x="518326" y="1594045"/>
                      <a:pt x="451580" y="534572"/>
                      <a:pt x="451580" y="534572"/>
                    </a:cubicBezTo>
                    <a:lnTo>
                      <a:pt x="451580" y="232117"/>
                    </a:lnTo>
                    <a:cubicBezTo>
                      <a:pt x="451580" y="232117"/>
                      <a:pt x="362877" y="1674055"/>
                      <a:pt x="257488" y="1753186"/>
                    </a:cubicBezTo>
                    <a:lnTo>
                      <a:pt x="250462" y="1753186"/>
                    </a:lnTo>
                    <a:lnTo>
                      <a:pt x="236410" y="1804181"/>
                    </a:lnTo>
                    <a:lnTo>
                      <a:pt x="80083" y="1795389"/>
                    </a:lnTo>
                    <a:lnTo>
                      <a:pt x="61640" y="1738239"/>
                    </a:lnTo>
                    <a:lnTo>
                      <a:pt x="51101" y="1738239"/>
                    </a:lnTo>
                    <a:cubicBezTo>
                      <a:pt x="51101" y="1738239"/>
                      <a:pt x="-3350" y="1670538"/>
                      <a:pt x="163" y="1556238"/>
                    </a:cubicBezTo>
                    <a:lnTo>
                      <a:pt x="163" y="1556238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6A65904-B5DB-4E65-CA93-E159DC8EC93C}"/>
                  </a:ext>
                </a:extLst>
              </p:cNvPr>
              <p:cNvSpPr/>
              <p:nvPr/>
            </p:nvSpPr>
            <p:spPr>
              <a:xfrm>
                <a:off x="-12394315" y="2721448"/>
                <a:ext cx="481974" cy="928012"/>
              </a:xfrm>
              <a:custGeom>
                <a:avLst/>
                <a:gdLst>
                  <a:gd name="connsiteX0" fmla="*/ 435365 w 481974"/>
                  <a:gd name="connsiteY0" fmla="*/ 1517 h 928012"/>
                  <a:gd name="connsiteX1" fmla="*/ 95485 w 481974"/>
                  <a:gd name="connsiteY1" fmla="*/ 95595 h 928012"/>
                  <a:gd name="connsiteX2" fmla="*/ 6782 w 481974"/>
                  <a:gd name="connsiteY2" fmla="*/ 864043 h 928012"/>
                  <a:gd name="connsiteX3" fmla="*/ 304507 w 481974"/>
                  <a:gd name="connsiteY3" fmla="*/ 921193 h 928012"/>
                  <a:gd name="connsiteX4" fmla="*/ 435365 w 481974"/>
                  <a:gd name="connsiteY4" fmla="*/ 638 h 928012"/>
                  <a:gd name="connsiteX5" fmla="*/ 435365 w 481974"/>
                  <a:gd name="connsiteY5" fmla="*/ 638 h 92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1974" h="928012">
                    <a:moveTo>
                      <a:pt x="435365" y="1517"/>
                    </a:moveTo>
                    <a:cubicBezTo>
                      <a:pt x="435365" y="1517"/>
                      <a:pt x="179796" y="-19584"/>
                      <a:pt x="95485" y="95595"/>
                    </a:cubicBezTo>
                    <a:cubicBezTo>
                      <a:pt x="95485" y="95595"/>
                      <a:pt x="-30104" y="576534"/>
                      <a:pt x="6782" y="864043"/>
                    </a:cubicBezTo>
                    <a:cubicBezTo>
                      <a:pt x="6782" y="864043"/>
                      <a:pt x="6782" y="952845"/>
                      <a:pt x="304507" y="921193"/>
                    </a:cubicBezTo>
                    <a:cubicBezTo>
                      <a:pt x="602231" y="889540"/>
                      <a:pt x="435365" y="638"/>
                      <a:pt x="435365" y="638"/>
                    </a:cubicBezTo>
                    <a:lnTo>
                      <a:pt x="435365" y="638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02740F4E-1790-AF8C-054D-1D7DE90990D8}"/>
                  </a:ext>
                </a:extLst>
              </p:cNvPr>
              <p:cNvSpPr/>
              <p:nvPr/>
            </p:nvSpPr>
            <p:spPr>
              <a:xfrm>
                <a:off x="-12347065" y="2669332"/>
                <a:ext cx="1228076" cy="1249386"/>
              </a:xfrm>
              <a:custGeom>
                <a:avLst/>
                <a:gdLst>
                  <a:gd name="connsiteX0" fmla="*/ 97416 w 1228076"/>
                  <a:gd name="connsiteY0" fmla="*/ 886265 h 1249386"/>
                  <a:gd name="connsiteX1" fmla="*/ 158015 w 1228076"/>
                  <a:gd name="connsiteY1" fmla="*/ 914400 h 1249386"/>
                  <a:gd name="connsiteX2" fmla="*/ 158015 w 1228076"/>
                  <a:gd name="connsiteY2" fmla="*/ 911762 h 1249386"/>
                  <a:gd name="connsiteX3" fmla="*/ 185240 w 1228076"/>
                  <a:gd name="connsiteY3" fmla="*/ 911762 h 1249386"/>
                  <a:gd name="connsiteX4" fmla="*/ 220370 w 1228076"/>
                  <a:gd name="connsiteY4" fmla="*/ 903849 h 1249386"/>
                  <a:gd name="connsiteX5" fmla="*/ 220370 w 1228076"/>
                  <a:gd name="connsiteY5" fmla="*/ 917038 h 1249386"/>
                  <a:gd name="connsiteX6" fmla="*/ 245839 w 1228076"/>
                  <a:gd name="connsiteY6" fmla="*/ 1215097 h 1249386"/>
                  <a:gd name="connsiteX7" fmla="*/ 929990 w 1228076"/>
                  <a:gd name="connsiteY7" fmla="*/ 1227406 h 1249386"/>
                  <a:gd name="connsiteX8" fmla="*/ 1035379 w 1228076"/>
                  <a:gd name="connsiteY8" fmla="*/ 1249387 h 1249386"/>
                  <a:gd name="connsiteX9" fmla="*/ 1080169 w 1228076"/>
                  <a:gd name="connsiteY9" fmla="*/ 1227406 h 1249386"/>
                  <a:gd name="connsiteX10" fmla="*/ 1217175 w 1228076"/>
                  <a:gd name="connsiteY10" fmla="*/ 891540 h 1249386"/>
                  <a:gd name="connsiteX11" fmla="*/ 1224201 w 1228076"/>
                  <a:gd name="connsiteY11" fmla="*/ 762293 h 1249386"/>
                  <a:gd name="connsiteX12" fmla="*/ 1153064 w 1228076"/>
                  <a:gd name="connsiteY12" fmla="*/ 324436 h 1249386"/>
                  <a:gd name="connsiteX13" fmla="*/ 785958 w 1228076"/>
                  <a:gd name="connsiteY13" fmla="*/ 0 h 1249386"/>
                  <a:gd name="connsiteX14" fmla="*/ 522485 w 1228076"/>
                  <a:gd name="connsiteY14" fmla="*/ 21981 h 1249386"/>
                  <a:gd name="connsiteX15" fmla="*/ 508433 w 1228076"/>
                  <a:gd name="connsiteY15" fmla="*/ 19343 h 1249386"/>
                  <a:gd name="connsiteX16" fmla="*/ 503164 w 1228076"/>
                  <a:gd name="connsiteY16" fmla="*/ 19343 h 1249386"/>
                  <a:gd name="connsiteX17" fmla="*/ 491747 w 1228076"/>
                  <a:gd name="connsiteY17" fmla="*/ 22860 h 1249386"/>
                  <a:gd name="connsiteX18" fmla="*/ 200170 w 1228076"/>
                  <a:gd name="connsiteY18" fmla="*/ 144194 h 1249386"/>
                  <a:gd name="connsiteX19" fmla="*/ 4322 w 1228076"/>
                  <a:gd name="connsiteY19" fmla="*/ 659423 h 1249386"/>
                  <a:gd name="connsiteX20" fmla="*/ 98294 w 1228076"/>
                  <a:gd name="connsiteY20" fmla="*/ 888023 h 1249386"/>
                  <a:gd name="connsiteX21" fmla="*/ 97416 w 1228076"/>
                  <a:gd name="connsiteY21" fmla="*/ 888023 h 1249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28076" h="1249386">
                    <a:moveTo>
                      <a:pt x="97416" y="886265"/>
                    </a:moveTo>
                    <a:cubicBezTo>
                      <a:pt x="123763" y="901211"/>
                      <a:pt x="127276" y="902970"/>
                      <a:pt x="158015" y="914400"/>
                    </a:cubicBezTo>
                    <a:lnTo>
                      <a:pt x="158015" y="911762"/>
                    </a:lnTo>
                    <a:cubicBezTo>
                      <a:pt x="166797" y="912641"/>
                      <a:pt x="175580" y="912641"/>
                      <a:pt x="185240" y="911762"/>
                    </a:cubicBezTo>
                    <a:cubicBezTo>
                      <a:pt x="197536" y="910004"/>
                      <a:pt x="208953" y="906487"/>
                      <a:pt x="220370" y="903849"/>
                    </a:cubicBezTo>
                    <a:lnTo>
                      <a:pt x="220370" y="917038"/>
                    </a:lnTo>
                    <a:cubicBezTo>
                      <a:pt x="225639" y="1131570"/>
                      <a:pt x="245839" y="1215097"/>
                      <a:pt x="245839" y="1215097"/>
                    </a:cubicBezTo>
                    <a:cubicBezTo>
                      <a:pt x="245839" y="1215097"/>
                      <a:pt x="763124" y="1237957"/>
                      <a:pt x="929990" y="1227406"/>
                    </a:cubicBezTo>
                    <a:lnTo>
                      <a:pt x="1035379" y="1249387"/>
                    </a:lnTo>
                    <a:lnTo>
                      <a:pt x="1080169" y="1227406"/>
                    </a:lnTo>
                    <a:cubicBezTo>
                      <a:pt x="1159211" y="1187841"/>
                      <a:pt x="1182924" y="1014632"/>
                      <a:pt x="1217175" y="891540"/>
                    </a:cubicBezTo>
                    <a:cubicBezTo>
                      <a:pt x="1228592" y="849337"/>
                      <a:pt x="1231227" y="805375"/>
                      <a:pt x="1224201" y="762293"/>
                    </a:cubicBezTo>
                    <a:lnTo>
                      <a:pt x="1153064" y="324436"/>
                    </a:lnTo>
                    <a:cubicBezTo>
                      <a:pt x="1124082" y="86165"/>
                      <a:pt x="785958" y="0"/>
                      <a:pt x="785958" y="0"/>
                    </a:cubicBezTo>
                    <a:cubicBezTo>
                      <a:pt x="680569" y="43962"/>
                      <a:pt x="566398" y="29894"/>
                      <a:pt x="522485" y="21981"/>
                    </a:cubicBezTo>
                    <a:cubicBezTo>
                      <a:pt x="518094" y="20222"/>
                      <a:pt x="512825" y="19343"/>
                      <a:pt x="508433" y="19343"/>
                    </a:cubicBezTo>
                    <a:cubicBezTo>
                      <a:pt x="504042" y="19343"/>
                      <a:pt x="503164" y="19343"/>
                      <a:pt x="503164" y="19343"/>
                    </a:cubicBezTo>
                    <a:lnTo>
                      <a:pt x="491747" y="22860"/>
                    </a:lnTo>
                    <a:cubicBezTo>
                      <a:pt x="431148" y="36049"/>
                      <a:pt x="260769" y="96715"/>
                      <a:pt x="200170" y="144194"/>
                    </a:cubicBezTo>
                    <a:cubicBezTo>
                      <a:pt x="125520" y="202223"/>
                      <a:pt x="45600" y="465113"/>
                      <a:pt x="4322" y="659423"/>
                    </a:cubicBezTo>
                    <a:cubicBezTo>
                      <a:pt x="-13243" y="743829"/>
                      <a:pt x="23644" y="844941"/>
                      <a:pt x="98294" y="888023"/>
                    </a:cubicBezTo>
                    <a:lnTo>
                      <a:pt x="97416" y="88802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E13D7265-65CD-8A65-5E1D-118441CE8F23}"/>
                  </a:ext>
                </a:extLst>
              </p:cNvPr>
              <p:cNvSpPr/>
              <p:nvPr/>
            </p:nvSpPr>
            <p:spPr>
              <a:xfrm>
                <a:off x="-11912333" y="2136257"/>
                <a:ext cx="421914" cy="572934"/>
              </a:xfrm>
              <a:custGeom>
                <a:avLst/>
                <a:gdLst>
                  <a:gd name="connsiteX0" fmla="*/ 35937 w 421914"/>
                  <a:gd name="connsiteY0" fmla="*/ 108407 h 572934"/>
                  <a:gd name="connsiteX1" fmla="*/ 63163 w 421914"/>
                  <a:gd name="connsiteY1" fmla="*/ 60050 h 572934"/>
                  <a:gd name="connsiteX2" fmla="*/ 173821 w 421914"/>
                  <a:gd name="connsiteY2" fmla="*/ 8175 h 572934"/>
                  <a:gd name="connsiteX3" fmla="*/ 288871 w 421914"/>
                  <a:gd name="connsiteY3" fmla="*/ 21364 h 572934"/>
                  <a:gd name="connsiteX4" fmla="*/ 306436 w 421914"/>
                  <a:gd name="connsiteY4" fmla="*/ 73238 h 572934"/>
                  <a:gd name="connsiteX5" fmla="*/ 367913 w 421914"/>
                  <a:gd name="connsiteY5" fmla="*/ 169074 h 572934"/>
                  <a:gd name="connsiteX6" fmla="*/ 421486 w 421914"/>
                  <a:gd name="connsiteY6" fmla="*/ 229741 h 572934"/>
                  <a:gd name="connsiteX7" fmla="*/ 406556 w 421914"/>
                  <a:gd name="connsiteY7" fmla="*/ 255239 h 572934"/>
                  <a:gd name="connsiteX8" fmla="*/ 407434 w 421914"/>
                  <a:gd name="connsiteY8" fmla="*/ 286012 h 572934"/>
                  <a:gd name="connsiteX9" fmla="*/ 389869 w 421914"/>
                  <a:gd name="connsiteY9" fmla="*/ 307113 h 572934"/>
                  <a:gd name="connsiteX10" fmla="*/ 407434 w 421914"/>
                  <a:gd name="connsiteY10" fmla="*/ 304476 h 572934"/>
                  <a:gd name="connsiteX11" fmla="*/ 407434 w 421914"/>
                  <a:gd name="connsiteY11" fmla="*/ 325577 h 572934"/>
                  <a:gd name="connsiteX12" fmla="*/ 411825 w 421914"/>
                  <a:gd name="connsiteY12" fmla="*/ 375693 h 572934"/>
                  <a:gd name="connsiteX13" fmla="*/ 325757 w 421914"/>
                  <a:gd name="connsiteY13" fmla="*/ 407346 h 572934"/>
                  <a:gd name="connsiteX14" fmla="*/ 309949 w 421914"/>
                  <a:gd name="connsiteY14" fmla="*/ 511974 h 572934"/>
                  <a:gd name="connsiteX15" fmla="*/ 350348 w 421914"/>
                  <a:gd name="connsiteY15" fmla="*/ 533955 h 572934"/>
                  <a:gd name="connsiteX16" fmla="*/ 53502 w 421914"/>
                  <a:gd name="connsiteY16" fmla="*/ 555057 h 572934"/>
                  <a:gd name="connsiteX17" fmla="*/ 103562 w 421914"/>
                  <a:gd name="connsiteY17" fmla="*/ 520767 h 572934"/>
                  <a:gd name="connsiteX18" fmla="*/ 128153 w 421914"/>
                  <a:gd name="connsiteY18" fmla="*/ 395916 h 572934"/>
                  <a:gd name="connsiteX19" fmla="*/ 116736 w 421914"/>
                  <a:gd name="connsiteY19" fmla="*/ 384486 h 572934"/>
                  <a:gd name="connsiteX20" fmla="*/ 49111 w 421914"/>
                  <a:gd name="connsiteY20" fmla="*/ 309751 h 572934"/>
                  <a:gd name="connsiteX21" fmla="*/ 35059 w 421914"/>
                  <a:gd name="connsiteY21" fmla="*/ 108407 h 572934"/>
                  <a:gd name="connsiteX22" fmla="*/ 35059 w 421914"/>
                  <a:gd name="connsiteY22" fmla="*/ 108407 h 57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21914" h="572934">
                    <a:moveTo>
                      <a:pt x="35937" y="108407"/>
                    </a:moveTo>
                    <a:cubicBezTo>
                      <a:pt x="41207" y="90823"/>
                      <a:pt x="49989" y="74117"/>
                      <a:pt x="63163" y="60050"/>
                    </a:cubicBezTo>
                    <a:cubicBezTo>
                      <a:pt x="102684" y="16967"/>
                      <a:pt x="173821" y="8175"/>
                      <a:pt x="173821" y="8175"/>
                    </a:cubicBezTo>
                    <a:cubicBezTo>
                      <a:pt x="239689" y="-11168"/>
                      <a:pt x="266037" y="8175"/>
                      <a:pt x="288871" y="21364"/>
                    </a:cubicBezTo>
                    <a:cubicBezTo>
                      <a:pt x="330148" y="47740"/>
                      <a:pt x="312584" y="67084"/>
                      <a:pt x="306436" y="73238"/>
                    </a:cubicBezTo>
                    <a:cubicBezTo>
                      <a:pt x="314340" y="79393"/>
                      <a:pt x="370548" y="126871"/>
                      <a:pt x="367913" y="169074"/>
                    </a:cubicBezTo>
                    <a:cubicBezTo>
                      <a:pt x="367913" y="181383"/>
                      <a:pt x="421486" y="229741"/>
                      <a:pt x="421486" y="229741"/>
                    </a:cubicBezTo>
                    <a:cubicBezTo>
                      <a:pt x="421486" y="229741"/>
                      <a:pt x="425877" y="247326"/>
                      <a:pt x="406556" y="255239"/>
                    </a:cubicBezTo>
                    <a:cubicBezTo>
                      <a:pt x="388112" y="263152"/>
                      <a:pt x="407434" y="286012"/>
                      <a:pt x="407434" y="286012"/>
                    </a:cubicBezTo>
                    <a:cubicBezTo>
                      <a:pt x="407434" y="286012"/>
                      <a:pt x="417094" y="298321"/>
                      <a:pt x="389869" y="307113"/>
                    </a:cubicBezTo>
                    <a:cubicBezTo>
                      <a:pt x="383721" y="308872"/>
                      <a:pt x="402164" y="302717"/>
                      <a:pt x="407434" y="304476"/>
                    </a:cubicBezTo>
                    <a:cubicBezTo>
                      <a:pt x="407434" y="304476"/>
                      <a:pt x="413582" y="315027"/>
                      <a:pt x="407434" y="325577"/>
                    </a:cubicBezTo>
                    <a:cubicBezTo>
                      <a:pt x="401286" y="335249"/>
                      <a:pt x="415338" y="364263"/>
                      <a:pt x="411825" y="375693"/>
                    </a:cubicBezTo>
                    <a:cubicBezTo>
                      <a:pt x="407434" y="392399"/>
                      <a:pt x="360009" y="402070"/>
                      <a:pt x="325757" y="407346"/>
                    </a:cubicBezTo>
                    <a:lnTo>
                      <a:pt x="309949" y="511974"/>
                    </a:lnTo>
                    <a:cubicBezTo>
                      <a:pt x="324879" y="531317"/>
                      <a:pt x="350348" y="533955"/>
                      <a:pt x="350348" y="533955"/>
                    </a:cubicBezTo>
                    <a:cubicBezTo>
                      <a:pt x="264280" y="606931"/>
                      <a:pt x="53502" y="555057"/>
                      <a:pt x="53502" y="555057"/>
                    </a:cubicBezTo>
                    <a:cubicBezTo>
                      <a:pt x="85119" y="548902"/>
                      <a:pt x="98292" y="530438"/>
                      <a:pt x="103562" y="520767"/>
                    </a:cubicBezTo>
                    <a:lnTo>
                      <a:pt x="128153" y="395916"/>
                    </a:lnTo>
                    <a:cubicBezTo>
                      <a:pt x="124640" y="395916"/>
                      <a:pt x="120248" y="391520"/>
                      <a:pt x="116736" y="384486"/>
                    </a:cubicBezTo>
                    <a:cubicBezTo>
                      <a:pt x="109710" y="370418"/>
                      <a:pt x="85997" y="340524"/>
                      <a:pt x="49111" y="309751"/>
                    </a:cubicBezTo>
                    <a:cubicBezTo>
                      <a:pt x="-71" y="268427"/>
                      <a:pt x="-24662" y="198089"/>
                      <a:pt x="35059" y="108407"/>
                    </a:cubicBezTo>
                    <a:lnTo>
                      <a:pt x="35059" y="10840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724238E0-8980-B45D-13AC-6EACCA7948F1}"/>
                  </a:ext>
                </a:extLst>
              </p:cNvPr>
              <p:cNvSpPr/>
              <p:nvPr/>
            </p:nvSpPr>
            <p:spPr>
              <a:xfrm>
                <a:off x="-11908820" y="2136257"/>
                <a:ext cx="419414" cy="414617"/>
              </a:xfrm>
              <a:custGeom>
                <a:avLst/>
                <a:gdLst>
                  <a:gd name="connsiteX0" fmla="*/ 32424 w 419414"/>
                  <a:gd name="connsiteY0" fmla="*/ 108407 h 414617"/>
                  <a:gd name="connsiteX1" fmla="*/ 59650 w 419414"/>
                  <a:gd name="connsiteY1" fmla="*/ 60050 h 414617"/>
                  <a:gd name="connsiteX2" fmla="*/ 170308 w 419414"/>
                  <a:gd name="connsiteY2" fmla="*/ 8175 h 414617"/>
                  <a:gd name="connsiteX3" fmla="*/ 285358 w 419414"/>
                  <a:gd name="connsiteY3" fmla="*/ 21364 h 414617"/>
                  <a:gd name="connsiteX4" fmla="*/ 302923 w 419414"/>
                  <a:gd name="connsiteY4" fmla="*/ 73238 h 414617"/>
                  <a:gd name="connsiteX5" fmla="*/ 302923 w 419414"/>
                  <a:gd name="connsiteY5" fmla="*/ 73238 h 414617"/>
                  <a:gd name="connsiteX6" fmla="*/ 249350 w 419414"/>
                  <a:gd name="connsiteY6" fmla="*/ 122475 h 414617"/>
                  <a:gd name="connsiteX7" fmla="*/ 217733 w 419414"/>
                  <a:gd name="connsiteY7" fmla="*/ 223587 h 414617"/>
                  <a:gd name="connsiteX8" fmla="*/ 325757 w 419414"/>
                  <a:gd name="connsiteY8" fmla="*/ 344920 h 414617"/>
                  <a:gd name="connsiteX9" fmla="*/ 339809 w 419414"/>
                  <a:gd name="connsiteY9" fmla="*/ 290408 h 414617"/>
                  <a:gd name="connsiteX10" fmla="*/ 396017 w 419414"/>
                  <a:gd name="connsiteY10" fmla="*/ 261394 h 414617"/>
                  <a:gd name="connsiteX11" fmla="*/ 403043 w 419414"/>
                  <a:gd name="connsiteY11" fmla="*/ 282495 h 414617"/>
                  <a:gd name="connsiteX12" fmla="*/ 361765 w 419414"/>
                  <a:gd name="connsiteY12" fmla="*/ 304476 h 414617"/>
                  <a:gd name="connsiteX13" fmla="*/ 361765 w 419414"/>
                  <a:gd name="connsiteY13" fmla="*/ 355471 h 414617"/>
                  <a:gd name="connsiteX14" fmla="*/ 410069 w 419414"/>
                  <a:gd name="connsiteY14" fmla="*/ 344920 h 414617"/>
                  <a:gd name="connsiteX15" fmla="*/ 413581 w 419414"/>
                  <a:gd name="connsiteY15" fmla="*/ 395916 h 414617"/>
                  <a:gd name="connsiteX16" fmla="*/ 288871 w 419414"/>
                  <a:gd name="connsiteY16" fmla="*/ 403829 h 414617"/>
                  <a:gd name="connsiteX17" fmla="*/ 217733 w 419414"/>
                  <a:gd name="connsiteY17" fmla="*/ 272823 h 414617"/>
                  <a:gd name="connsiteX18" fmla="*/ 210707 w 419414"/>
                  <a:gd name="connsiteY18" fmla="*/ 263152 h 414617"/>
                  <a:gd name="connsiteX19" fmla="*/ 141326 w 419414"/>
                  <a:gd name="connsiteY19" fmla="*/ 311510 h 414617"/>
                  <a:gd name="connsiteX20" fmla="*/ 162404 w 419414"/>
                  <a:gd name="connsiteY20" fmla="*/ 337887 h 414617"/>
                  <a:gd name="connsiteX21" fmla="*/ 142205 w 419414"/>
                  <a:gd name="connsiteY21" fmla="*/ 383607 h 414617"/>
                  <a:gd name="connsiteX22" fmla="*/ 116735 w 419414"/>
                  <a:gd name="connsiteY22" fmla="*/ 385365 h 414617"/>
                  <a:gd name="connsiteX23" fmla="*/ 49111 w 419414"/>
                  <a:gd name="connsiteY23" fmla="*/ 310630 h 414617"/>
                  <a:gd name="connsiteX24" fmla="*/ 35059 w 419414"/>
                  <a:gd name="connsiteY24" fmla="*/ 109287 h 414617"/>
                  <a:gd name="connsiteX25" fmla="*/ 33302 w 419414"/>
                  <a:gd name="connsiteY25" fmla="*/ 109287 h 41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19414" h="414617">
                    <a:moveTo>
                      <a:pt x="32424" y="108407"/>
                    </a:moveTo>
                    <a:cubicBezTo>
                      <a:pt x="37694" y="90823"/>
                      <a:pt x="46476" y="74117"/>
                      <a:pt x="59650" y="60050"/>
                    </a:cubicBezTo>
                    <a:cubicBezTo>
                      <a:pt x="99171" y="16967"/>
                      <a:pt x="170308" y="8175"/>
                      <a:pt x="170308" y="8175"/>
                    </a:cubicBezTo>
                    <a:cubicBezTo>
                      <a:pt x="236176" y="-11168"/>
                      <a:pt x="262524" y="8175"/>
                      <a:pt x="285358" y="21364"/>
                    </a:cubicBezTo>
                    <a:cubicBezTo>
                      <a:pt x="326636" y="47740"/>
                      <a:pt x="309071" y="67084"/>
                      <a:pt x="302923" y="73238"/>
                    </a:cubicBezTo>
                    <a:lnTo>
                      <a:pt x="302923" y="73238"/>
                    </a:lnTo>
                    <a:cubicBezTo>
                      <a:pt x="302923" y="73238"/>
                      <a:pt x="286236" y="107528"/>
                      <a:pt x="249350" y="122475"/>
                    </a:cubicBezTo>
                    <a:cubicBezTo>
                      <a:pt x="170308" y="153248"/>
                      <a:pt x="214220" y="214794"/>
                      <a:pt x="217733" y="223587"/>
                    </a:cubicBezTo>
                    <a:cubicBezTo>
                      <a:pt x="224759" y="240292"/>
                      <a:pt x="287115" y="322060"/>
                      <a:pt x="325757" y="344920"/>
                    </a:cubicBezTo>
                    <a:cubicBezTo>
                      <a:pt x="327514" y="330853"/>
                      <a:pt x="331905" y="303597"/>
                      <a:pt x="339809" y="290408"/>
                    </a:cubicBezTo>
                    <a:cubicBezTo>
                      <a:pt x="352104" y="270186"/>
                      <a:pt x="396017" y="261394"/>
                      <a:pt x="396017" y="261394"/>
                    </a:cubicBezTo>
                    <a:cubicBezTo>
                      <a:pt x="400408" y="266669"/>
                      <a:pt x="403043" y="276340"/>
                      <a:pt x="403043" y="282495"/>
                    </a:cubicBezTo>
                    <a:cubicBezTo>
                      <a:pt x="403043" y="282495"/>
                      <a:pt x="381087" y="278978"/>
                      <a:pt x="361765" y="304476"/>
                    </a:cubicBezTo>
                    <a:cubicBezTo>
                      <a:pt x="354739" y="313268"/>
                      <a:pt x="358252" y="344920"/>
                      <a:pt x="361765" y="355471"/>
                    </a:cubicBezTo>
                    <a:cubicBezTo>
                      <a:pt x="399530" y="351075"/>
                      <a:pt x="410069" y="344920"/>
                      <a:pt x="410069" y="344920"/>
                    </a:cubicBezTo>
                    <a:cubicBezTo>
                      <a:pt x="410069" y="344920"/>
                      <a:pt x="428512" y="379210"/>
                      <a:pt x="413581" y="395916"/>
                    </a:cubicBezTo>
                    <a:cubicBezTo>
                      <a:pt x="397773" y="412621"/>
                      <a:pt x="311705" y="424051"/>
                      <a:pt x="288871" y="403829"/>
                    </a:cubicBezTo>
                    <a:cubicBezTo>
                      <a:pt x="267793" y="385365"/>
                      <a:pt x="226516" y="292167"/>
                      <a:pt x="217733" y="272823"/>
                    </a:cubicBezTo>
                    <a:cubicBezTo>
                      <a:pt x="215977" y="271065"/>
                      <a:pt x="213342" y="268427"/>
                      <a:pt x="210707" y="263152"/>
                    </a:cubicBezTo>
                    <a:cubicBezTo>
                      <a:pt x="168552" y="192813"/>
                      <a:pt x="96536" y="231500"/>
                      <a:pt x="141326" y="311510"/>
                    </a:cubicBezTo>
                    <a:cubicBezTo>
                      <a:pt x="147474" y="322060"/>
                      <a:pt x="154500" y="330853"/>
                      <a:pt x="162404" y="337887"/>
                    </a:cubicBezTo>
                    <a:cubicBezTo>
                      <a:pt x="150987" y="358109"/>
                      <a:pt x="146596" y="373056"/>
                      <a:pt x="142205" y="383607"/>
                    </a:cubicBezTo>
                    <a:cubicBezTo>
                      <a:pt x="135179" y="400312"/>
                      <a:pt x="124640" y="401191"/>
                      <a:pt x="116735" y="385365"/>
                    </a:cubicBezTo>
                    <a:cubicBezTo>
                      <a:pt x="109709" y="371297"/>
                      <a:pt x="85997" y="341403"/>
                      <a:pt x="49111" y="310630"/>
                    </a:cubicBezTo>
                    <a:cubicBezTo>
                      <a:pt x="-71" y="269307"/>
                      <a:pt x="-24662" y="198968"/>
                      <a:pt x="35059" y="109287"/>
                    </a:cubicBezTo>
                    <a:lnTo>
                      <a:pt x="33302" y="109287"/>
                    </a:lnTo>
                    <a:close/>
                  </a:path>
                </a:pathLst>
              </a:custGeom>
              <a:solidFill>
                <a:srgbClr val="4D260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B56B49E-2B4B-E02A-5E8B-026232AB2D64}"/>
                  </a:ext>
                </a:extLst>
              </p:cNvPr>
              <p:cNvSpPr/>
              <p:nvPr/>
            </p:nvSpPr>
            <p:spPr>
              <a:xfrm>
                <a:off x="-11589492" y="5467924"/>
                <a:ext cx="418819" cy="329711"/>
              </a:xfrm>
              <a:custGeom>
                <a:avLst/>
                <a:gdLst>
                  <a:gd name="connsiteX0" fmla="*/ 32777 w 418819"/>
                  <a:gd name="connsiteY0" fmla="*/ 41324 h 329711"/>
                  <a:gd name="connsiteX1" fmla="*/ 6430 w 418819"/>
                  <a:gd name="connsiteY1" fmla="*/ 35169 h 329711"/>
                  <a:gd name="connsiteX2" fmla="*/ 14334 w 418819"/>
                  <a:gd name="connsiteY2" fmla="*/ 151228 h 329711"/>
                  <a:gd name="connsiteX3" fmla="*/ 282 w 418819"/>
                  <a:gd name="connsiteY3" fmla="*/ 277837 h 329711"/>
                  <a:gd name="connsiteX4" fmla="*/ 282 w 418819"/>
                  <a:gd name="connsiteY4" fmla="*/ 329712 h 329711"/>
                  <a:gd name="connsiteX5" fmla="*/ 129384 w 418819"/>
                  <a:gd name="connsiteY5" fmla="*/ 329712 h 329711"/>
                  <a:gd name="connsiteX6" fmla="*/ 138166 w 418819"/>
                  <a:gd name="connsiteY6" fmla="*/ 291025 h 329711"/>
                  <a:gd name="connsiteX7" fmla="*/ 209304 w 418819"/>
                  <a:gd name="connsiteY7" fmla="*/ 329712 h 329711"/>
                  <a:gd name="connsiteX8" fmla="*/ 413934 w 418819"/>
                  <a:gd name="connsiteY8" fmla="*/ 329712 h 329711"/>
                  <a:gd name="connsiteX9" fmla="*/ 418326 w 418819"/>
                  <a:gd name="connsiteY9" fmla="*/ 277837 h 329711"/>
                  <a:gd name="connsiteX10" fmla="*/ 378805 w 418819"/>
                  <a:gd name="connsiteY10" fmla="*/ 211895 h 329711"/>
                  <a:gd name="connsiteX11" fmla="*/ 204913 w 418819"/>
                  <a:gd name="connsiteY11" fmla="*/ 107266 h 329711"/>
                  <a:gd name="connsiteX12" fmla="*/ 179444 w 418819"/>
                  <a:gd name="connsiteY12" fmla="*/ 0 h 329711"/>
                  <a:gd name="connsiteX13" fmla="*/ 102158 w 418819"/>
                  <a:gd name="connsiteY13" fmla="*/ 21981 h 329711"/>
                  <a:gd name="connsiteX14" fmla="*/ 32777 w 418819"/>
                  <a:gd name="connsiteY14" fmla="*/ 41324 h 329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18819" h="329711">
                    <a:moveTo>
                      <a:pt x="32777" y="41324"/>
                    </a:moveTo>
                    <a:cubicBezTo>
                      <a:pt x="32777" y="41324"/>
                      <a:pt x="-4987" y="10551"/>
                      <a:pt x="6430" y="35169"/>
                    </a:cubicBezTo>
                    <a:cubicBezTo>
                      <a:pt x="17847" y="59788"/>
                      <a:pt x="11699" y="137160"/>
                      <a:pt x="14334" y="151228"/>
                    </a:cubicBezTo>
                    <a:cubicBezTo>
                      <a:pt x="14334" y="151228"/>
                      <a:pt x="-2353" y="225962"/>
                      <a:pt x="282" y="277837"/>
                    </a:cubicBezTo>
                    <a:lnTo>
                      <a:pt x="282" y="329712"/>
                    </a:lnTo>
                    <a:lnTo>
                      <a:pt x="129384" y="329712"/>
                    </a:lnTo>
                    <a:lnTo>
                      <a:pt x="138166" y="291025"/>
                    </a:lnTo>
                    <a:cubicBezTo>
                      <a:pt x="138166" y="291025"/>
                      <a:pt x="179444" y="299818"/>
                      <a:pt x="209304" y="329712"/>
                    </a:cubicBezTo>
                    <a:lnTo>
                      <a:pt x="413934" y="329712"/>
                    </a:lnTo>
                    <a:lnTo>
                      <a:pt x="418326" y="277837"/>
                    </a:lnTo>
                    <a:cubicBezTo>
                      <a:pt x="418326" y="277837"/>
                      <a:pt x="426230" y="240030"/>
                      <a:pt x="378805" y="211895"/>
                    </a:cubicBezTo>
                    <a:cubicBezTo>
                      <a:pt x="356849" y="199585"/>
                      <a:pt x="261120" y="201344"/>
                      <a:pt x="204913" y="107266"/>
                    </a:cubicBezTo>
                    <a:cubicBezTo>
                      <a:pt x="166270" y="42203"/>
                      <a:pt x="179444" y="0"/>
                      <a:pt x="179444" y="0"/>
                    </a:cubicBezTo>
                    <a:cubicBezTo>
                      <a:pt x="179444" y="0"/>
                      <a:pt x="116210" y="0"/>
                      <a:pt x="102158" y="21981"/>
                    </a:cubicBezTo>
                    <a:cubicBezTo>
                      <a:pt x="88106" y="43962"/>
                      <a:pt x="32777" y="41324"/>
                      <a:pt x="32777" y="41324"/>
                    </a:cubicBez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B00B5C8F-3719-FF2E-0BD2-F79CA49F25EE}"/>
                  </a:ext>
                </a:extLst>
              </p:cNvPr>
              <p:cNvSpPr/>
              <p:nvPr/>
            </p:nvSpPr>
            <p:spPr>
              <a:xfrm>
                <a:off x="-12205541" y="5475665"/>
                <a:ext cx="265034" cy="329937"/>
              </a:xfrm>
              <a:custGeom>
                <a:avLst/>
                <a:gdLst>
                  <a:gd name="connsiteX0" fmla="*/ 108707 w 265034"/>
                  <a:gd name="connsiteY0" fmla="*/ 44133 h 329937"/>
                  <a:gd name="connsiteX1" fmla="*/ 55134 w 265034"/>
                  <a:gd name="connsiteY1" fmla="*/ 160192 h 329937"/>
                  <a:gd name="connsiteX2" fmla="*/ 1561 w 265034"/>
                  <a:gd name="connsiteY2" fmla="*/ 241081 h 329937"/>
                  <a:gd name="connsiteX3" fmla="*/ 1561 w 265034"/>
                  <a:gd name="connsiteY3" fmla="*/ 317574 h 329937"/>
                  <a:gd name="connsiteX4" fmla="*/ 245713 w 265034"/>
                  <a:gd name="connsiteY4" fmla="*/ 294714 h 329937"/>
                  <a:gd name="connsiteX5" fmla="*/ 263278 w 265034"/>
                  <a:gd name="connsiteY5" fmla="*/ 154037 h 329937"/>
                  <a:gd name="connsiteX6" fmla="*/ 265034 w 265034"/>
                  <a:gd name="connsiteY6" fmla="*/ 10723 h 329937"/>
                  <a:gd name="connsiteX7" fmla="*/ 125393 w 265034"/>
                  <a:gd name="connsiteY7" fmla="*/ 172 h 329937"/>
                  <a:gd name="connsiteX8" fmla="*/ 108707 w 265034"/>
                  <a:gd name="connsiteY8" fmla="*/ 44133 h 329937"/>
                  <a:gd name="connsiteX9" fmla="*/ 109585 w 265034"/>
                  <a:gd name="connsiteY9" fmla="*/ 44133 h 329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5034" h="329937">
                    <a:moveTo>
                      <a:pt x="108707" y="44133"/>
                    </a:moveTo>
                    <a:cubicBezTo>
                      <a:pt x="108707" y="44133"/>
                      <a:pt x="103437" y="117989"/>
                      <a:pt x="55134" y="160192"/>
                    </a:cubicBezTo>
                    <a:cubicBezTo>
                      <a:pt x="55134" y="160192"/>
                      <a:pt x="5074" y="192723"/>
                      <a:pt x="1561" y="241081"/>
                    </a:cubicBezTo>
                    <a:cubicBezTo>
                      <a:pt x="-1952" y="283284"/>
                      <a:pt x="1561" y="317574"/>
                      <a:pt x="1561" y="317574"/>
                    </a:cubicBezTo>
                    <a:cubicBezTo>
                      <a:pt x="1561" y="317574"/>
                      <a:pt x="200922" y="357140"/>
                      <a:pt x="245713" y="294714"/>
                    </a:cubicBezTo>
                    <a:cubicBezTo>
                      <a:pt x="245713" y="294714"/>
                      <a:pt x="268547" y="204154"/>
                      <a:pt x="263278" y="154037"/>
                    </a:cubicBezTo>
                    <a:cubicBezTo>
                      <a:pt x="258008" y="103921"/>
                      <a:pt x="265034" y="10723"/>
                      <a:pt x="265034" y="10723"/>
                    </a:cubicBezTo>
                    <a:cubicBezTo>
                      <a:pt x="265034" y="10723"/>
                      <a:pt x="133298" y="-1586"/>
                      <a:pt x="125393" y="172"/>
                    </a:cubicBezTo>
                    <a:cubicBezTo>
                      <a:pt x="118368" y="1930"/>
                      <a:pt x="108707" y="44133"/>
                      <a:pt x="108707" y="44133"/>
                    </a:cubicBezTo>
                    <a:lnTo>
                      <a:pt x="109585" y="44133"/>
                    </a:lnTo>
                    <a:close/>
                  </a:path>
                </a:pathLst>
              </a:custGeom>
              <a:solidFill>
                <a:srgbClr val="5E3930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307ED452-A366-C214-D2BB-444760E4E00F}"/>
                  </a:ext>
                </a:extLst>
              </p:cNvPr>
              <p:cNvSpPr/>
              <p:nvPr/>
            </p:nvSpPr>
            <p:spPr>
              <a:xfrm>
                <a:off x="-12144260" y="2715053"/>
                <a:ext cx="329838" cy="862525"/>
              </a:xfrm>
              <a:custGeom>
                <a:avLst/>
                <a:gdLst>
                  <a:gd name="connsiteX0" fmla="*/ 103633 w 329838"/>
                  <a:gd name="connsiteY0" fmla="*/ 31652 h 862525"/>
                  <a:gd name="connsiteX1" fmla="*/ 189700 w 329838"/>
                  <a:gd name="connsiteY1" fmla="*/ 0 h 862525"/>
                  <a:gd name="connsiteX2" fmla="*/ 305628 w 329838"/>
                  <a:gd name="connsiteY2" fmla="*/ 504678 h 862525"/>
                  <a:gd name="connsiteX3" fmla="*/ 0 w 329838"/>
                  <a:gd name="connsiteY3" fmla="*/ 862525 h 862525"/>
                  <a:gd name="connsiteX4" fmla="*/ 103633 w 329838"/>
                  <a:gd name="connsiteY4" fmla="*/ 31652 h 86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838" h="862525">
                    <a:moveTo>
                      <a:pt x="103633" y="31652"/>
                    </a:moveTo>
                    <a:lnTo>
                      <a:pt x="189700" y="0"/>
                    </a:lnTo>
                    <a:cubicBezTo>
                      <a:pt x="189700" y="0"/>
                      <a:pt x="399600" y="269924"/>
                      <a:pt x="305628" y="504678"/>
                    </a:cubicBezTo>
                    <a:cubicBezTo>
                      <a:pt x="211656" y="740312"/>
                      <a:pt x="0" y="862525"/>
                      <a:pt x="0" y="862525"/>
                    </a:cubicBezTo>
                    <a:cubicBezTo>
                      <a:pt x="0" y="862525"/>
                      <a:pt x="454051" y="622495"/>
                      <a:pt x="103633" y="316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29947BE-6071-499B-ED54-7F015B437BEC}"/>
                  </a:ext>
                </a:extLst>
              </p:cNvPr>
              <p:cNvSpPr/>
              <p:nvPr/>
            </p:nvSpPr>
            <p:spPr>
              <a:xfrm>
                <a:off x="-12175876" y="2827120"/>
                <a:ext cx="360797" cy="516625"/>
              </a:xfrm>
              <a:custGeom>
                <a:avLst/>
                <a:gdLst>
                  <a:gd name="connsiteX0" fmla="*/ 302994 w 360797"/>
                  <a:gd name="connsiteY0" fmla="*/ 35643 h 516625"/>
                  <a:gd name="connsiteX1" fmla="*/ 319680 w 360797"/>
                  <a:gd name="connsiteY1" fmla="*/ 8387 h 516625"/>
                  <a:gd name="connsiteX2" fmla="*/ 288942 w 360797"/>
                  <a:gd name="connsiteY2" fmla="*/ 3991 h 516625"/>
                  <a:gd name="connsiteX3" fmla="*/ 214291 w 360797"/>
                  <a:gd name="connsiteY3" fmla="*/ 47073 h 516625"/>
                  <a:gd name="connsiteX4" fmla="*/ 189700 w 360797"/>
                  <a:gd name="connsiteY4" fmla="*/ 149064 h 516625"/>
                  <a:gd name="connsiteX5" fmla="*/ 194970 w 360797"/>
                  <a:gd name="connsiteY5" fmla="*/ 210610 h 516625"/>
                  <a:gd name="connsiteX6" fmla="*/ 0 w 360797"/>
                  <a:gd name="connsiteY6" fmla="*/ 415471 h 516625"/>
                  <a:gd name="connsiteX7" fmla="*/ 132615 w 360797"/>
                  <a:gd name="connsiteY7" fmla="*/ 514824 h 516625"/>
                  <a:gd name="connsiteX8" fmla="*/ 262594 w 360797"/>
                  <a:gd name="connsiteY8" fmla="*/ 328427 h 516625"/>
                  <a:gd name="connsiteX9" fmla="*/ 286307 w 360797"/>
                  <a:gd name="connsiteY9" fmla="*/ 224678 h 516625"/>
                  <a:gd name="connsiteX10" fmla="*/ 309141 w 360797"/>
                  <a:gd name="connsiteY10" fmla="*/ 186871 h 516625"/>
                  <a:gd name="connsiteX11" fmla="*/ 355688 w 360797"/>
                  <a:gd name="connsiteY11" fmla="*/ 127083 h 516625"/>
                  <a:gd name="connsiteX12" fmla="*/ 339880 w 360797"/>
                  <a:gd name="connsiteY12" fmla="*/ 98069 h 516625"/>
                  <a:gd name="connsiteX13" fmla="*/ 279281 w 360797"/>
                  <a:gd name="connsiteY13" fmla="*/ 153460 h 516625"/>
                  <a:gd name="connsiteX14" fmla="*/ 346028 w 360797"/>
                  <a:gd name="connsiteY14" fmla="*/ 91914 h 516625"/>
                  <a:gd name="connsiteX15" fmla="*/ 335489 w 360797"/>
                  <a:gd name="connsiteY15" fmla="*/ 61141 h 516625"/>
                  <a:gd name="connsiteX16" fmla="*/ 262594 w 360797"/>
                  <a:gd name="connsiteY16" fmla="*/ 113016 h 516625"/>
                  <a:gd name="connsiteX17" fmla="*/ 329341 w 360797"/>
                  <a:gd name="connsiteY17" fmla="*/ 56745 h 516625"/>
                  <a:gd name="connsiteX18" fmla="*/ 302115 w 360797"/>
                  <a:gd name="connsiteY18" fmla="*/ 35643 h 516625"/>
                  <a:gd name="connsiteX19" fmla="*/ 247664 w 360797"/>
                  <a:gd name="connsiteY19" fmla="*/ 73450 h 516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60797" h="516625">
                    <a:moveTo>
                      <a:pt x="302994" y="35643"/>
                    </a:moveTo>
                    <a:cubicBezTo>
                      <a:pt x="302994" y="35643"/>
                      <a:pt x="328463" y="24213"/>
                      <a:pt x="319680" y="8387"/>
                    </a:cubicBezTo>
                    <a:cubicBezTo>
                      <a:pt x="311776" y="-7439"/>
                      <a:pt x="288942" y="3991"/>
                      <a:pt x="288942" y="3991"/>
                    </a:cubicBezTo>
                    <a:cubicBezTo>
                      <a:pt x="288942" y="3991"/>
                      <a:pt x="230978" y="35643"/>
                      <a:pt x="214291" y="47073"/>
                    </a:cubicBezTo>
                    <a:cubicBezTo>
                      <a:pt x="197605" y="58503"/>
                      <a:pt x="180918" y="84880"/>
                      <a:pt x="189700" y="149064"/>
                    </a:cubicBezTo>
                    <a:cubicBezTo>
                      <a:pt x="191457" y="180716"/>
                      <a:pt x="194970" y="210610"/>
                      <a:pt x="194970" y="210610"/>
                    </a:cubicBezTo>
                    <a:cubicBezTo>
                      <a:pt x="194970" y="232591"/>
                      <a:pt x="0" y="415471"/>
                      <a:pt x="0" y="415471"/>
                    </a:cubicBezTo>
                    <a:cubicBezTo>
                      <a:pt x="0" y="415471"/>
                      <a:pt x="26347" y="532409"/>
                      <a:pt x="132615" y="514824"/>
                    </a:cubicBezTo>
                    <a:lnTo>
                      <a:pt x="262594" y="328427"/>
                    </a:lnTo>
                    <a:cubicBezTo>
                      <a:pt x="283672" y="294137"/>
                      <a:pt x="285429" y="263364"/>
                      <a:pt x="286307" y="224678"/>
                    </a:cubicBezTo>
                    <a:cubicBezTo>
                      <a:pt x="290698" y="207973"/>
                      <a:pt x="304750" y="193026"/>
                      <a:pt x="309141" y="186871"/>
                    </a:cubicBezTo>
                    <a:cubicBezTo>
                      <a:pt x="309141" y="186871"/>
                      <a:pt x="344271" y="140272"/>
                      <a:pt x="355688" y="127083"/>
                    </a:cubicBezTo>
                    <a:cubicBezTo>
                      <a:pt x="367105" y="113895"/>
                      <a:pt x="358323" y="89276"/>
                      <a:pt x="339880" y="98069"/>
                    </a:cubicBezTo>
                    <a:cubicBezTo>
                      <a:pt x="329341" y="103344"/>
                      <a:pt x="279281" y="153460"/>
                      <a:pt x="279281" y="153460"/>
                    </a:cubicBezTo>
                    <a:lnTo>
                      <a:pt x="346028" y="91914"/>
                    </a:lnTo>
                    <a:cubicBezTo>
                      <a:pt x="353053" y="85759"/>
                      <a:pt x="352175" y="55866"/>
                      <a:pt x="335489" y="61141"/>
                    </a:cubicBezTo>
                    <a:cubicBezTo>
                      <a:pt x="324071" y="64658"/>
                      <a:pt x="262594" y="113016"/>
                      <a:pt x="262594" y="113016"/>
                    </a:cubicBezTo>
                    <a:lnTo>
                      <a:pt x="329341" y="56745"/>
                    </a:lnTo>
                    <a:cubicBezTo>
                      <a:pt x="339880" y="45315"/>
                      <a:pt x="329341" y="18059"/>
                      <a:pt x="302115" y="35643"/>
                    </a:cubicBezTo>
                    <a:cubicBezTo>
                      <a:pt x="274890" y="53228"/>
                      <a:pt x="272255" y="53228"/>
                      <a:pt x="247664" y="73450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1677C6ED-74ED-B71C-DD88-E31E60837823}"/>
                  </a:ext>
                </a:extLst>
              </p:cNvPr>
              <p:cNvSpPr/>
              <p:nvPr/>
            </p:nvSpPr>
            <p:spPr>
              <a:xfrm>
                <a:off x="-11478552" y="3895859"/>
                <a:ext cx="167744" cy="84406"/>
              </a:xfrm>
              <a:custGeom>
                <a:avLst/>
                <a:gdLst>
                  <a:gd name="connsiteX0" fmla="*/ 123832 w 167744"/>
                  <a:gd name="connsiteY0" fmla="*/ 84406 h 84406"/>
                  <a:gd name="connsiteX1" fmla="*/ 167744 w 167744"/>
                  <a:gd name="connsiteY1" fmla="*/ 21981 h 84406"/>
                  <a:gd name="connsiteX2" fmla="*/ 62355 w 167744"/>
                  <a:gd name="connsiteY2" fmla="*/ 0 h 84406"/>
                  <a:gd name="connsiteX3" fmla="*/ 0 w 167744"/>
                  <a:gd name="connsiteY3" fmla="*/ 2638 h 84406"/>
                  <a:gd name="connsiteX4" fmla="*/ 123832 w 167744"/>
                  <a:gd name="connsiteY4" fmla="*/ 83527 h 84406"/>
                  <a:gd name="connsiteX5" fmla="*/ 123832 w 167744"/>
                  <a:gd name="connsiteY5" fmla="*/ 83527 h 8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744" h="84406">
                    <a:moveTo>
                      <a:pt x="123832" y="84406"/>
                    </a:moveTo>
                    <a:lnTo>
                      <a:pt x="167744" y="21981"/>
                    </a:lnTo>
                    <a:lnTo>
                      <a:pt x="62355" y="0"/>
                    </a:lnTo>
                    <a:cubicBezTo>
                      <a:pt x="62355" y="0"/>
                      <a:pt x="26347" y="2638"/>
                      <a:pt x="0" y="2638"/>
                    </a:cubicBezTo>
                    <a:cubicBezTo>
                      <a:pt x="50938" y="60667"/>
                      <a:pt x="123832" y="83527"/>
                      <a:pt x="123832" y="83527"/>
                    </a:cubicBezTo>
                    <a:lnTo>
                      <a:pt x="123832" y="83527"/>
                    </a:lnTo>
                    <a:close/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5399889D-4ABE-A104-9C74-6C76977C2058}"/>
                </a:ext>
              </a:extLst>
            </p:cNvPr>
            <p:cNvSpPr/>
            <p:nvPr/>
          </p:nvSpPr>
          <p:spPr>
            <a:xfrm>
              <a:off x="-11431157" y="3442176"/>
              <a:ext cx="73802" cy="454562"/>
            </a:xfrm>
            <a:custGeom>
              <a:avLst/>
              <a:gdLst>
                <a:gd name="connsiteX0" fmla="*/ 14960 w 73802"/>
                <a:gd name="connsiteY0" fmla="*/ 454562 h 454562"/>
                <a:gd name="connsiteX1" fmla="*/ 30 w 73802"/>
                <a:gd name="connsiteY1" fmla="*/ 398291 h 454562"/>
                <a:gd name="connsiteX2" fmla="*/ 73802 w 73802"/>
                <a:gd name="connsiteY2" fmla="*/ 0 h 45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802" h="454562">
                  <a:moveTo>
                    <a:pt x="14960" y="454562"/>
                  </a:moveTo>
                  <a:cubicBezTo>
                    <a:pt x="30" y="437857"/>
                    <a:pt x="30" y="430823"/>
                    <a:pt x="30" y="398291"/>
                  </a:cubicBezTo>
                  <a:cubicBezTo>
                    <a:pt x="-1726" y="251460"/>
                    <a:pt x="73802" y="134522"/>
                    <a:pt x="73802" y="0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8A87C95-C1B8-F74B-A894-7052D4E0E3C5}"/>
                </a:ext>
              </a:extLst>
            </p:cNvPr>
            <p:cNvSpPr/>
            <p:nvPr/>
          </p:nvSpPr>
          <p:spPr>
            <a:xfrm>
              <a:off x="-12279509" y="3211427"/>
              <a:ext cx="132614" cy="54023"/>
            </a:xfrm>
            <a:custGeom>
              <a:avLst/>
              <a:gdLst>
                <a:gd name="connsiteX0" fmla="*/ 132615 w 132614"/>
                <a:gd name="connsiteY0" fmla="*/ 3908 h 54023"/>
                <a:gd name="connsiteX1" fmla="*/ 92215 w 132614"/>
                <a:gd name="connsiteY1" fmla="*/ 3908 h 54023"/>
                <a:gd name="connsiteX2" fmla="*/ 0 w 132614"/>
                <a:gd name="connsiteY2" fmla="*/ 54024 h 54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2614" h="54023">
                  <a:moveTo>
                    <a:pt x="132615" y="3908"/>
                  </a:moveTo>
                  <a:cubicBezTo>
                    <a:pt x="132615" y="3908"/>
                    <a:pt x="118563" y="-4885"/>
                    <a:pt x="92215" y="3908"/>
                  </a:cubicBezTo>
                  <a:cubicBezTo>
                    <a:pt x="74651" y="9183"/>
                    <a:pt x="0" y="54024"/>
                    <a:pt x="0" y="54024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5604761-EAD5-20C4-9BF0-3CB5FFF3C7D1}"/>
                </a:ext>
              </a:extLst>
            </p:cNvPr>
            <p:cNvSpPr/>
            <p:nvPr/>
          </p:nvSpPr>
          <p:spPr>
            <a:xfrm>
              <a:off x="-12031845" y="3319084"/>
              <a:ext cx="21923" cy="111662"/>
            </a:xfrm>
            <a:custGeom>
              <a:avLst/>
              <a:gdLst>
                <a:gd name="connsiteX0" fmla="*/ 5270 w 21923"/>
                <a:gd name="connsiteY0" fmla="*/ 0 h 111662"/>
                <a:gd name="connsiteX1" fmla="*/ 21078 w 21923"/>
                <a:gd name="connsiteY1" fmla="*/ 50116 h 111662"/>
                <a:gd name="connsiteX2" fmla="*/ 0 w 21923"/>
                <a:gd name="connsiteY2" fmla="*/ 111662 h 11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23" h="111662">
                  <a:moveTo>
                    <a:pt x="5270" y="0"/>
                  </a:moveTo>
                  <a:cubicBezTo>
                    <a:pt x="5270" y="0"/>
                    <a:pt x="26347" y="28135"/>
                    <a:pt x="21078" y="50116"/>
                  </a:cubicBezTo>
                  <a:cubicBezTo>
                    <a:pt x="15808" y="72976"/>
                    <a:pt x="0" y="111662"/>
                    <a:pt x="0" y="11166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aphic 6">
            <a:extLst>
              <a:ext uri="{FF2B5EF4-FFF2-40B4-BE49-F238E27FC236}">
                <a16:creationId xmlns:a16="http://schemas.microsoft.com/office/drawing/2014/main" id="{3CA7EC87-FF3E-BEC8-FC77-3F3ABB62EE10}"/>
              </a:ext>
            </a:extLst>
          </p:cNvPr>
          <p:cNvGrpSpPr/>
          <p:nvPr/>
        </p:nvGrpSpPr>
        <p:grpSpPr>
          <a:xfrm>
            <a:off x="-13480067" y="1704817"/>
            <a:ext cx="6848491" cy="4096335"/>
            <a:chOff x="-13480067" y="1704817"/>
            <a:chExt cx="6848491" cy="4096335"/>
          </a:xfrm>
        </p:grpSpPr>
        <p:grpSp>
          <p:nvGrpSpPr>
            <p:cNvPr id="28" name="Graphic 6">
              <a:extLst>
                <a:ext uri="{FF2B5EF4-FFF2-40B4-BE49-F238E27FC236}">
                  <a16:creationId xmlns:a16="http://schemas.microsoft.com/office/drawing/2014/main" id="{87C8F1F2-22A1-EFB7-8759-C80042903FF1}"/>
                </a:ext>
              </a:extLst>
            </p:cNvPr>
            <p:cNvGrpSpPr/>
            <p:nvPr/>
          </p:nvGrpSpPr>
          <p:grpSpPr>
            <a:xfrm>
              <a:off x="-11320983" y="2416072"/>
              <a:ext cx="2648676" cy="3385079"/>
              <a:chOff x="-11320983" y="2416072"/>
              <a:chExt cx="2648676" cy="3385079"/>
            </a:xfrm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2192FDD5-8B07-E830-CF59-290113EA5574}"/>
                  </a:ext>
                </a:extLst>
              </p:cNvPr>
              <p:cNvSpPr/>
              <p:nvPr/>
            </p:nvSpPr>
            <p:spPr>
              <a:xfrm>
                <a:off x="-11054367" y="2416072"/>
                <a:ext cx="548029" cy="562749"/>
              </a:xfrm>
              <a:custGeom>
                <a:avLst/>
                <a:gdLst>
                  <a:gd name="connsiteX0" fmla="*/ 498848 w 548029"/>
                  <a:gd name="connsiteY0" fmla="*/ 203144 h 562749"/>
                  <a:gd name="connsiteX1" fmla="*/ 468109 w 548029"/>
                  <a:gd name="connsiteY1" fmla="*/ 58950 h 562749"/>
                  <a:gd name="connsiteX2" fmla="*/ 364477 w 548029"/>
                  <a:gd name="connsiteY2" fmla="*/ 7075 h 562749"/>
                  <a:gd name="connsiteX3" fmla="*/ 335495 w 548029"/>
                  <a:gd name="connsiteY3" fmla="*/ 1800 h 562749"/>
                  <a:gd name="connsiteX4" fmla="*/ 277531 w 548029"/>
                  <a:gd name="connsiteY4" fmla="*/ 3559 h 562749"/>
                  <a:gd name="connsiteX5" fmla="*/ 164237 w 548029"/>
                  <a:gd name="connsiteY5" fmla="*/ 77414 h 562749"/>
                  <a:gd name="connsiteX6" fmla="*/ 6 w 548029"/>
                  <a:gd name="connsiteY6" fmla="*/ 562749 h 562749"/>
                  <a:gd name="connsiteX7" fmla="*/ 289826 w 548029"/>
                  <a:gd name="connsiteY7" fmla="*/ 562749 h 562749"/>
                  <a:gd name="connsiteX8" fmla="*/ 272261 w 548029"/>
                  <a:gd name="connsiteY8" fmla="*/ 490652 h 562749"/>
                  <a:gd name="connsiteX9" fmla="*/ 403120 w 548029"/>
                  <a:gd name="connsiteY9" fmla="*/ 492411 h 562749"/>
                  <a:gd name="connsiteX10" fmla="*/ 548030 w 548029"/>
                  <a:gd name="connsiteY10" fmla="*/ 524063 h 562749"/>
                  <a:gd name="connsiteX11" fmla="*/ 498848 w 548029"/>
                  <a:gd name="connsiteY11" fmla="*/ 203144 h 562749"/>
                  <a:gd name="connsiteX12" fmla="*/ 498848 w 548029"/>
                  <a:gd name="connsiteY12" fmla="*/ 203144 h 56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8029" h="562749">
                    <a:moveTo>
                      <a:pt x="498848" y="203144"/>
                    </a:moveTo>
                    <a:cubicBezTo>
                      <a:pt x="504996" y="163579"/>
                      <a:pt x="507630" y="93240"/>
                      <a:pt x="468109" y="58950"/>
                    </a:cubicBezTo>
                    <a:cubicBezTo>
                      <a:pt x="426832" y="22902"/>
                      <a:pt x="384676" y="10592"/>
                      <a:pt x="364477" y="7075"/>
                    </a:cubicBezTo>
                    <a:cubicBezTo>
                      <a:pt x="354816" y="4438"/>
                      <a:pt x="345155" y="2679"/>
                      <a:pt x="335495" y="1800"/>
                    </a:cubicBezTo>
                    <a:cubicBezTo>
                      <a:pt x="317052" y="-838"/>
                      <a:pt x="296852" y="-838"/>
                      <a:pt x="277531" y="3559"/>
                    </a:cubicBezTo>
                    <a:cubicBezTo>
                      <a:pt x="231862" y="11472"/>
                      <a:pt x="190585" y="36090"/>
                      <a:pt x="164237" y="77414"/>
                    </a:cubicBezTo>
                    <a:cubicBezTo>
                      <a:pt x="91343" y="189955"/>
                      <a:pt x="-872" y="451087"/>
                      <a:pt x="6" y="562749"/>
                    </a:cubicBezTo>
                    <a:lnTo>
                      <a:pt x="289826" y="562749"/>
                    </a:lnTo>
                    <a:cubicBezTo>
                      <a:pt x="278409" y="546923"/>
                      <a:pt x="274018" y="521425"/>
                      <a:pt x="272261" y="490652"/>
                    </a:cubicBezTo>
                    <a:cubicBezTo>
                      <a:pt x="337251" y="494169"/>
                      <a:pt x="397850" y="490652"/>
                      <a:pt x="403120" y="492411"/>
                    </a:cubicBezTo>
                    <a:cubicBezTo>
                      <a:pt x="456692" y="501203"/>
                      <a:pt x="544517" y="537252"/>
                      <a:pt x="548030" y="524063"/>
                    </a:cubicBezTo>
                    <a:cubicBezTo>
                      <a:pt x="505874" y="412401"/>
                      <a:pt x="512900" y="300739"/>
                      <a:pt x="498848" y="203144"/>
                    </a:cubicBezTo>
                    <a:lnTo>
                      <a:pt x="498848" y="203144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69D8ACA1-1DC9-3C2A-FBB5-068882EB8000}"/>
                  </a:ext>
                </a:extLst>
              </p:cNvPr>
              <p:cNvSpPr/>
              <p:nvPr/>
            </p:nvSpPr>
            <p:spPr>
              <a:xfrm>
                <a:off x="-10853243" y="2453042"/>
                <a:ext cx="330414" cy="535451"/>
              </a:xfrm>
              <a:custGeom>
                <a:avLst/>
                <a:gdLst>
                  <a:gd name="connsiteX0" fmla="*/ 328463 w 330414"/>
                  <a:gd name="connsiteY0" fmla="*/ 203982 h 535451"/>
                  <a:gd name="connsiteX1" fmla="*/ 328463 w 330414"/>
                  <a:gd name="connsiteY1" fmla="*/ 189035 h 535451"/>
                  <a:gd name="connsiteX2" fmla="*/ 288942 w 330414"/>
                  <a:gd name="connsiteY2" fmla="*/ 144194 h 535451"/>
                  <a:gd name="connsiteX3" fmla="*/ 287185 w 330414"/>
                  <a:gd name="connsiteY3" fmla="*/ 138918 h 535451"/>
                  <a:gd name="connsiteX4" fmla="*/ 229221 w 330414"/>
                  <a:gd name="connsiteY4" fmla="*/ 22860 h 535451"/>
                  <a:gd name="connsiteX5" fmla="*/ 193213 w 330414"/>
                  <a:gd name="connsiteY5" fmla="*/ 0 h 535451"/>
                  <a:gd name="connsiteX6" fmla="*/ 188822 w 330414"/>
                  <a:gd name="connsiteY6" fmla="*/ 1759 h 535451"/>
                  <a:gd name="connsiteX7" fmla="*/ 143153 w 330414"/>
                  <a:gd name="connsiteY7" fmla="*/ 187276 h 535451"/>
                  <a:gd name="connsiteX8" fmla="*/ 90459 w 330414"/>
                  <a:gd name="connsiteY8" fmla="*/ 154745 h 535451"/>
                  <a:gd name="connsiteX9" fmla="*/ 87824 w 330414"/>
                  <a:gd name="connsiteY9" fmla="*/ 243547 h 535451"/>
                  <a:gd name="connsiteX10" fmla="*/ 92215 w 330414"/>
                  <a:gd name="connsiteY10" fmla="*/ 248822 h 535451"/>
                  <a:gd name="connsiteX11" fmla="*/ 0 w 330414"/>
                  <a:gd name="connsiteY11" fmla="*/ 451925 h 535451"/>
                  <a:gd name="connsiteX12" fmla="*/ 191457 w 330414"/>
                  <a:gd name="connsiteY12" fmla="*/ 535452 h 535451"/>
                  <a:gd name="connsiteX13" fmla="*/ 223074 w 330414"/>
                  <a:gd name="connsiteY13" fmla="*/ 326195 h 535451"/>
                  <a:gd name="connsiteX14" fmla="*/ 234491 w 330414"/>
                  <a:gd name="connsiteY14" fmla="*/ 327074 h 535451"/>
                  <a:gd name="connsiteX15" fmla="*/ 295090 w 330414"/>
                  <a:gd name="connsiteY15" fmla="*/ 330591 h 535451"/>
                  <a:gd name="connsiteX16" fmla="*/ 316167 w 330414"/>
                  <a:gd name="connsiteY16" fmla="*/ 283112 h 535451"/>
                  <a:gd name="connsiteX17" fmla="*/ 327584 w 330414"/>
                  <a:gd name="connsiteY17" fmla="*/ 272562 h 535451"/>
                  <a:gd name="connsiteX18" fmla="*/ 307385 w 330414"/>
                  <a:gd name="connsiteY18" fmla="*/ 255856 h 535451"/>
                  <a:gd name="connsiteX19" fmla="*/ 326706 w 330414"/>
                  <a:gd name="connsiteY19" fmla="*/ 233875 h 535451"/>
                  <a:gd name="connsiteX20" fmla="*/ 317046 w 330414"/>
                  <a:gd name="connsiteY20" fmla="*/ 220687 h 535451"/>
                  <a:gd name="connsiteX21" fmla="*/ 317924 w 330414"/>
                  <a:gd name="connsiteY21" fmla="*/ 211015 h 535451"/>
                  <a:gd name="connsiteX22" fmla="*/ 328463 w 330414"/>
                  <a:gd name="connsiteY22" fmla="*/ 202223 h 535451"/>
                  <a:gd name="connsiteX23" fmla="*/ 328463 w 330414"/>
                  <a:gd name="connsiteY23" fmla="*/ 202223 h 535451"/>
                  <a:gd name="connsiteX24" fmla="*/ 328463 w 330414"/>
                  <a:gd name="connsiteY24" fmla="*/ 203982 h 535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0414" h="535451">
                    <a:moveTo>
                      <a:pt x="328463" y="203982"/>
                    </a:moveTo>
                    <a:cubicBezTo>
                      <a:pt x="328463" y="203982"/>
                      <a:pt x="332854" y="196068"/>
                      <a:pt x="328463" y="189035"/>
                    </a:cubicBezTo>
                    <a:lnTo>
                      <a:pt x="288942" y="144194"/>
                    </a:lnTo>
                    <a:cubicBezTo>
                      <a:pt x="288063" y="142435"/>
                      <a:pt x="287185" y="140677"/>
                      <a:pt x="287185" y="138918"/>
                    </a:cubicBezTo>
                    <a:cubicBezTo>
                      <a:pt x="281916" y="63305"/>
                      <a:pt x="229221" y="22860"/>
                      <a:pt x="229221" y="22860"/>
                    </a:cubicBezTo>
                    <a:cubicBezTo>
                      <a:pt x="214291" y="11430"/>
                      <a:pt x="200239" y="3517"/>
                      <a:pt x="193213" y="0"/>
                    </a:cubicBezTo>
                    <a:cubicBezTo>
                      <a:pt x="191457" y="0"/>
                      <a:pt x="190578" y="0"/>
                      <a:pt x="188822" y="1759"/>
                    </a:cubicBezTo>
                    <a:cubicBezTo>
                      <a:pt x="156327" y="80889"/>
                      <a:pt x="143153" y="187276"/>
                      <a:pt x="143153" y="187276"/>
                    </a:cubicBezTo>
                    <a:cubicBezTo>
                      <a:pt x="143153" y="187276"/>
                      <a:pt x="123832" y="136281"/>
                      <a:pt x="90459" y="154745"/>
                    </a:cubicBezTo>
                    <a:cubicBezTo>
                      <a:pt x="65868" y="167933"/>
                      <a:pt x="62355" y="210136"/>
                      <a:pt x="87824" y="243547"/>
                    </a:cubicBezTo>
                    <a:cubicBezTo>
                      <a:pt x="89581" y="245305"/>
                      <a:pt x="91337" y="247064"/>
                      <a:pt x="92215" y="248822"/>
                    </a:cubicBezTo>
                    <a:cubicBezTo>
                      <a:pt x="86068" y="286629"/>
                      <a:pt x="64112" y="383345"/>
                      <a:pt x="0" y="451925"/>
                    </a:cubicBezTo>
                    <a:cubicBezTo>
                      <a:pt x="23712" y="506437"/>
                      <a:pt x="104511" y="523142"/>
                      <a:pt x="191457" y="535452"/>
                    </a:cubicBezTo>
                    <a:cubicBezTo>
                      <a:pt x="191457" y="535452"/>
                      <a:pt x="214291" y="389499"/>
                      <a:pt x="223074" y="326195"/>
                    </a:cubicBezTo>
                    <a:cubicBezTo>
                      <a:pt x="230099" y="326195"/>
                      <a:pt x="234491" y="327074"/>
                      <a:pt x="234491" y="327074"/>
                    </a:cubicBezTo>
                    <a:cubicBezTo>
                      <a:pt x="254690" y="329712"/>
                      <a:pt x="275768" y="331470"/>
                      <a:pt x="295090" y="330591"/>
                    </a:cubicBezTo>
                    <a:cubicBezTo>
                      <a:pt x="295090" y="330591"/>
                      <a:pt x="338123" y="328832"/>
                      <a:pt x="316167" y="283112"/>
                    </a:cubicBezTo>
                    <a:lnTo>
                      <a:pt x="327584" y="272562"/>
                    </a:lnTo>
                    <a:cubicBezTo>
                      <a:pt x="327584" y="272562"/>
                      <a:pt x="331097" y="262011"/>
                      <a:pt x="307385" y="255856"/>
                    </a:cubicBezTo>
                    <a:cubicBezTo>
                      <a:pt x="307385" y="255856"/>
                      <a:pt x="332854" y="246185"/>
                      <a:pt x="326706" y="233875"/>
                    </a:cubicBezTo>
                    <a:lnTo>
                      <a:pt x="317046" y="220687"/>
                    </a:lnTo>
                    <a:cubicBezTo>
                      <a:pt x="315289" y="218049"/>
                      <a:pt x="315289" y="213653"/>
                      <a:pt x="317924" y="211015"/>
                    </a:cubicBezTo>
                    <a:lnTo>
                      <a:pt x="328463" y="202223"/>
                    </a:lnTo>
                    <a:lnTo>
                      <a:pt x="328463" y="202223"/>
                    </a:lnTo>
                    <a:lnTo>
                      <a:pt x="328463" y="203982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887A6B2D-C598-9536-9D00-842D84FBE488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8D0F6A89-6E26-F3DA-2D28-0F9EEEC5DB6D}"/>
                  </a:ext>
                </a:extLst>
              </p:cNvPr>
              <p:cNvSpPr/>
              <p:nvPr/>
            </p:nvSpPr>
            <p:spPr>
              <a:xfrm>
                <a:off x="-10333003" y="5471329"/>
                <a:ext cx="253491" cy="243658"/>
              </a:xfrm>
              <a:custGeom>
                <a:avLst/>
                <a:gdLst>
                  <a:gd name="connsiteX0" fmla="*/ 253492 w 253491"/>
                  <a:gd name="connsiteY0" fmla="*/ 243658 h 243658"/>
                  <a:gd name="connsiteX1" fmla="*/ 143712 w 253491"/>
                  <a:gd name="connsiteY1" fmla="*/ 108257 h 243658"/>
                  <a:gd name="connsiteX2" fmla="*/ 132294 w 253491"/>
                  <a:gd name="connsiteY2" fmla="*/ 34401 h 243658"/>
                  <a:gd name="connsiteX3" fmla="*/ 558 w 253491"/>
                  <a:gd name="connsiteY3" fmla="*/ 31764 h 243658"/>
                  <a:gd name="connsiteX4" fmla="*/ 26905 w 253491"/>
                  <a:gd name="connsiteY4" fmla="*/ 201455 h 243658"/>
                  <a:gd name="connsiteX5" fmla="*/ 18123 w 253491"/>
                  <a:gd name="connsiteY5" fmla="*/ 243658 h 243658"/>
                  <a:gd name="connsiteX6" fmla="*/ 253492 w 253491"/>
                  <a:gd name="connsiteY6" fmla="*/ 243658 h 24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91" h="243658">
                    <a:moveTo>
                      <a:pt x="253492" y="243658"/>
                    </a:moveTo>
                    <a:cubicBezTo>
                      <a:pt x="253492" y="243658"/>
                      <a:pt x="141955" y="134634"/>
                      <a:pt x="143712" y="108257"/>
                    </a:cubicBezTo>
                    <a:cubicBezTo>
                      <a:pt x="136685" y="70450"/>
                      <a:pt x="132294" y="34401"/>
                      <a:pt x="132294" y="34401"/>
                    </a:cubicBezTo>
                    <a:cubicBezTo>
                      <a:pt x="132294" y="34401"/>
                      <a:pt x="-9981" y="-41212"/>
                      <a:pt x="558" y="31764"/>
                    </a:cubicBezTo>
                    <a:cubicBezTo>
                      <a:pt x="9340" y="95069"/>
                      <a:pt x="25149" y="200576"/>
                      <a:pt x="26905" y="201455"/>
                    </a:cubicBezTo>
                    <a:lnTo>
                      <a:pt x="18123" y="243658"/>
                    </a:lnTo>
                    <a:lnTo>
                      <a:pt x="253492" y="243658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91DE33A6-7F2F-DF78-97BA-F261BAD873CD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0F398EA-F39C-EE9E-EDBF-7458FF834A92}"/>
                  </a:ext>
                </a:extLst>
              </p:cNvPr>
              <p:cNvSpPr/>
              <p:nvPr/>
            </p:nvSpPr>
            <p:spPr>
              <a:xfrm>
                <a:off x="-10336094" y="5616478"/>
                <a:ext cx="376769" cy="184674"/>
              </a:xfrm>
              <a:custGeom>
                <a:avLst/>
                <a:gdLst>
                  <a:gd name="connsiteX0" fmla="*/ 359337 w 376769"/>
                  <a:gd name="connsiteY0" fmla="*/ 184674 h 184674"/>
                  <a:gd name="connsiteX1" fmla="*/ 15066 w 376769"/>
                  <a:gd name="connsiteY1" fmla="*/ 184674 h 184674"/>
                  <a:gd name="connsiteX2" fmla="*/ 136 w 376769"/>
                  <a:gd name="connsiteY2" fmla="*/ 148626 h 184674"/>
                  <a:gd name="connsiteX3" fmla="*/ 18579 w 376769"/>
                  <a:gd name="connsiteY3" fmla="*/ 31688 h 184674"/>
                  <a:gd name="connsiteX4" fmla="*/ 24726 w 376769"/>
                  <a:gd name="connsiteY4" fmla="*/ 28171 h 184674"/>
                  <a:gd name="connsiteX5" fmla="*/ 55465 w 376769"/>
                  <a:gd name="connsiteY5" fmla="*/ 55428 h 184674"/>
                  <a:gd name="connsiteX6" fmla="*/ 116064 w 376769"/>
                  <a:gd name="connsiteY6" fmla="*/ 19379 h 184674"/>
                  <a:gd name="connsiteX7" fmla="*/ 155585 w 376769"/>
                  <a:gd name="connsiteY7" fmla="*/ 36 h 184674"/>
                  <a:gd name="connsiteX8" fmla="*/ 306642 w 376769"/>
                  <a:gd name="connsiteY8" fmla="*/ 97631 h 184674"/>
                  <a:gd name="connsiteX9" fmla="*/ 330355 w 376769"/>
                  <a:gd name="connsiteY9" fmla="*/ 102906 h 184674"/>
                  <a:gd name="connsiteX10" fmla="*/ 370754 w 376769"/>
                  <a:gd name="connsiteY10" fmla="*/ 131920 h 184674"/>
                  <a:gd name="connsiteX11" fmla="*/ 359337 w 376769"/>
                  <a:gd name="connsiteY11" fmla="*/ 184674 h 184674"/>
                  <a:gd name="connsiteX12" fmla="*/ 359337 w 376769"/>
                  <a:gd name="connsiteY12" fmla="*/ 184674 h 18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6769" h="184674">
                    <a:moveTo>
                      <a:pt x="359337" y="184674"/>
                    </a:moveTo>
                    <a:lnTo>
                      <a:pt x="15066" y="184674"/>
                    </a:lnTo>
                    <a:cubicBezTo>
                      <a:pt x="15066" y="184674"/>
                      <a:pt x="1892" y="174124"/>
                      <a:pt x="136" y="148626"/>
                    </a:cubicBezTo>
                    <a:cubicBezTo>
                      <a:pt x="-1621" y="127524"/>
                      <a:pt x="14188" y="51910"/>
                      <a:pt x="18579" y="31688"/>
                    </a:cubicBezTo>
                    <a:cubicBezTo>
                      <a:pt x="18579" y="29051"/>
                      <a:pt x="22092" y="27292"/>
                      <a:pt x="24726" y="28171"/>
                    </a:cubicBezTo>
                    <a:cubicBezTo>
                      <a:pt x="31752" y="30809"/>
                      <a:pt x="44926" y="37843"/>
                      <a:pt x="55465" y="55428"/>
                    </a:cubicBezTo>
                    <a:cubicBezTo>
                      <a:pt x="70395" y="80046"/>
                      <a:pt x="109038" y="40481"/>
                      <a:pt x="116064" y="19379"/>
                    </a:cubicBezTo>
                    <a:cubicBezTo>
                      <a:pt x="123968" y="-1722"/>
                      <a:pt x="155585" y="36"/>
                      <a:pt x="155585" y="36"/>
                    </a:cubicBezTo>
                    <a:lnTo>
                      <a:pt x="306642" y="97631"/>
                    </a:lnTo>
                    <a:lnTo>
                      <a:pt x="330355" y="102906"/>
                    </a:lnTo>
                    <a:cubicBezTo>
                      <a:pt x="347041" y="106423"/>
                      <a:pt x="361972" y="116974"/>
                      <a:pt x="370754" y="131920"/>
                    </a:cubicBezTo>
                    <a:cubicBezTo>
                      <a:pt x="378658" y="145988"/>
                      <a:pt x="382171" y="169728"/>
                      <a:pt x="359337" y="184674"/>
                    </a:cubicBezTo>
                    <a:lnTo>
                      <a:pt x="359337" y="18467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FC4E7B99-CD43-1A77-2B44-4625FAFB45CE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solidFill>
                <a:srgbClr val="DD9C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65EAF2A-672B-DFCE-545B-B6CE8F1EDB30}"/>
                  </a:ext>
                </a:extLst>
              </p:cNvPr>
              <p:cNvSpPr/>
              <p:nvPr/>
            </p:nvSpPr>
            <p:spPr>
              <a:xfrm>
                <a:off x="-10948971" y="5484127"/>
                <a:ext cx="151935" cy="212396"/>
              </a:xfrm>
              <a:custGeom>
                <a:avLst/>
                <a:gdLst>
                  <a:gd name="connsiteX0" fmla="*/ 147545 w 151935"/>
                  <a:gd name="connsiteY0" fmla="*/ 152609 h 212396"/>
                  <a:gd name="connsiteX1" fmla="*/ 149301 w 151935"/>
                  <a:gd name="connsiteY1" fmla="*/ 32154 h 212396"/>
                  <a:gd name="connsiteX2" fmla="*/ 17565 w 151935"/>
                  <a:gd name="connsiteY2" fmla="*/ 34792 h 212396"/>
                  <a:gd name="connsiteX3" fmla="*/ 11417 w 151935"/>
                  <a:gd name="connsiteY3" fmla="*/ 135904 h 212396"/>
                  <a:gd name="connsiteX4" fmla="*/ 0 w 151935"/>
                  <a:gd name="connsiteY4" fmla="*/ 212397 h 212396"/>
                  <a:gd name="connsiteX5" fmla="*/ 151936 w 151935"/>
                  <a:gd name="connsiteY5" fmla="*/ 208880 h 212396"/>
                  <a:gd name="connsiteX6" fmla="*/ 146666 w 151935"/>
                  <a:gd name="connsiteY6" fmla="*/ 152609 h 212396"/>
                  <a:gd name="connsiteX7" fmla="*/ 147545 w 151935"/>
                  <a:gd name="connsiteY7" fmla="*/ 152609 h 21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935" h="212396">
                    <a:moveTo>
                      <a:pt x="147545" y="152609"/>
                    </a:moveTo>
                    <a:cubicBezTo>
                      <a:pt x="147545" y="152609"/>
                      <a:pt x="144910" y="105130"/>
                      <a:pt x="149301" y="32154"/>
                    </a:cubicBezTo>
                    <a:cubicBezTo>
                      <a:pt x="152814" y="-41701"/>
                      <a:pt x="17565" y="34792"/>
                      <a:pt x="17565" y="34792"/>
                    </a:cubicBezTo>
                    <a:cubicBezTo>
                      <a:pt x="17565" y="34792"/>
                      <a:pt x="21078" y="91063"/>
                      <a:pt x="11417" y="135904"/>
                    </a:cubicBezTo>
                    <a:cubicBezTo>
                      <a:pt x="9660" y="141179"/>
                      <a:pt x="0" y="212397"/>
                      <a:pt x="0" y="212397"/>
                    </a:cubicBezTo>
                    <a:lnTo>
                      <a:pt x="151936" y="208880"/>
                    </a:lnTo>
                    <a:lnTo>
                      <a:pt x="146666" y="152609"/>
                    </a:lnTo>
                    <a:lnTo>
                      <a:pt x="147545" y="152609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26AAEF3C-384C-5273-AAA1-3103843B0768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solidFill>
                <a:srgbClr val="FFFFFF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B8BC15A9-B73A-1686-4932-A9D4B988B16B}"/>
                  </a:ext>
                </a:extLst>
              </p:cNvPr>
              <p:cNvSpPr/>
              <p:nvPr/>
            </p:nvSpPr>
            <p:spPr>
              <a:xfrm>
                <a:off x="-10973655" y="5606842"/>
                <a:ext cx="252706" cy="189913"/>
              </a:xfrm>
              <a:custGeom>
                <a:avLst/>
                <a:gdLst>
                  <a:gd name="connsiteX0" fmla="*/ 246879 w 252706"/>
                  <a:gd name="connsiteY0" fmla="*/ 189914 h 189913"/>
                  <a:gd name="connsiteX1" fmla="*/ 14145 w 252706"/>
                  <a:gd name="connsiteY1" fmla="*/ 189914 h 189913"/>
                  <a:gd name="connsiteX2" fmla="*/ 93 w 252706"/>
                  <a:gd name="connsiteY2" fmla="*/ 150349 h 189913"/>
                  <a:gd name="connsiteX3" fmla="*/ 22049 w 252706"/>
                  <a:gd name="connsiteY3" fmla="*/ 28135 h 189913"/>
                  <a:gd name="connsiteX4" fmla="*/ 36101 w 252706"/>
                  <a:gd name="connsiteY4" fmla="*/ 57150 h 189913"/>
                  <a:gd name="connsiteX5" fmla="*/ 76500 w 252706"/>
                  <a:gd name="connsiteY5" fmla="*/ 21102 h 189913"/>
                  <a:gd name="connsiteX6" fmla="*/ 145881 w 252706"/>
                  <a:gd name="connsiteY6" fmla="*/ 0 h 189913"/>
                  <a:gd name="connsiteX7" fmla="*/ 173107 w 252706"/>
                  <a:gd name="connsiteY7" fmla="*/ 14947 h 189913"/>
                  <a:gd name="connsiteX8" fmla="*/ 197698 w 252706"/>
                  <a:gd name="connsiteY8" fmla="*/ 70338 h 189913"/>
                  <a:gd name="connsiteX9" fmla="*/ 245123 w 252706"/>
                  <a:gd name="connsiteY9" fmla="*/ 189914 h 189913"/>
                  <a:gd name="connsiteX10" fmla="*/ 246879 w 252706"/>
                  <a:gd name="connsiteY10" fmla="*/ 189914 h 18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2706" h="189913">
                    <a:moveTo>
                      <a:pt x="246879" y="189914"/>
                    </a:moveTo>
                    <a:lnTo>
                      <a:pt x="14145" y="189914"/>
                    </a:lnTo>
                    <a:cubicBezTo>
                      <a:pt x="14145" y="189914"/>
                      <a:pt x="1850" y="174967"/>
                      <a:pt x="93" y="150349"/>
                    </a:cubicBezTo>
                    <a:cubicBezTo>
                      <a:pt x="-1663" y="125730"/>
                      <a:pt x="22049" y="28135"/>
                      <a:pt x="22049" y="28135"/>
                    </a:cubicBezTo>
                    <a:cubicBezTo>
                      <a:pt x="22049" y="28135"/>
                      <a:pt x="35223" y="20222"/>
                      <a:pt x="36101" y="57150"/>
                    </a:cubicBezTo>
                    <a:cubicBezTo>
                      <a:pt x="36101" y="86165"/>
                      <a:pt x="55422" y="57150"/>
                      <a:pt x="76500" y="21102"/>
                    </a:cubicBezTo>
                    <a:cubicBezTo>
                      <a:pt x="87917" y="1759"/>
                      <a:pt x="145881" y="0"/>
                      <a:pt x="145881" y="0"/>
                    </a:cubicBezTo>
                    <a:lnTo>
                      <a:pt x="173107" y="14947"/>
                    </a:lnTo>
                    <a:lnTo>
                      <a:pt x="197698" y="70338"/>
                    </a:lnTo>
                    <a:cubicBezTo>
                      <a:pt x="235462" y="100233"/>
                      <a:pt x="267957" y="174967"/>
                      <a:pt x="245123" y="189914"/>
                    </a:cubicBezTo>
                    <a:lnTo>
                      <a:pt x="246879" y="189914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90B6BF9D-A681-ED35-AF14-69CFE8252E6D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7D122BE3-6673-D331-6E8E-FB01334F1D4A}"/>
                  </a:ext>
                </a:extLst>
              </p:cNvPr>
              <p:cNvSpPr/>
              <p:nvPr/>
            </p:nvSpPr>
            <p:spPr>
              <a:xfrm>
                <a:off x="-11097806" y="3649675"/>
                <a:ext cx="937227" cy="1910568"/>
              </a:xfrm>
              <a:custGeom>
                <a:avLst/>
                <a:gdLst>
                  <a:gd name="connsiteX0" fmla="*/ 622208 w 937227"/>
                  <a:gd name="connsiteY0" fmla="*/ 0 h 1910568"/>
                  <a:gd name="connsiteX1" fmla="*/ 170791 w 937227"/>
                  <a:gd name="connsiteY1" fmla="*/ 13188 h 1910568"/>
                  <a:gd name="connsiteX2" fmla="*/ 155861 w 937227"/>
                  <a:gd name="connsiteY2" fmla="*/ 47479 h 1910568"/>
                  <a:gd name="connsiteX3" fmla="*/ 1290 w 937227"/>
                  <a:gd name="connsiteY3" fmla="*/ 519625 h 1910568"/>
                  <a:gd name="connsiteX4" fmla="*/ 127757 w 937227"/>
                  <a:gd name="connsiteY4" fmla="*/ 1898259 h 1910568"/>
                  <a:gd name="connsiteX5" fmla="*/ 330631 w 937227"/>
                  <a:gd name="connsiteY5" fmla="*/ 1895621 h 1910568"/>
                  <a:gd name="connsiteX6" fmla="*/ 421968 w 937227"/>
                  <a:gd name="connsiteY6" fmla="*/ 436098 h 1910568"/>
                  <a:gd name="connsiteX7" fmla="*/ 584443 w 937227"/>
                  <a:gd name="connsiteY7" fmla="*/ 1128053 h 1910568"/>
                  <a:gd name="connsiteX8" fmla="*/ 729353 w 937227"/>
                  <a:gd name="connsiteY8" fmla="*/ 1910568 h 1910568"/>
                  <a:gd name="connsiteX9" fmla="*/ 931349 w 937227"/>
                  <a:gd name="connsiteY9" fmla="*/ 1882433 h 1910568"/>
                  <a:gd name="connsiteX10" fmla="*/ 622208 w 937227"/>
                  <a:gd name="connsiteY10" fmla="*/ 0 h 1910568"/>
                  <a:gd name="connsiteX11" fmla="*/ 622208 w 937227"/>
                  <a:gd name="connsiteY11" fmla="*/ 0 h 191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7227" h="1910568">
                    <a:moveTo>
                      <a:pt x="622208" y="0"/>
                    </a:moveTo>
                    <a:lnTo>
                      <a:pt x="170791" y="13188"/>
                    </a:lnTo>
                    <a:lnTo>
                      <a:pt x="155861" y="47479"/>
                    </a:lnTo>
                    <a:cubicBezTo>
                      <a:pt x="104923" y="121334"/>
                      <a:pt x="-13640" y="315644"/>
                      <a:pt x="1290" y="519625"/>
                    </a:cubicBezTo>
                    <a:cubicBezTo>
                      <a:pt x="30272" y="918796"/>
                      <a:pt x="127757" y="1898259"/>
                      <a:pt x="127757" y="1898259"/>
                    </a:cubicBezTo>
                    <a:lnTo>
                      <a:pt x="330631" y="1895621"/>
                    </a:lnTo>
                    <a:lnTo>
                      <a:pt x="421968" y="436098"/>
                    </a:lnTo>
                    <a:lnTo>
                      <a:pt x="584443" y="1128053"/>
                    </a:lnTo>
                    <a:cubicBezTo>
                      <a:pt x="594982" y="1442817"/>
                      <a:pt x="729353" y="1910568"/>
                      <a:pt x="729353" y="1910568"/>
                    </a:cubicBezTo>
                    <a:lnTo>
                      <a:pt x="931349" y="1882433"/>
                    </a:lnTo>
                    <a:cubicBezTo>
                      <a:pt x="987556" y="506437"/>
                      <a:pt x="622208" y="0"/>
                      <a:pt x="622208" y="0"/>
                    </a:cubicBezTo>
                    <a:lnTo>
                      <a:pt x="622208" y="0"/>
                    </a:lnTo>
                    <a:close/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D06E2B6F-6409-434F-49D1-A09FDB2D6C45}"/>
                  </a:ext>
                </a:extLst>
              </p:cNvPr>
              <p:cNvSpPr/>
              <p:nvPr/>
            </p:nvSpPr>
            <p:spPr>
              <a:xfrm>
                <a:off x="-10164051" y="2785601"/>
                <a:ext cx="173697" cy="310719"/>
              </a:xfrm>
              <a:custGeom>
                <a:avLst/>
                <a:gdLst>
                  <a:gd name="connsiteX0" fmla="*/ 170607 w 173697"/>
                  <a:gd name="connsiteY0" fmla="*/ 68370 h 310719"/>
                  <a:gd name="connsiteX1" fmla="*/ 155677 w 173697"/>
                  <a:gd name="connsiteY1" fmla="*/ 77162 h 310719"/>
                  <a:gd name="connsiteX2" fmla="*/ 137234 w 173697"/>
                  <a:gd name="connsiteY2" fmla="*/ 135192 h 310719"/>
                  <a:gd name="connsiteX3" fmla="*/ 139869 w 173697"/>
                  <a:gd name="connsiteY3" fmla="*/ 28805 h 310719"/>
                  <a:gd name="connsiteX4" fmla="*/ 124061 w 173697"/>
                  <a:gd name="connsiteY4" fmla="*/ 42873 h 310719"/>
                  <a:gd name="connsiteX5" fmla="*/ 115278 w 173697"/>
                  <a:gd name="connsiteY5" fmla="*/ 100902 h 310719"/>
                  <a:gd name="connsiteX6" fmla="*/ 110887 w 173697"/>
                  <a:gd name="connsiteY6" fmla="*/ 119366 h 310719"/>
                  <a:gd name="connsiteX7" fmla="*/ 101226 w 173697"/>
                  <a:gd name="connsiteY7" fmla="*/ 2428 h 310719"/>
                  <a:gd name="connsiteX8" fmla="*/ 84540 w 173697"/>
                  <a:gd name="connsiteY8" fmla="*/ 34080 h 310719"/>
                  <a:gd name="connsiteX9" fmla="*/ 84540 w 173697"/>
                  <a:gd name="connsiteY9" fmla="*/ 100902 h 310719"/>
                  <a:gd name="connsiteX10" fmla="*/ 81905 w 173697"/>
                  <a:gd name="connsiteY10" fmla="*/ 105298 h 310719"/>
                  <a:gd name="connsiteX11" fmla="*/ 65218 w 173697"/>
                  <a:gd name="connsiteY11" fmla="*/ 25288 h 310719"/>
                  <a:gd name="connsiteX12" fmla="*/ 49410 w 173697"/>
                  <a:gd name="connsiteY12" fmla="*/ 25288 h 310719"/>
                  <a:gd name="connsiteX13" fmla="*/ 47654 w 173697"/>
                  <a:gd name="connsiteY13" fmla="*/ 133433 h 310719"/>
                  <a:gd name="connsiteX14" fmla="*/ 37993 w 173697"/>
                  <a:gd name="connsiteY14" fmla="*/ 156293 h 310719"/>
                  <a:gd name="connsiteX15" fmla="*/ 29210 w 173697"/>
                  <a:gd name="connsiteY15" fmla="*/ 119366 h 310719"/>
                  <a:gd name="connsiteX16" fmla="*/ 3741 w 173697"/>
                  <a:gd name="connsiteY16" fmla="*/ 84196 h 310719"/>
                  <a:gd name="connsiteX17" fmla="*/ 228 w 173697"/>
                  <a:gd name="connsiteY17" fmla="*/ 88592 h 310719"/>
                  <a:gd name="connsiteX18" fmla="*/ 1985 w 173697"/>
                  <a:gd name="connsiteY18" fmla="*/ 151897 h 310719"/>
                  <a:gd name="connsiteX19" fmla="*/ 1985 w 173697"/>
                  <a:gd name="connsiteY19" fmla="*/ 151897 h 310719"/>
                  <a:gd name="connsiteX20" fmla="*/ 7254 w 173697"/>
                  <a:gd name="connsiteY20" fmla="*/ 185308 h 310719"/>
                  <a:gd name="connsiteX21" fmla="*/ 35358 w 173697"/>
                  <a:gd name="connsiteY21" fmla="*/ 294332 h 310719"/>
                  <a:gd name="connsiteX22" fmla="*/ 37993 w 173697"/>
                  <a:gd name="connsiteY22" fmla="*/ 296970 h 310719"/>
                  <a:gd name="connsiteX23" fmla="*/ 108252 w 173697"/>
                  <a:gd name="connsiteY23" fmla="*/ 310159 h 310719"/>
                  <a:gd name="connsiteX24" fmla="*/ 132843 w 173697"/>
                  <a:gd name="connsiteY24" fmla="*/ 251250 h 310719"/>
                  <a:gd name="connsiteX25" fmla="*/ 155677 w 173697"/>
                  <a:gd name="connsiteY25" fmla="*/ 182670 h 310719"/>
                  <a:gd name="connsiteX26" fmla="*/ 161825 w 173697"/>
                  <a:gd name="connsiteY26" fmla="*/ 159810 h 310719"/>
                  <a:gd name="connsiteX27" fmla="*/ 169729 w 173697"/>
                  <a:gd name="connsiteY27" fmla="*/ 70129 h 310719"/>
                  <a:gd name="connsiteX28" fmla="*/ 169729 w 173697"/>
                  <a:gd name="connsiteY28" fmla="*/ 70129 h 310719"/>
                  <a:gd name="connsiteX29" fmla="*/ 169729 w 173697"/>
                  <a:gd name="connsiteY29" fmla="*/ 68370 h 310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73697" h="310719">
                    <a:moveTo>
                      <a:pt x="170607" y="68370"/>
                    </a:moveTo>
                    <a:cubicBezTo>
                      <a:pt x="158312" y="56940"/>
                      <a:pt x="155677" y="77162"/>
                      <a:pt x="155677" y="77162"/>
                    </a:cubicBezTo>
                    <a:cubicBezTo>
                      <a:pt x="155677" y="77162"/>
                      <a:pt x="145138" y="125520"/>
                      <a:pt x="137234" y="135192"/>
                    </a:cubicBezTo>
                    <a:cubicBezTo>
                      <a:pt x="138112" y="129037"/>
                      <a:pt x="155677" y="56061"/>
                      <a:pt x="139869" y="28805"/>
                    </a:cubicBezTo>
                    <a:cubicBezTo>
                      <a:pt x="139869" y="28805"/>
                      <a:pt x="124061" y="13858"/>
                      <a:pt x="124061" y="42873"/>
                    </a:cubicBezTo>
                    <a:cubicBezTo>
                      <a:pt x="124061" y="71887"/>
                      <a:pt x="115278" y="100902"/>
                      <a:pt x="115278" y="100902"/>
                    </a:cubicBezTo>
                    <a:lnTo>
                      <a:pt x="110887" y="119366"/>
                    </a:lnTo>
                    <a:cubicBezTo>
                      <a:pt x="110887" y="119366"/>
                      <a:pt x="118791" y="15616"/>
                      <a:pt x="101226" y="2428"/>
                    </a:cubicBezTo>
                    <a:cubicBezTo>
                      <a:pt x="83662" y="-10761"/>
                      <a:pt x="84540" y="34080"/>
                      <a:pt x="84540" y="34080"/>
                    </a:cubicBezTo>
                    <a:cubicBezTo>
                      <a:pt x="84540" y="34080"/>
                      <a:pt x="87174" y="86834"/>
                      <a:pt x="84540" y="100902"/>
                    </a:cubicBezTo>
                    <a:lnTo>
                      <a:pt x="81905" y="105298"/>
                    </a:lnTo>
                    <a:cubicBezTo>
                      <a:pt x="81905" y="105298"/>
                      <a:pt x="76635" y="40235"/>
                      <a:pt x="65218" y="25288"/>
                    </a:cubicBezTo>
                    <a:cubicBezTo>
                      <a:pt x="54679" y="10341"/>
                      <a:pt x="49410" y="13858"/>
                      <a:pt x="49410" y="25288"/>
                    </a:cubicBezTo>
                    <a:cubicBezTo>
                      <a:pt x="49410" y="36718"/>
                      <a:pt x="52923" y="120245"/>
                      <a:pt x="47654" y="133433"/>
                    </a:cubicBezTo>
                    <a:cubicBezTo>
                      <a:pt x="46775" y="136071"/>
                      <a:pt x="42384" y="148380"/>
                      <a:pt x="37993" y="156293"/>
                    </a:cubicBezTo>
                    <a:cubicBezTo>
                      <a:pt x="33602" y="144863"/>
                      <a:pt x="30089" y="128158"/>
                      <a:pt x="29210" y="119366"/>
                    </a:cubicBezTo>
                    <a:cubicBezTo>
                      <a:pt x="29210" y="92109"/>
                      <a:pt x="12524" y="85955"/>
                      <a:pt x="3741" y="84196"/>
                    </a:cubicBezTo>
                    <a:cubicBezTo>
                      <a:pt x="1107" y="84196"/>
                      <a:pt x="-650" y="85955"/>
                      <a:pt x="228" y="88592"/>
                    </a:cubicBezTo>
                    <a:cubicBezTo>
                      <a:pt x="6376" y="107056"/>
                      <a:pt x="3741" y="129916"/>
                      <a:pt x="1985" y="151897"/>
                    </a:cubicBezTo>
                    <a:lnTo>
                      <a:pt x="1985" y="151897"/>
                    </a:lnTo>
                    <a:cubicBezTo>
                      <a:pt x="1985" y="153656"/>
                      <a:pt x="1985" y="171240"/>
                      <a:pt x="7254" y="185308"/>
                    </a:cubicBezTo>
                    <a:cubicBezTo>
                      <a:pt x="11646" y="198496"/>
                      <a:pt x="32723" y="281144"/>
                      <a:pt x="35358" y="294332"/>
                    </a:cubicBezTo>
                    <a:cubicBezTo>
                      <a:pt x="35358" y="295212"/>
                      <a:pt x="36236" y="296091"/>
                      <a:pt x="37993" y="296970"/>
                    </a:cubicBezTo>
                    <a:cubicBezTo>
                      <a:pt x="48532" y="299608"/>
                      <a:pt x="102983" y="313676"/>
                      <a:pt x="108252" y="310159"/>
                    </a:cubicBezTo>
                    <a:cubicBezTo>
                      <a:pt x="117913" y="304004"/>
                      <a:pt x="122304" y="275869"/>
                      <a:pt x="132843" y="251250"/>
                    </a:cubicBezTo>
                    <a:cubicBezTo>
                      <a:pt x="150408" y="205530"/>
                      <a:pt x="154799" y="183549"/>
                      <a:pt x="155677" y="182670"/>
                    </a:cubicBezTo>
                    <a:lnTo>
                      <a:pt x="161825" y="159810"/>
                    </a:lnTo>
                    <a:cubicBezTo>
                      <a:pt x="161825" y="157173"/>
                      <a:pt x="182025" y="81559"/>
                      <a:pt x="169729" y="70129"/>
                    </a:cubicBezTo>
                    <a:lnTo>
                      <a:pt x="169729" y="70129"/>
                    </a:lnTo>
                    <a:lnTo>
                      <a:pt x="169729" y="68370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5C4547AB-6221-640A-3047-B5BABA5750BB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solidFill>
                <a:srgbClr val="F9C174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6CFBE817-DBDE-5CB8-8B52-5BAAC746E0E4}"/>
                  </a:ext>
                </a:extLst>
              </p:cNvPr>
              <p:cNvSpPr/>
              <p:nvPr/>
            </p:nvSpPr>
            <p:spPr>
              <a:xfrm>
                <a:off x="-10935798" y="3596042"/>
                <a:ext cx="474250" cy="88802"/>
              </a:xfrm>
              <a:custGeom>
                <a:avLst/>
                <a:gdLst>
                  <a:gd name="connsiteX0" fmla="*/ 474251 w 474250"/>
                  <a:gd name="connsiteY0" fmla="*/ 72976 h 88802"/>
                  <a:gd name="connsiteX1" fmla="*/ 0 w 474250"/>
                  <a:gd name="connsiteY1" fmla="*/ 88802 h 88802"/>
                  <a:gd name="connsiteX2" fmla="*/ 12295 w 474250"/>
                  <a:gd name="connsiteY2" fmla="*/ 7913 h 88802"/>
                  <a:gd name="connsiteX3" fmla="*/ 462834 w 474250"/>
                  <a:gd name="connsiteY3" fmla="*/ 0 h 88802"/>
                  <a:gd name="connsiteX4" fmla="*/ 474251 w 474250"/>
                  <a:gd name="connsiteY4" fmla="*/ 72976 h 88802"/>
                  <a:gd name="connsiteX5" fmla="*/ 474251 w 474250"/>
                  <a:gd name="connsiteY5" fmla="*/ 72976 h 88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250" h="88802">
                    <a:moveTo>
                      <a:pt x="474251" y="72976"/>
                    </a:moveTo>
                    <a:lnTo>
                      <a:pt x="0" y="88802"/>
                    </a:lnTo>
                    <a:lnTo>
                      <a:pt x="12295" y="7913"/>
                    </a:lnTo>
                    <a:lnTo>
                      <a:pt x="462834" y="0"/>
                    </a:lnTo>
                    <a:lnTo>
                      <a:pt x="474251" y="72976"/>
                    </a:lnTo>
                    <a:lnTo>
                      <a:pt x="474251" y="7297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15A5FB3B-20D5-A55E-357E-7D4D886EADA3}"/>
                  </a:ext>
                </a:extLst>
              </p:cNvPr>
              <p:cNvSpPr/>
              <p:nvPr/>
            </p:nvSpPr>
            <p:spPr>
              <a:xfrm>
                <a:off x="-11320983" y="2913759"/>
                <a:ext cx="1280114" cy="783067"/>
              </a:xfrm>
              <a:custGeom>
                <a:avLst/>
                <a:gdLst>
                  <a:gd name="connsiteX0" fmla="*/ 376403 w 1280114"/>
                  <a:gd name="connsiteY0" fmla="*/ 725365 h 783067"/>
                  <a:gd name="connsiteX1" fmla="*/ 861193 w 1280114"/>
                  <a:gd name="connsiteY1" fmla="*/ 701626 h 783067"/>
                  <a:gd name="connsiteX2" fmla="*/ 848897 w 1280114"/>
                  <a:gd name="connsiteY2" fmla="*/ 524022 h 783067"/>
                  <a:gd name="connsiteX3" fmla="*/ 956921 w 1280114"/>
                  <a:gd name="connsiteY3" fmla="*/ 707781 h 783067"/>
                  <a:gd name="connsiteX4" fmla="*/ 1126422 w 1280114"/>
                  <a:gd name="connsiteY4" fmla="*/ 610186 h 783067"/>
                  <a:gd name="connsiteX5" fmla="*/ 1280115 w 1280114"/>
                  <a:gd name="connsiteY5" fmla="*/ 168812 h 783067"/>
                  <a:gd name="connsiteX6" fmla="*/ 1184386 w 1280114"/>
                  <a:gd name="connsiteY6" fmla="*/ 145952 h 783067"/>
                  <a:gd name="connsiteX7" fmla="*/ 1184386 w 1280114"/>
                  <a:gd name="connsiteY7" fmla="*/ 145952 h 783067"/>
                  <a:gd name="connsiteX8" fmla="*/ 1021033 w 1280114"/>
                  <a:gd name="connsiteY8" fmla="*/ 406205 h 783067"/>
                  <a:gd name="connsiteX9" fmla="*/ 989416 w 1280114"/>
                  <a:gd name="connsiteY9" fmla="*/ 291905 h 783067"/>
                  <a:gd name="connsiteX10" fmla="*/ 933209 w 1280114"/>
                  <a:gd name="connsiteY10" fmla="*/ 124851 h 783067"/>
                  <a:gd name="connsiteX11" fmla="*/ 858558 w 1280114"/>
                  <a:gd name="connsiteY11" fmla="*/ 50995 h 783067"/>
                  <a:gd name="connsiteX12" fmla="*/ 807620 w 1280114"/>
                  <a:gd name="connsiteY12" fmla="*/ 30773 h 783067"/>
                  <a:gd name="connsiteX13" fmla="*/ 670614 w 1280114"/>
                  <a:gd name="connsiteY13" fmla="*/ 0 h 783067"/>
                  <a:gd name="connsiteX14" fmla="*/ 457201 w 1280114"/>
                  <a:gd name="connsiteY14" fmla="*/ 0 h 783067"/>
                  <a:gd name="connsiteX15" fmla="*/ 307900 w 1280114"/>
                  <a:gd name="connsiteY15" fmla="*/ 54512 h 783067"/>
                  <a:gd name="connsiteX16" fmla="*/ 204267 w 1280114"/>
                  <a:gd name="connsiteY16" fmla="*/ 139798 h 783067"/>
                  <a:gd name="connsiteX17" fmla="*/ 1393 w 1280114"/>
                  <a:gd name="connsiteY17" fmla="*/ 654148 h 783067"/>
                  <a:gd name="connsiteX18" fmla="*/ 572251 w 1280114"/>
                  <a:gd name="connsiteY18" fmla="*/ 640080 h 783067"/>
                  <a:gd name="connsiteX19" fmla="*/ 536243 w 1280114"/>
                  <a:gd name="connsiteY19" fmla="*/ 545123 h 783067"/>
                  <a:gd name="connsiteX20" fmla="*/ 244667 w 1280114"/>
                  <a:gd name="connsiteY20" fmla="*/ 589964 h 783067"/>
                  <a:gd name="connsiteX21" fmla="*/ 328978 w 1280114"/>
                  <a:gd name="connsiteY21" fmla="*/ 436098 h 783067"/>
                  <a:gd name="connsiteX22" fmla="*/ 339517 w 1280114"/>
                  <a:gd name="connsiteY22" fmla="*/ 552157 h 783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80114" h="783067">
                    <a:moveTo>
                      <a:pt x="376403" y="725365"/>
                    </a:moveTo>
                    <a:lnTo>
                      <a:pt x="861193" y="701626"/>
                    </a:lnTo>
                    <a:lnTo>
                      <a:pt x="848897" y="524022"/>
                    </a:lnTo>
                    <a:cubicBezTo>
                      <a:pt x="867341" y="559191"/>
                      <a:pt x="905105" y="648872"/>
                      <a:pt x="956921" y="707781"/>
                    </a:cubicBezTo>
                    <a:cubicBezTo>
                      <a:pt x="1024546" y="785153"/>
                      <a:pt x="1107101" y="643597"/>
                      <a:pt x="1126422" y="610186"/>
                    </a:cubicBezTo>
                    <a:cubicBezTo>
                      <a:pt x="1209855" y="465113"/>
                      <a:pt x="1280115" y="168812"/>
                      <a:pt x="1280115" y="168812"/>
                    </a:cubicBezTo>
                    <a:lnTo>
                      <a:pt x="1184386" y="145952"/>
                    </a:lnTo>
                    <a:lnTo>
                      <a:pt x="1184386" y="145952"/>
                    </a:lnTo>
                    <a:lnTo>
                      <a:pt x="1021033" y="406205"/>
                    </a:lnTo>
                    <a:cubicBezTo>
                      <a:pt x="1011372" y="368398"/>
                      <a:pt x="1000833" y="329712"/>
                      <a:pt x="989416" y="291905"/>
                    </a:cubicBezTo>
                    <a:cubicBezTo>
                      <a:pt x="972730" y="226842"/>
                      <a:pt x="953408" y="166175"/>
                      <a:pt x="933209" y="124851"/>
                    </a:cubicBezTo>
                    <a:cubicBezTo>
                      <a:pt x="913887" y="85285"/>
                      <a:pt x="885784" y="65063"/>
                      <a:pt x="858558" y="50995"/>
                    </a:cubicBezTo>
                    <a:cubicBezTo>
                      <a:pt x="831333" y="36928"/>
                      <a:pt x="824307" y="35169"/>
                      <a:pt x="807620" y="30773"/>
                    </a:cubicBezTo>
                    <a:lnTo>
                      <a:pt x="670614" y="0"/>
                    </a:lnTo>
                    <a:cubicBezTo>
                      <a:pt x="657441" y="70338"/>
                      <a:pt x="516922" y="53633"/>
                      <a:pt x="457201" y="0"/>
                    </a:cubicBezTo>
                    <a:lnTo>
                      <a:pt x="307900" y="54512"/>
                    </a:lnTo>
                    <a:cubicBezTo>
                      <a:pt x="275405" y="58908"/>
                      <a:pt x="237641" y="79131"/>
                      <a:pt x="204267" y="139798"/>
                    </a:cubicBezTo>
                    <a:cubicBezTo>
                      <a:pt x="47940" y="427306"/>
                      <a:pt x="-10024" y="596118"/>
                      <a:pt x="1393" y="654148"/>
                    </a:cubicBezTo>
                    <a:cubicBezTo>
                      <a:pt x="57601" y="952207"/>
                      <a:pt x="572251" y="640080"/>
                      <a:pt x="572251" y="640080"/>
                    </a:cubicBezTo>
                    <a:lnTo>
                      <a:pt x="536243" y="545123"/>
                    </a:lnTo>
                    <a:cubicBezTo>
                      <a:pt x="536243" y="545123"/>
                      <a:pt x="250814" y="601394"/>
                      <a:pt x="244667" y="589964"/>
                    </a:cubicBezTo>
                    <a:lnTo>
                      <a:pt x="328978" y="436098"/>
                    </a:lnTo>
                    <a:cubicBezTo>
                      <a:pt x="328978" y="441374"/>
                      <a:pt x="333369" y="493248"/>
                      <a:pt x="339517" y="55215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7E7F8DF6-C0BC-EC07-AB31-5FE46125B11A}"/>
                  </a:ext>
                </a:extLst>
              </p:cNvPr>
              <p:cNvSpPr/>
              <p:nvPr/>
            </p:nvSpPr>
            <p:spPr>
              <a:xfrm>
                <a:off x="-10720884" y="2450565"/>
                <a:ext cx="89252" cy="179202"/>
              </a:xfrm>
              <a:custGeom>
                <a:avLst/>
                <a:gdLst>
                  <a:gd name="connsiteX0" fmla="*/ 18698 w 89252"/>
                  <a:gd name="connsiteY0" fmla="*/ 178323 h 179202"/>
                  <a:gd name="connsiteX1" fmla="*/ 88080 w 89252"/>
                  <a:gd name="connsiteY1" fmla="*/ 20941 h 179202"/>
                  <a:gd name="connsiteX2" fmla="*/ 27481 w 89252"/>
                  <a:gd name="connsiteY2" fmla="*/ 719 h 179202"/>
                  <a:gd name="connsiteX3" fmla="*/ 18698 w 89252"/>
                  <a:gd name="connsiteY3" fmla="*/ 179202 h 179202"/>
                  <a:gd name="connsiteX4" fmla="*/ 18698 w 89252"/>
                  <a:gd name="connsiteY4" fmla="*/ 179202 h 179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252" h="179202">
                    <a:moveTo>
                      <a:pt x="18698" y="178323"/>
                    </a:moveTo>
                    <a:cubicBezTo>
                      <a:pt x="23968" y="120294"/>
                      <a:pt x="99497" y="83366"/>
                      <a:pt x="88080" y="20941"/>
                    </a:cubicBezTo>
                    <a:cubicBezTo>
                      <a:pt x="88080" y="20941"/>
                      <a:pt x="83688" y="-4557"/>
                      <a:pt x="27481" y="719"/>
                    </a:cubicBezTo>
                    <a:cubicBezTo>
                      <a:pt x="-28727" y="5994"/>
                      <a:pt x="18698" y="179202"/>
                      <a:pt x="18698" y="179202"/>
                    </a:cubicBezTo>
                    <a:lnTo>
                      <a:pt x="18698" y="179202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F43FEA91-0B76-F2A5-195C-072EA2637CBA}"/>
                  </a:ext>
                </a:extLst>
              </p:cNvPr>
              <p:cNvSpPr/>
              <p:nvPr/>
            </p:nvSpPr>
            <p:spPr>
              <a:xfrm>
                <a:off x="-11045578" y="2762531"/>
                <a:ext cx="272255" cy="216290"/>
              </a:xfrm>
              <a:custGeom>
                <a:avLst/>
                <a:gdLst>
                  <a:gd name="connsiteX0" fmla="*/ 272255 w 272255"/>
                  <a:gd name="connsiteY0" fmla="*/ 879 h 216290"/>
                  <a:gd name="connsiteX1" fmla="*/ 259960 w 272255"/>
                  <a:gd name="connsiteY1" fmla="*/ 216291 h 216290"/>
                  <a:gd name="connsiteX2" fmla="*/ 0 w 272255"/>
                  <a:gd name="connsiteY2" fmla="*/ 216291 h 216290"/>
                  <a:gd name="connsiteX3" fmla="*/ 62355 w 272255"/>
                  <a:gd name="connsiteY3" fmla="*/ 0 h 216290"/>
                  <a:gd name="connsiteX4" fmla="*/ 272255 w 272255"/>
                  <a:gd name="connsiteY4" fmla="*/ 0 h 21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255" h="216290">
                    <a:moveTo>
                      <a:pt x="272255" y="879"/>
                    </a:moveTo>
                    <a:cubicBezTo>
                      <a:pt x="272255" y="879"/>
                      <a:pt x="221317" y="162658"/>
                      <a:pt x="259960" y="216291"/>
                    </a:cubicBezTo>
                    <a:lnTo>
                      <a:pt x="0" y="216291"/>
                    </a:lnTo>
                    <a:lnTo>
                      <a:pt x="62355" y="0"/>
                    </a:lnTo>
                    <a:lnTo>
                      <a:pt x="272255" y="0"/>
                    </a:lnTo>
                    <a:close/>
                  </a:path>
                </a:pathLst>
              </a:custGeom>
              <a:solidFill>
                <a:srgbClr val="291B0E"/>
              </a:solidFill>
              <a:ln w="4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C8CF460-28D0-4733-E83F-525C7A4B613B}"/>
                </a:ext>
              </a:extLst>
            </p:cNvPr>
            <p:cNvSpPr/>
            <p:nvPr/>
          </p:nvSpPr>
          <p:spPr>
            <a:xfrm>
              <a:off x="-10873775" y="3549442"/>
              <a:ext cx="180674" cy="261131"/>
            </a:xfrm>
            <a:custGeom>
              <a:avLst/>
              <a:gdLst>
                <a:gd name="connsiteX0" fmla="*/ 180372 w 180674"/>
                <a:gd name="connsiteY0" fmla="*/ 220687 h 261131"/>
                <a:gd name="connsiteX1" fmla="*/ 149633 w 180674"/>
                <a:gd name="connsiteY1" fmla="*/ 182001 h 261131"/>
                <a:gd name="connsiteX2" fmla="*/ 93426 w 180674"/>
                <a:gd name="connsiteY2" fmla="*/ 149469 h 261131"/>
                <a:gd name="connsiteX3" fmla="*/ 122408 w 180674"/>
                <a:gd name="connsiteY3" fmla="*/ 0 h 261131"/>
                <a:gd name="connsiteX4" fmla="*/ 37218 w 180674"/>
                <a:gd name="connsiteY4" fmla="*/ 0 h 261131"/>
                <a:gd name="connsiteX5" fmla="*/ 18775 w 180674"/>
                <a:gd name="connsiteY5" fmla="*/ 135401 h 261131"/>
                <a:gd name="connsiteX6" fmla="*/ 3845 w 180674"/>
                <a:gd name="connsiteY6" fmla="*/ 186397 h 261131"/>
                <a:gd name="connsiteX7" fmla="*/ 86400 w 180674"/>
                <a:gd name="connsiteY7" fmla="*/ 232117 h 261131"/>
                <a:gd name="connsiteX8" fmla="*/ 136460 w 180674"/>
                <a:gd name="connsiteY8" fmla="*/ 249701 h 261131"/>
                <a:gd name="connsiteX9" fmla="*/ 166320 w 180674"/>
                <a:gd name="connsiteY9" fmla="*/ 261131 h 261131"/>
                <a:gd name="connsiteX10" fmla="*/ 179494 w 180674"/>
                <a:gd name="connsiteY10" fmla="*/ 220687 h 261131"/>
                <a:gd name="connsiteX11" fmla="*/ 180372 w 180674"/>
                <a:gd name="connsiteY11" fmla="*/ 220687 h 261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674" h="261131">
                  <a:moveTo>
                    <a:pt x="180372" y="220687"/>
                  </a:moveTo>
                  <a:cubicBezTo>
                    <a:pt x="183007" y="188155"/>
                    <a:pt x="168076" y="188155"/>
                    <a:pt x="149633" y="182001"/>
                  </a:cubicBezTo>
                  <a:cubicBezTo>
                    <a:pt x="123286" y="172329"/>
                    <a:pt x="93426" y="149469"/>
                    <a:pt x="93426" y="149469"/>
                  </a:cubicBezTo>
                  <a:lnTo>
                    <a:pt x="122408" y="0"/>
                  </a:lnTo>
                  <a:lnTo>
                    <a:pt x="37218" y="0"/>
                  </a:lnTo>
                  <a:lnTo>
                    <a:pt x="18775" y="135401"/>
                  </a:lnTo>
                  <a:cubicBezTo>
                    <a:pt x="18775" y="135401"/>
                    <a:pt x="-10207" y="163537"/>
                    <a:pt x="3845" y="186397"/>
                  </a:cubicBezTo>
                  <a:cubicBezTo>
                    <a:pt x="17019" y="209257"/>
                    <a:pt x="53905" y="201344"/>
                    <a:pt x="86400" y="232117"/>
                  </a:cubicBezTo>
                  <a:cubicBezTo>
                    <a:pt x="103087" y="247943"/>
                    <a:pt x="112747" y="246185"/>
                    <a:pt x="136460" y="249701"/>
                  </a:cubicBezTo>
                  <a:cubicBezTo>
                    <a:pt x="143486" y="250581"/>
                    <a:pt x="146999" y="261131"/>
                    <a:pt x="166320" y="261131"/>
                  </a:cubicBezTo>
                  <a:cubicBezTo>
                    <a:pt x="185641" y="261131"/>
                    <a:pt x="178616" y="235634"/>
                    <a:pt x="179494" y="220687"/>
                  </a:cubicBezTo>
                  <a:lnTo>
                    <a:pt x="180372" y="220687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C4E3D177-2EA3-41FF-5141-46BA1A813087}"/>
                </a:ext>
              </a:extLst>
            </p:cNvPr>
            <p:cNvSpPr/>
            <p:nvPr/>
          </p:nvSpPr>
          <p:spPr>
            <a:xfrm>
              <a:off x="-11018818" y="3375937"/>
              <a:ext cx="366021" cy="167529"/>
            </a:xfrm>
            <a:custGeom>
              <a:avLst/>
              <a:gdLst>
                <a:gd name="connsiteX0" fmla="*/ 3979 w 366021"/>
                <a:gd name="connsiteY0" fmla="*/ 97012 h 167529"/>
                <a:gd name="connsiteX1" fmla="*/ 206853 w 366021"/>
                <a:gd name="connsiteY1" fmla="*/ 125148 h 167529"/>
                <a:gd name="connsiteX2" fmla="*/ 364058 w 366021"/>
                <a:gd name="connsiteY2" fmla="*/ 154162 h 167529"/>
                <a:gd name="connsiteX3" fmla="*/ 311364 w 366021"/>
                <a:gd name="connsiteY3" fmla="*/ 52171 h 167529"/>
                <a:gd name="connsiteX4" fmla="*/ 154158 w 366021"/>
                <a:gd name="connsiteY4" fmla="*/ 297 h 167529"/>
                <a:gd name="connsiteX5" fmla="*/ 3101 w 366021"/>
                <a:gd name="connsiteY5" fmla="*/ 96133 h 167529"/>
                <a:gd name="connsiteX6" fmla="*/ 3101 w 366021"/>
                <a:gd name="connsiteY6" fmla="*/ 96133 h 1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6021" h="167529">
                  <a:moveTo>
                    <a:pt x="3979" y="97012"/>
                  </a:moveTo>
                  <a:cubicBezTo>
                    <a:pt x="21544" y="145370"/>
                    <a:pt x="206853" y="125148"/>
                    <a:pt x="206853" y="125148"/>
                  </a:cubicBezTo>
                  <a:cubicBezTo>
                    <a:pt x="206853" y="125148"/>
                    <a:pt x="357910" y="196365"/>
                    <a:pt x="364058" y="154162"/>
                  </a:cubicBezTo>
                  <a:cubicBezTo>
                    <a:pt x="371084" y="111959"/>
                    <a:pt x="360545" y="62722"/>
                    <a:pt x="311364" y="52171"/>
                  </a:cubicBezTo>
                  <a:cubicBezTo>
                    <a:pt x="262182" y="41621"/>
                    <a:pt x="211244" y="-4099"/>
                    <a:pt x="154158" y="297"/>
                  </a:cubicBezTo>
                  <a:cubicBezTo>
                    <a:pt x="43500" y="11727"/>
                    <a:pt x="-14464" y="47775"/>
                    <a:pt x="3101" y="96133"/>
                  </a:cubicBezTo>
                  <a:lnTo>
                    <a:pt x="3101" y="96133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3045FA59-B2E9-4820-9E18-749D4BB1F8F5}"/>
                </a:ext>
              </a:extLst>
            </p:cNvPr>
            <p:cNvSpPr/>
            <p:nvPr/>
          </p:nvSpPr>
          <p:spPr>
            <a:xfrm>
              <a:off x="-11008880" y="3582853"/>
              <a:ext cx="212722" cy="304647"/>
            </a:xfrm>
            <a:custGeom>
              <a:avLst/>
              <a:gdLst>
                <a:gd name="connsiteX0" fmla="*/ 147733 w 212722"/>
                <a:gd name="connsiteY0" fmla="*/ 229479 h 304647"/>
                <a:gd name="connsiteX1" fmla="*/ 105577 w 212722"/>
                <a:gd name="connsiteY1" fmla="*/ 181121 h 304647"/>
                <a:gd name="connsiteX2" fmla="*/ 212723 w 212722"/>
                <a:gd name="connsiteY2" fmla="*/ 0 h 304647"/>
                <a:gd name="connsiteX3" fmla="*/ 89769 w 212722"/>
                <a:gd name="connsiteY3" fmla="*/ 3517 h 304647"/>
                <a:gd name="connsiteX4" fmla="*/ 31805 w 212722"/>
                <a:gd name="connsiteY4" fmla="*/ 146831 h 304647"/>
                <a:gd name="connsiteX5" fmla="*/ 1066 w 212722"/>
                <a:gd name="connsiteY5" fmla="*/ 197827 h 304647"/>
                <a:gd name="connsiteX6" fmla="*/ 48491 w 212722"/>
                <a:gd name="connsiteY6" fmla="*/ 252339 h 304647"/>
                <a:gd name="connsiteX7" fmla="*/ 90647 w 212722"/>
                <a:gd name="connsiteY7" fmla="*/ 293663 h 304647"/>
                <a:gd name="connsiteX8" fmla="*/ 113481 w 212722"/>
                <a:gd name="connsiteY8" fmla="*/ 290146 h 304647"/>
                <a:gd name="connsiteX9" fmla="*/ 134559 w 212722"/>
                <a:gd name="connsiteY9" fmla="*/ 290146 h 304647"/>
                <a:gd name="connsiteX10" fmla="*/ 156515 w 212722"/>
                <a:gd name="connsiteY10" fmla="*/ 286629 h 304647"/>
                <a:gd name="connsiteX11" fmla="*/ 169689 w 212722"/>
                <a:gd name="connsiteY11" fmla="*/ 275199 h 304647"/>
                <a:gd name="connsiteX12" fmla="*/ 146854 w 212722"/>
                <a:gd name="connsiteY12" fmla="*/ 227721 h 304647"/>
                <a:gd name="connsiteX13" fmla="*/ 146854 w 212722"/>
                <a:gd name="connsiteY13" fmla="*/ 229479 h 30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722" h="304647">
                  <a:moveTo>
                    <a:pt x="147733" y="229479"/>
                  </a:moveTo>
                  <a:cubicBezTo>
                    <a:pt x="124898" y="213653"/>
                    <a:pt x="105577" y="181121"/>
                    <a:pt x="105577" y="181121"/>
                  </a:cubicBezTo>
                  <a:cubicBezTo>
                    <a:pt x="120507" y="123971"/>
                    <a:pt x="212723" y="0"/>
                    <a:pt x="212723" y="0"/>
                  </a:cubicBezTo>
                  <a:lnTo>
                    <a:pt x="89769" y="3517"/>
                  </a:lnTo>
                  <a:lnTo>
                    <a:pt x="31805" y="146831"/>
                  </a:lnTo>
                  <a:cubicBezTo>
                    <a:pt x="31805" y="146831"/>
                    <a:pt x="-6838" y="172329"/>
                    <a:pt x="1066" y="197827"/>
                  </a:cubicBezTo>
                  <a:cubicBezTo>
                    <a:pt x="8970" y="223325"/>
                    <a:pt x="22144" y="215412"/>
                    <a:pt x="48491" y="252339"/>
                  </a:cubicBezTo>
                  <a:cubicBezTo>
                    <a:pt x="62543" y="273441"/>
                    <a:pt x="67813" y="288388"/>
                    <a:pt x="90647" y="293663"/>
                  </a:cubicBezTo>
                  <a:cubicBezTo>
                    <a:pt x="100307" y="311248"/>
                    <a:pt x="117872" y="305972"/>
                    <a:pt x="113481" y="290146"/>
                  </a:cubicBezTo>
                  <a:cubicBezTo>
                    <a:pt x="116994" y="303335"/>
                    <a:pt x="139828" y="305972"/>
                    <a:pt x="134559" y="290146"/>
                  </a:cubicBezTo>
                  <a:cubicBezTo>
                    <a:pt x="138072" y="302455"/>
                    <a:pt x="158271" y="294542"/>
                    <a:pt x="156515" y="286629"/>
                  </a:cubicBezTo>
                  <a:cubicBezTo>
                    <a:pt x="161784" y="294542"/>
                    <a:pt x="181106" y="286629"/>
                    <a:pt x="169689" y="275199"/>
                  </a:cubicBezTo>
                  <a:cubicBezTo>
                    <a:pt x="197792" y="262011"/>
                    <a:pt x="179349" y="248822"/>
                    <a:pt x="146854" y="227721"/>
                  </a:cubicBezTo>
                  <a:lnTo>
                    <a:pt x="146854" y="22947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E237B0F7-1E89-DFB2-28FF-D8C6D2623D5F}"/>
                </a:ext>
              </a:extLst>
            </p:cNvPr>
            <p:cNvSpPr/>
            <p:nvPr/>
          </p:nvSpPr>
          <p:spPr>
            <a:xfrm>
              <a:off x="-10950752" y="2820159"/>
              <a:ext cx="273395" cy="309206"/>
            </a:xfrm>
            <a:custGeom>
              <a:avLst/>
              <a:gdLst>
                <a:gd name="connsiteX0" fmla="*/ 158986 w 273395"/>
                <a:gd name="connsiteY0" fmla="*/ 250103 h 309206"/>
                <a:gd name="connsiteX1" fmla="*/ 218707 w 273395"/>
                <a:gd name="connsiteY1" fmla="*/ 260653 h 309206"/>
                <a:gd name="connsiteX2" fmla="*/ 241541 w 273395"/>
                <a:gd name="connsiteY2" fmla="*/ 232518 h 309206"/>
                <a:gd name="connsiteX3" fmla="*/ 249445 w 273395"/>
                <a:gd name="connsiteY3" fmla="*/ 211417 h 309206"/>
                <a:gd name="connsiteX4" fmla="*/ 239784 w 273395"/>
                <a:gd name="connsiteY4" fmla="*/ 207900 h 309206"/>
                <a:gd name="connsiteX5" fmla="*/ 258228 w 273395"/>
                <a:gd name="connsiteY5" fmla="*/ 211417 h 309206"/>
                <a:gd name="connsiteX6" fmla="*/ 256471 w 273395"/>
                <a:gd name="connsiteY6" fmla="*/ 185919 h 309206"/>
                <a:gd name="connsiteX7" fmla="*/ 267888 w 273395"/>
                <a:gd name="connsiteY7" fmla="*/ 181523 h 309206"/>
                <a:gd name="connsiteX8" fmla="*/ 270523 w 273395"/>
                <a:gd name="connsiteY8" fmla="*/ 162180 h 309206"/>
                <a:gd name="connsiteX9" fmla="*/ 255593 w 273395"/>
                <a:gd name="connsiteY9" fmla="*/ 135803 h 309206"/>
                <a:gd name="connsiteX10" fmla="*/ 263497 w 273395"/>
                <a:gd name="connsiteY10" fmla="*/ 112064 h 309206"/>
                <a:gd name="connsiteX11" fmla="*/ 91361 w 273395"/>
                <a:gd name="connsiteY11" fmla="*/ 401 h 309206"/>
                <a:gd name="connsiteX12" fmla="*/ 24 w 273395"/>
                <a:gd name="connsiteY12" fmla="*/ 131407 h 309206"/>
                <a:gd name="connsiteX13" fmla="*/ 38667 w 273395"/>
                <a:gd name="connsiteY13" fmla="*/ 233397 h 309206"/>
                <a:gd name="connsiteX14" fmla="*/ 7928 w 273395"/>
                <a:gd name="connsiteY14" fmla="*/ 300219 h 309206"/>
                <a:gd name="connsiteX15" fmla="*/ 154595 w 273395"/>
                <a:gd name="connsiteY15" fmla="*/ 300219 h 309206"/>
                <a:gd name="connsiteX16" fmla="*/ 158108 w 273395"/>
                <a:gd name="connsiteY16" fmla="*/ 250982 h 30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3395" h="309206">
                  <a:moveTo>
                    <a:pt x="158986" y="250103"/>
                  </a:moveTo>
                  <a:cubicBezTo>
                    <a:pt x="195872" y="258895"/>
                    <a:pt x="205533" y="260653"/>
                    <a:pt x="218707" y="260653"/>
                  </a:cubicBezTo>
                  <a:cubicBezTo>
                    <a:pt x="231880" y="260653"/>
                    <a:pt x="236271" y="243948"/>
                    <a:pt x="241541" y="232518"/>
                  </a:cubicBezTo>
                  <a:cubicBezTo>
                    <a:pt x="254715" y="231639"/>
                    <a:pt x="258228" y="214934"/>
                    <a:pt x="249445" y="211417"/>
                  </a:cubicBezTo>
                  <a:cubicBezTo>
                    <a:pt x="240663" y="207900"/>
                    <a:pt x="244176" y="210537"/>
                    <a:pt x="239784" y="207900"/>
                  </a:cubicBezTo>
                  <a:cubicBezTo>
                    <a:pt x="248567" y="211417"/>
                    <a:pt x="252958" y="214054"/>
                    <a:pt x="258228" y="211417"/>
                  </a:cubicBezTo>
                  <a:cubicBezTo>
                    <a:pt x="263497" y="202624"/>
                    <a:pt x="256471" y="191194"/>
                    <a:pt x="256471" y="185919"/>
                  </a:cubicBezTo>
                  <a:cubicBezTo>
                    <a:pt x="256471" y="185919"/>
                    <a:pt x="260862" y="184160"/>
                    <a:pt x="267888" y="181523"/>
                  </a:cubicBezTo>
                  <a:cubicBezTo>
                    <a:pt x="273158" y="178885"/>
                    <a:pt x="275792" y="170093"/>
                    <a:pt x="270523" y="162180"/>
                  </a:cubicBezTo>
                  <a:cubicBezTo>
                    <a:pt x="265254" y="154267"/>
                    <a:pt x="258228" y="147233"/>
                    <a:pt x="255593" y="135803"/>
                  </a:cubicBezTo>
                  <a:cubicBezTo>
                    <a:pt x="259984" y="126131"/>
                    <a:pt x="263497" y="112064"/>
                    <a:pt x="263497" y="112064"/>
                  </a:cubicBezTo>
                  <a:cubicBezTo>
                    <a:pt x="292479" y="-12787"/>
                    <a:pt x="91361" y="401"/>
                    <a:pt x="91361" y="401"/>
                  </a:cubicBezTo>
                  <a:cubicBezTo>
                    <a:pt x="21980" y="10952"/>
                    <a:pt x="-854" y="80411"/>
                    <a:pt x="24" y="131407"/>
                  </a:cubicBezTo>
                  <a:cubicBezTo>
                    <a:pt x="903" y="182402"/>
                    <a:pt x="38667" y="233397"/>
                    <a:pt x="38667" y="233397"/>
                  </a:cubicBezTo>
                  <a:cubicBezTo>
                    <a:pt x="38667" y="233397"/>
                    <a:pt x="14954" y="279997"/>
                    <a:pt x="7928" y="300219"/>
                  </a:cubicBezTo>
                  <a:cubicBezTo>
                    <a:pt x="903" y="320441"/>
                    <a:pt x="154595" y="300219"/>
                    <a:pt x="154595" y="300219"/>
                  </a:cubicBezTo>
                  <a:lnTo>
                    <a:pt x="158108" y="250982"/>
                  </a:lnTo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04505CD3-05AC-4C0A-04F4-DE814F517A5C}"/>
                </a:ext>
              </a:extLst>
            </p:cNvPr>
            <p:cNvSpPr/>
            <p:nvPr/>
          </p:nvSpPr>
          <p:spPr>
            <a:xfrm>
              <a:off x="-10796157" y="3405134"/>
              <a:ext cx="209436" cy="177361"/>
            </a:xfrm>
            <a:custGeom>
              <a:avLst/>
              <a:gdLst>
                <a:gd name="connsiteX0" fmla="*/ 75529 w 209436"/>
                <a:gd name="connsiteY0" fmla="*/ 33525 h 177361"/>
                <a:gd name="connsiteX1" fmla="*/ 0 w 209436"/>
                <a:gd name="connsiteY1" fmla="*/ 107380 h 177361"/>
                <a:gd name="connsiteX2" fmla="*/ 11417 w 209436"/>
                <a:gd name="connsiteY2" fmla="*/ 168047 h 177361"/>
                <a:gd name="connsiteX3" fmla="*/ 155449 w 209436"/>
                <a:gd name="connsiteY3" fmla="*/ 172444 h 177361"/>
                <a:gd name="connsiteX4" fmla="*/ 196726 w 209436"/>
                <a:gd name="connsiteY4" fmla="*/ 152221 h 177361"/>
                <a:gd name="connsiteX5" fmla="*/ 196726 w 209436"/>
                <a:gd name="connsiteY5" fmla="*/ 124965 h 177361"/>
                <a:gd name="connsiteX6" fmla="*/ 167744 w 209436"/>
                <a:gd name="connsiteY6" fmla="*/ 138154 h 177361"/>
                <a:gd name="connsiteX7" fmla="*/ 196726 w 209436"/>
                <a:gd name="connsiteY7" fmla="*/ 124965 h 177361"/>
                <a:gd name="connsiteX8" fmla="*/ 202874 w 209436"/>
                <a:gd name="connsiteY8" fmla="*/ 91554 h 177361"/>
                <a:gd name="connsiteX9" fmla="*/ 165109 w 209436"/>
                <a:gd name="connsiteY9" fmla="*/ 110018 h 177361"/>
                <a:gd name="connsiteX10" fmla="*/ 202874 w 209436"/>
                <a:gd name="connsiteY10" fmla="*/ 90675 h 177361"/>
                <a:gd name="connsiteX11" fmla="*/ 194970 w 209436"/>
                <a:gd name="connsiteY11" fmla="*/ 51110 h 177361"/>
                <a:gd name="connsiteX12" fmla="*/ 160718 w 209436"/>
                <a:gd name="connsiteY12" fmla="*/ 81883 h 177361"/>
                <a:gd name="connsiteX13" fmla="*/ 187944 w 209436"/>
                <a:gd name="connsiteY13" fmla="*/ 68694 h 177361"/>
                <a:gd name="connsiteX14" fmla="*/ 185309 w 209436"/>
                <a:gd name="connsiteY14" fmla="*/ 30887 h 177361"/>
                <a:gd name="connsiteX15" fmla="*/ 136128 w 209436"/>
                <a:gd name="connsiteY15" fmla="*/ 30008 h 177361"/>
                <a:gd name="connsiteX16" fmla="*/ 159840 w 209436"/>
                <a:gd name="connsiteY16" fmla="*/ 48472 h 177361"/>
                <a:gd name="connsiteX17" fmla="*/ 140519 w 209436"/>
                <a:gd name="connsiteY17" fmla="*/ 55506 h 177361"/>
                <a:gd name="connsiteX18" fmla="*/ 108024 w 209436"/>
                <a:gd name="connsiteY18" fmla="*/ 56385 h 177361"/>
                <a:gd name="connsiteX19" fmla="*/ 144032 w 209436"/>
                <a:gd name="connsiteY19" fmla="*/ 4510 h 177361"/>
                <a:gd name="connsiteX20" fmla="*/ 75529 w 209436"/>
                <a:gd name="connsiteY20" fmla="*/ 33525 h 177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436" h="177361">
                  <a:moveTo>
                    <a:pt x="75529" y="33525"/>
                  </a:moveTo>
                  <a:cubicBezTo>
                    <a:pt x="64112" y="43197"/>
                    <a:pt x="0" y="107380"/>
                    <a:pt x="0" y="107380"/>
                  </a:cubicBezTo>
                  <a:cubicBezTo>
                    <a:pt x="0" y="107380"/>
                    <a:pt x="7904" y="151342"/>
                    <a:pt x="11417" y="168047"/>
                  </a:cubicBezTo>
                  <a:cubicBezTo>
                    <a:pt x="20199" y="174202"/>
                    <a:pt x="120319" y="182994"/>
                    <a:pt x="155449" y="172444"/>
                  </a:cubicBezTo>
                  <a:cubicBezTo>
                    <a:pt x="187066" y="162772"/>
                    <a:pt x="190578" y="159255"/>
                    <a:pt x="196726" y="152221"/>
                  </a:cubicBezTo>
                  <a:cubicBezTo>
                    <a:pt x="202874" y="145187"/>
                    <a:pt x="206387" y="118810"/>
                    <a:pt x="196726" y="124965"/>
                  </a:cubicBezTo>
                  <a:cubicBezTo>
                    <a:pt x="186187" y="136395"/>
                    <a:pt x="167744" y="138154"/>
                    <a:pt x="167744" y="138154"/>
                  </a:cubicBezTo>
                  <a:cubicBezTo>
                    <a:pt x="167744" y="138154"/>
                    <a:pt x="178283" y="138154"/>
                    <a:pt x="196726" y="124965"/>
                  </a:cubicBezTo>
                  <a:cubicBezTo>
                    <a:pt x="209900" y="114414"/>
                    <a:pt x="214291" y="98588"/>
                    <a:pt x="202874" y="91554"/>
                  </a:cubicBezTo>
                  <a:cubicBezTo>
                    <a:pt x="183553" y="110897"/>
                    <a:pt x="165109" y="110018"/>
                    <a:pt x="165109" y="110018"/>
                  </a:cubicBezTo>
                  <a:cubicBezTo>
                    <a:pt x="165109" y="110018"/>
                    <a:pt x="193213" y="104743"/>
                    <a:pt x="202874" y="90675"/>
                  </a:cubicBezTo>
                  <a:cubicBezTo>
                    <a:pt x="215169" y="73090"/>
                    <a:pt x="194970" y="44955"/>
                    <a:pt x="194970" y="51110"/>
                  </a:cubicBezTo>
                  <a:cubicBezTo>
                    <a:pt x="194970" y="65177"/>
                    <a:pt x="187066" y="72211"/>
                    <a:pt x="160718" y="81883"/>
                  </a:cubicBezTo>
                  <a:cubicBezTo>
                    <a:pt x="160718" y="81883"/>
                    <a:pt x="176527" y="81883"/>
                    <a:pt x="187944" y="68694"/>
                  </a:cubicBezTo>
                  <a:cubicBezTo>
                    <a:pt x="199361" y="55506"/>
                    <a:pt x="196726" y="40559"/>
                    <a:pt x="185309" y="30887"/>
                  </a:cubicBezTo>
                  <a:cubicBezTo>
                    <a:pt x="174770" y="21216"/>
                    <a:pt x="137884" y="23854"/>
                    <a:pt x="136128" y="30008"/>
                  </a:cubicBezTo>
                  <a:cubicBezTo>
                    <a:pt x="122076" y="69574"/>
                    <a:pt x="163353" y="45834"/>
                    <a:pt x="159840" y="48472"/>
                  </a:cubicBezTo>
                  <a:cubicBezTo>
                    <a:pt x="149301" y="54627"/>
                    <a:pt x="147545" y="53747"/>
                    <a:pt x="140519" y="55506"/>
                  </a:cubicBezTo>
                  <a:cubicBezTo>
                    <a:pt x="133493" y="57264"/>
                    <a:pt x="117684" y="57264"/>
                    <a:pt x="108024" y="56385"/>
                  </a:cubicBezTo>
                  <a:cubicBezTo>
                    <a:pt x="105389" y="53747"/>
                    <a:pt x="156327" y="22974"/>
                    <a:pt x="144032" y="4510"/>
                  </a:cubicBezTo>
                  <a:cubicBezTo>
                    <a:pt x="131736" y="-13953"/>
                    <a:pt x="79920" y="30008"/>
                    <a:pt x="75529" y="33525"/>
                  </a:cubicBezTo>
                  <a:close/>
                </a:path>
              </a:pathLst>
            </a:custGeom>
            <a:solidFill>
              <a:srgbClr val="F9C174"/>
            </a:solidFill>
            <a:ln w="6764" cap="flat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D2F57DF2-1238-DE25-40C7-B9C99B8F56DB}"/>
                </a:ext>
              </a:extLst>
            </p:cNvPr>
            <p:cNvSpPr/>
            <p:nvPr/>
          </p:nvSpPr>
          <p:spPr>
            <a:xfrm>
              <a:off x="-10852365" y="3844864"/>
              <a:ext cx="13173" cy="14947"/>
            </a:xfrm>
            <a:custGeom>
              <a:avLst/>
              <a:gdLst>
                <a:gd name="connsiteX0" fmla="*/ 0 w 13173"/>
                <a:gd name="connsiteY0" fmla="*/ 0 h 14947"/>
                <a:gd name="connsiteX1" fmla="*/ 13174 w 13173"/>
                <a:gd name="connsiteY1" fmla="*/ 14947 h 1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73" h="14947">
                  <a:moveTo>
                    <a:pt x="0" y="0"/>
                  </a:moveTo>
                  <a:cubicBezTo>
                    <a:pt x="0" y="0"/>
                    <a:pt x="9660" y="7034"/>
                    <a:pt x="13174" y="14947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08FC0FD-AF4E-65D5-6933-A86F98DC9295}"/>
                </a:ext>
              </a:extLst>
            </p:cNvPr>
            <p:cNvSpPr/>
            <p:nvPr/>
          </p:nvSpPr>
          <p:spPr>
            <a:xfrm>
              <a:off x="-10864660" y="3857173"/>
              <a:ext cx="12295" cy="13188"/>
            </a:xfrm>
            <a:custGeom>
              <a:avLst/>
              <a:gdLst>
                <a:gd name="connsiteX0" fmla="*/ 0 w 12295"/>
                <a:gd name="connsiteY0" fmla="*/ 0 h 13188"/>
                <a:gd name="connsiteX1" fmla="*/ 12296 w 12295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95" h="13188">
                  <a:moveTo>
                    <a:pt x="0" y="0"/>
                  </a:moveTo>
                  <a:cubicBezTo>
                    <a:pt x="0" y="0"/>
                    <a:pt x="7904" y="5275"/>
                    <a:pt x="12296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42975230-47B1-9522-3151-5D187BA99506}"/>
                </a:ext>
              </a:extLst>
            </p:cNvPr>
            <p:cNvSpPr/>
            <p:nvPr/>
          </p:nvSpPr>
          <p:spPr>
            <a:xfrm>
              <a:off x="-10881347" y="3861569"/>
              <a:ext cx="7904" cy="13188"/>
            </a:xfrm>
            <a:custGeom>
              <a:avLst/>
              <a:gdLst>
                <a:gd name="connsiteX0" fmla="*/ 0 w 7904"/>
                <a:gd name="connsiteY0" fmla="*/ 0 h 13188"/>
                <a:gd name="connsiteX1" fmla="*/ 7904 w 7904"/>
                <a:gd name="connsiteY1" fmla="*/ 13188 h 1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4" h="13188">
                  <a:moveTo>
                    <a:pt x="0" y="0"/>
                  </a:moveTo>
                  <a:cubicBezTo>
                    <a:pt x="0" y="0"/>
                    <a:pt x="4391" y="3517"/>
                    <a:pt x="7904" y="13188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D8AB5918-3176-DFAE-5B87-22467570F5AC}"/>
                </a:ext>
              </a:extLst>
            </p:cNvPr>
            <p:cNvSpPr/>
            <p:nvPr/>
          </p:nvSpPr>
          <p:spPr>
            <a:xfrm>
              <a:off x="-10903303" y="3862448"/>
              <a:ext cx="8782" cy="12309"/>
            </a:xfrm>
            <a:custGeom>
              <a:avLst/>
              <a:gdLst>
                <a:gd name="connsiteX0" fmla="*/ 0 w 8782"/>
                <a:gd name="connsiteY0" fmla="*/ 0 h 12309"/>
                <a:gd name="connsiteX1" fmla="*/ 8782 w 8782"/>
                <a:gd name="connsiteY1" fmla="*/ 12309 h 1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82" h="12309">
                  <a:moveTo>
                    <a:pt x="0" y="0"/>
                  </a:moveTo>
                  <a:cubicBezTo>
                    <a:pt x="0" y="0"/>
                    <a:pt x="5270" y="2638"/>
                    <a:pt x="8782" y="12309"/>
                  </a:cubicBezTo>
                </a:path>
              </a:pathLst>
            </a:custGeom>
            <a:solidFill>
              <a:srgbClr val="B3895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241A03FC-35E7-AD26-59C7-29F2536F7ACD}"/>
                </a:ext>
              </a:extLst>
            </p:cNvPr>
            <p:cNvSpPr/>
            <p:nvPr/>
          </p:nvSpPr>
          <p:spPr>
            <a:xfrm>
              <a:off x="-10717115" y="3779801"/>
              <a:ext cx="25468" cy="20222"/>
            </a:xfrm>
            <a:custGeom>
              <a:avLst/>
              <a:gdLst>
                <a:gd name="connsiteX0" fmla="*/ 0 w 25468"/>
                <a:gd name="connsiteY0" fmla="*/ 0 h 20222"/>
                <a:gd name="connsiteX1" fmla="*/ 25469 w 25468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68" h="20222">
                  <a:moveTo>
                    <a:pt x="0" y="0"/>
                  </a:moveTo>
                  <a:cubicBezTo>
                    <a:pt x="0" y="0"/>
                    <a:pt x="25469" y="4396"/>
                    <a:pt x="25469" y="20222"/>
                  </a:cubicBezTo>
                </a:path>
              </a:pathLst>
            </a:custGeom>
            <a:solidFill>
              <a:srgbClr val="FA69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35F98ED6-0E1A-5E3E-D9BF-CEB488B77FC3}"/>
                </a:ext>
              </a:extLst>
            </p:cNvPr>
            <p:cNvSpPr/>
            <p:nvPr/>
          </p:nvSpPr>
          <p:spPr>
            <a:xfrm>
              <a:off x="-10712724" y="3765733"/>
              <a:ext cx="20199" cy="17584"/>
            </a:xfrm>
            <a:custGeom>
              <a:avLst/>
              <a:gdLst>
                <a:gd name="connsiteX0" fmla="*/ 0 w 20199"/>
                <a:gd name="connsiteY0" fmla="*/ 0 h 17584"/>
                <a:gd name="connsiteX1" fmla="*/ 20199 w 20199"/>
                <a:gd name="connsiteY1" fmla="*/ 17585 h 1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99" h="17584">
                  <a:moveTo>
                    <a:pt x="0" y="0"/>
                  </a:moveTo>
                  <a:cubicBezTo>
                    <a:pt x="0" y="0"/>
                    <a:pt x="19321" y="0"/>
                    <a:pt x="20199" y="17585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7385C70A-F1FC-140F-7EC7-1B496AFC8D66}"/>
                </a:ext>
              </a:extLst>
            </p:cNvPr>
            <p:cNvSpPr/>
            <p:nvPr/>
          </p:nvSpPr>
          <p:spPr>
            <a:xfrm>
              <a:off x="-10709211" y="3752545"/>
              <a:ext cx="18815" cy="20222"/>
            </a:xfrm>
            <a:custGeom>
              <a:avLst/>
              <a:gdLst>
                <a:gd name="connsiteX0" fmla="*/ 0 w 18815"/>
                <a:gd name="connsiteY0" fmla="*/ 0 h 20222"/>
                <a:gd name="connsiteX1" fmla="*/ 16687 w 18815"/>
                <a:gd name="connsiteY1" fmla="*/ 20222 h 2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5" h="20222">
                  <a:moveTo>
                    <a:pt x="0" y="0"/>
                  </a:moveTo>
                  <a:cubicBezTo>
                    <a:pt x="0" y="0"/>
                    <a:pt x="26347" y="2638"/>
                    <a:pt x="16687" y="20222"/>
                  </a:cubicBezTo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9513285E-E53D-88DA-746F-FA14F28BC278}"/>
                </a:ext>
              </a:extLst>
            </p:cNvPr>
            <p:cNvSpPr/>
            <p:nvPr/>
          </p:nvSpPr>
          <p:spPr>
            <a:xfrm>
              <a:off x="-10873076" y="3190858"/>
              <a:ext cx="325400" cy="137155"/>
            </a:xfrm>
            <a:custGeom>
              <a:avLst/>
              <a:gdLst>
                <a:gd name="connsiteX0" fmla="*/ 23346 w 325400"/>
                <a:gd name="connsiteY0" fmla="*/ 55249 h 137155"/>
                <a:gd name="connsiteX1" fmla="*/ 10173 w 325400"/>
                <a:gd name="connsiteY1" fmla="*/ 137018 h 137155"/>
                <a:gd name="connsiteX2" fmla="*/ 184065 w 325400"/>
                <a:gd name="connsiteY2" fmla="*/ 103607 h 137155"/>
                <a:gd name="connsiteX3" fmla="*/ 262228 w 325400"/>
                <a:gd name="connsiteY3" fmla="*/ 107124 h 137155"/>
                <a:gd name="connsiteX4" fmla="*/ 306141 w 325400"/>
                <a:gd name="connsiteY4" fmla="*/ 90419 h 137155"/>
                <a:gd name="connsiteX5" fmla="*/ 306141 w 325400"/>
                <a:gd name="connsiteY5" fmla="*/ 70196 h 137155"/>
                <a:gd name="connsiteX6" fmla="*/ 275402 w 325400"/>
                <a:gd name="connsiteY6" fmla="*/ 85143 h 137155"/>
                <a:gd name="connsiteX7" fmla="*/ 312288 w 325400"/>
                <a:gd name="connsiteY7" fmla="*/ 65800 h 137155"/>
                <a:gd name="connsiteX8" fmla="*/ 306141 w 325400"/>
                <a:gd name="connsiteY8" fmla="*/ 47336 h 137155"/>
                <a:gd name="connsiteX9" fmla="*/ 271011 w 325400"/>
                <a:gd name="connsiteY9" fmla="*/ 64921 h 137155"/>
                <a:gd name="connsiteX10" fmla="*/ 313166 w 325400"/>
                <a:gd name="connsiteY10" fmla="*/ 41182 h 137155"/>
                <a:gd name="connsiteX11" fmla="*/ 306141 w 325400"/>
                <a:gd name="connsiteY11" fmla="*/ 23597 h 137155"/>
                <a:gd name="connsiteX12" fmla="*/ 269254 w 325400"/>
                <a:gd name="connsiteY12" fmla="*/ 46457 h 137155"/>
                <a:gd name="connsiteX13" fmla="*/ 295601 w 325400"/>
                <a:gd name="connsiteY13" fmla="*/ 31510 h 137155"/>
                <a:gd name="connsiteX14" fmla="*/ 293845 w 325400"/>
                <a:gd name="connsiteY14" fmla="*/ 10409 h 137155"/>
                <a:gd name="connsiteX15" fmla="*/ 265741 w 325400"/>
                <a:gd name="connsiteY15" fmla="*/ 29752 h 137155"/>
                <a:gd name="connsiteX16" fmla="*/ 243785 w 325400"/>
                <a:gd name="connsiteY16" fmla="*/ 35027 h 137155"/>
                <a:gd name="connsiteX17" fmla="*/ 260472 w 325400"/>
                <a:gd name="connsiteY17" fmla="*/ 2496 h 137155"/>
                <a:gd name="connsiteX18" fmla="*/ 219194 w 325400"/>
                <a:gd name="connsiteY18" fmla="*/ 30631 h 137155"/>
                <a:gd name="connsiteX19" fmla="*/ 180552 w 325400"/>
                <a:gd name="connsiteY19" fmla="*/ 60525 h 137155"/>
                <a:gd name="connsiteX20" fmla="*/ 22468 w 325400"/>
                <a:gd name="connsiteY20" fmla="*/ 57008 h 137155"/>
                <a:gd name="connsiteX21" fmla="*/ 22468 w 325400"/>
                <a:gd name="connsiteY21" fmla="*/ 55249 h 137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5400" h="137155">
                  <a:moveTo>
                    <a:pt x="23346" y="55249"/>
                  </a:moveTo>
                  <a:cubicBezTo>
                    <a:pt x="23346" y="59646"/>
                    <a:pt x="-18809" y="134380"/>
                    <a:pt x="10173" y="137018"/>
                  </a:cubicBezTo>
                  <a:cubicBezTo>
                    <a:pt x="39155" y="139656"/>
                    <a:pt x="184065" y="103607"/>
                    <a:pt x="184065" y="103607"/>
                  </a:cubicBezTo>
                  <a:cubicBezTo>
                    <a:pt x="188456" y="108003"/>
                    <a:pt x="235881" y="111520"/>
                    <a:pt x="262228" y="107124"/>
                  </a:cubicBezTo>
                  <a:cubicBezTo>
                    <a:pt x="288576" y="102728"/>
                    <a:pt x="294723" y="95694"/>
                    <a:pt x="306141" y="90419"/>
                  </a:cubicBezTo>
                  <a:cubicBezTo>
                    <a:pt x="323705" y="81626"/>
                    <a:pt x="317558" y="63162"/>
                    <a:pt x="306141" y="70196"/>
                  </a:cubicBezTo>
                  <a:cubicBezTo>
                    <a:pt x="294723" y="77230"/>
                    <a:pt x="275402" y="85143"/>
                    <a:pt x="275402" y="85143"/>
                  </a:cubicBezTo>
                  <a:cubicBezTo>
                    <a:pt x="275402" y="85143"/>
                    <a:pt x="302627" y="75472"/>
                    <a:pt x="312288" y="65800"/>
                  </a:cubicBezTo>
                  <a:cubicBezTo>
                    <a:pt x="326340" y="53491"/>
                    <a:pt x="324583" y="33269"/>
                    <a:pt x="306141" y="47336"/>
                  </a:cubicBezTo>
                  <a:cubicBezTo>
                    <a:pt x="289454" y="57887"/>
                    <a:pt x="271011" y="64921"/>
                    <a:pt x="271011" y="64921"/>
                  </a:cubicBezTo>
                  <a:cubicBezTo>
                    <a:pt x="271011" y="64921"/>
                    <a:pt x="299114" y="53491"/>
                    <a:pt x="313166" y="41182"/>
                  </a:cubicBezTo>
                  <a:cubicBezTo>
                    <a:pt x="339514" y="18322"/>
                    <a:pt x="316679" y="13046"/>
                    <a:pt x="306141" y="23597"/>
                  </a:cubicBezTo>
                  <a:cubicBezTo>
                    <a:pt x="295601" y="34148"/>
                    <a:pt x="283306" y="40303"/>
                    <a:pt x="269254" y="46457"/>
                  </a:cubicBezTo>
                  <a:cubicBezTo>
                    <a:pt x="269254" y="46457"/>
                    <a:pt x="282428" y="41182"/>
                    <a:pt x="295601" y="31510"/>
                  </a:cubicBezTo>
                  <a:cubicBezTo>
                    <a:pt x="308775" y="21839"/>
                    <a:pt x="303506" y="3375"/>
                    <a:pt x="293845" y="10409"/>
                  </a:cubicBezTo>
                  <a:cubicBezTo>
                    <a:pt x="284184" y="17443"/>
                    <a:pt x="273645" y="27114"/>
                    <a:pt x="265741" y="29752"/>
                  </a:cubicBezTo>
                  <a:cubicBezTo>
                    <a:pt x="257837" y="32389"/>
                    <a:pt x="249055" y="35906"/>
                    <a:pt x="243785" y="35027"/>
                  </a:cubicBezTo>
                  <a:cubicBezTo>
                    <a:pt x="242029" y="33269"/>
                    <a:pt x="268376" y="13046"/>
                    <a:pt x="260472" y="2496"/>
                  </a:cubicBezTo>
                  <a:cubicBezTo>
                    <a:pt x="252568" y="-8055"/>
                    <a:pt x="228855" y="17443"/>
                    <a:pt x="219194" y="30631"/>
                  </a:cubicBezTo>
                  <a:cubicBezTo>
                    <a:pt x="209534" y="43819"/>
                    <a:pt x="180552" y="60525"/>
                    <a:pt x="180552" y="60525"/>
                  </a:cubicBezTo>
                  <a:cubicBezTo>
                    <a:pt x="180552" y="60525"/>
                    <a:pt x="21590" y="53491"/>
                    <a:pt x="22468" y="57008"/>
                  </a:cubicBezTo>
                  <a:lnTo>
                    <a:pt x="22468" y="55249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AEB76F12-5B18-7EE5-6A8F-3158A425CC25}"/>
                </a:ext>
              </a:extLst>
            </p:cNvPr>
            <p:cNvSpPr/>
            <p:nvPr/>
          </p:nvSpPr>
          <p:spPr>
            <a:xfrm>
              <a:off x="-11123877" y="3076153"/>
              <a:ext cx="353347" cy="527140"/>
            </a:xfrm>
            <a:custGeom>
              <a:avLst/>
              <a:gdLst>
                <a:gd name="connsiteX0" fmla="*/ 347041 w 353347"/>
                <a:gd name="connsiteY0" fmla="*/ 59171 h 527140"/>
                <a:gd name="connsiteX1" fmla="*/ 124846 w 353347"/>
                <a:gd name="connsiteY1" fmla="*/ 41587 h 527140"/>
                <a:gd name="connsiteX2" fmla="*/ 1013 w 353347"/>
                <a:gd name="connsiteY2" fmla="*/ 360748 h 527140"/>
                <a:gd name="connsiteX3" fmla="*/ 195983 w 353347"/>
                <a:gd name="connsiteY3" fmla="*/ 474168 h 527140"/>
                <a:gd name="connsiteX4" fmla="*/ 318937 w 353347"/>
                <a:gd name="connsiteY4" fmla="*/ 518130 h 527140"/>
                <a:gd name="connsiteX5" fmla="*/ 306642 w 353347"/>
                <a:gd name="connsiteY5" fmla="*/ 409985 h 527140"/>
                <a:gd name="connsiteX6" fmla="*/ 243408 w 353347"/>
                <a:gd name="connsiteY6" fmla="*/ 346680 h 527140"/>
                <a:gd name="connsiteX7" fmla="*/ 346163 w 353347"/>
                <a:gd name="connsiteY7" fmla="*/ 59171 h 527140"/>
                <a:gd name="connsiteX8" fmla="*/ 347041 w 353347"/>
                <a:gd name="connsiteY8" fmla="*/ 59171 h 52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347" h="527140">
                  <a:moveTo>
                    <a:pt x="347041" y="59171"/>
                  </a:moveTo>
                  <a:cubicBezTo>
                    <a:pt x="306642" y="-15563"/>
                    <a:pt x="172271" y="-17322"/>
                    <a:pt x="124846" y="41587"/>
                  </a:cubicBezTo>
                  <a:cubicBezTo>
                    <a:pt x="77421" y="100495"/>
                    <a:pt x="-10404" y="242052"/>
                    <a:pt x="1013" y="360748"/>
                  </a:cubicBezTo>
                  <a:cubicBezTo>
                    <a:pt x="12431" y="479444"/>
                    <a:pt x="195983" y="474168"/>
                    <a:pt x="195983" y="474168"/>
                  </a:cubicBezTo>
                  <a:cubicBezTo>
                    <a:pt x="195983" y="474168"/>
                    <a:pt x="294346" y="553299"/>
                    <a:pt x="318937" y="518130"/>
                  </a:cubicBezTo>
                  <a:cubicBezTo>
                    <a:pt x="341772" y="486478"/>
                    <a:pt x="336502" y="450429"/>
                    <a:pt x="306642" y="409985"/>
                  </a:cubicBezTo>
                  <a:cubicBezTo>
                    <a:pt x="282929" y="377453"/>
                    <a:pt x="243408" y="346680"/>
                    <a:pt x="243408" y="346680"/>
                  </a:cubicBezTo>
                  <a:cubicBezTo>
                    <a:pt x="243408" y="346680"/>
                    <a:pt x="386562" y="133906"/>
                    <a:pt x="346163" y="59171"/>
                  </a:cubicBezTo>
                  <a:lnTo>
                    <a:pt x="347041" y="59171"/>
                  </a:lnTo>
                  <a:close/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BFACC9B8-4AEC-FE0D-7A65-C5EC106AA8C9}"/>
                </a:ext>
              </a:extLst>
            </p:cNvPr>
            <p:cNvSpPr/>
            <p:nvPr/>
          </p:nvSpPr>
          <p:spPr>
            <a:xfrm>
              <a:off x="-11149211" y="3460640"/>
              <a:ext cx="378522" cy="220686"/>
            </a:xfrm>
            <a:custGeom>
              <a:avLst/>
              <a:gdLst>
                <a:gd name="connsiteX0" fmla="*/ 0 w 378522"/>
                <a:gd name="connsiteY0" fmla="*/ 0 h 220686"/>
                <a:gd name="connsiteX1" fmla="*/ 361836 w 378522"/>
                <a:gd name="connsiteY1" fmla="*/ 34290 h 220686"/>
                <a:gd name="connsiteX2" fmla="*/ 378523 w 378522"/>
                <a:gd name="connsiteY2" fmla="*/ 119575 h 220686"/>
                <a:gd name="connsiteX3" fmla="*/ 82555 w 378522"/>
                <a:gd name="connsiteY3" fmla="*/ 220687 h 22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522" h="220686">
                  <a:moveTo>
                    <a:pt x="0" y="0"/>
                  </a:moveTo>
                  <a:lnTo>
                    <a:pt x="361836" y="34290"/>
                  </a:lnTo>
                  <a:lnTo>
                    <a:pt x="378523" y="119575"/>
                  </a:lnTo>
                  <a:cubicBezTo>
                    <a:pt x="378523" y="119575"/>
                    <a:pt x="201996" y="198706"/>
                    <a:pt x="82555" y="220687"/>
                  </a:cubicBezTo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133240B8-6998-955C-40C4-8E953C72EFA9}"/>
                </a:ext>
              </a:extLst>
            </p:cNvPr>
            <p:cNvSpPr/>
            <p:nvPr/>
          </p:nvSpPr>
          <p:spPr>
            <a:xfrm>
              <a:off x="-13480067" y="1704817"/>
              <a:ext cx="8782" cy="8792"/>
            </a:xfrm>
            <a:custGeom>
              <a:avLst/>
              <a:gdLst/>
              <a:ahLst/>
              <a:cxnLst/>
              <a:rect l="l" t="t" r="r" b="b"/>
              <a:pathLst>
                <a:path w="8782" h="8792"/>
              </a:pathLst>
            </a:custGeom>
            <a:solidFill>
              <a:srgbClr val="DD9C74"/>
            </a:solidFill>
            <a:ln w="6764" cap="rnd">
              <a:solidFill>
                <a:srgbClr val="281805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B7472EB4-D3F6-58AD-C7BB-8933D5DCA74D}"/>
                </a:ext>
              </a:extLst>
            </p:cNvPr>
            <p:cNvSpPr/>
            <p:nvPr/>
          </p:nvSpPr>
          <p:spPr>
            <a:xfrm>
              <a:off x="-10950752" y="2817590"/>
              <a:ext cx="263053" cy="235087"/>
            </a:xfrm>
            <a:custGeom>
              <a:avLst/>
              <a:gdLst>
                <a:gd name="connsiteX0" fmla="*/ 39545 w 263053"/>
                <a:gd name="connsiteY0" fmla="*/ 235087 h 235087"/>
                <a:gd name="connsiteX1" fmla="*/ 24 w 263053"/>
                <a:gd name="connsiteY1" fmla="*/ 133096 h 235087"/>
                <a:gd name="connsiteX2" fmla="*/ 91361 w 263053"/>
                <a:gd name="connsiteY2" fmla="*/ 2091 h 235087"/>
                <a:gd name="connsiteX3" fmla="*/ 259984 w 263053"/>
                <a:gd name="connsiteY3" fmla="*/ 51328 h 235087"/>
                <a:gd name="connsiteX4" fmla="*/ 189725 w 263053"/>
                <a:gd name="connsiteY4" fmla="*/ 82980 h 235087"/>
                <a:gd name="connsiteX5" fmla="*/ 173916 w 263053"/>
                <a:gd name="connsiteY5" fmla="*/ 125183 h 235087"/>
                <a:gd name="connsiteX6" fmla="*/ 144056 w 263053"/>
                <a:gd name="connsiteY6" fmla="*/ 148043 h 235087"/>
                <a:gd name="connsiteX7" fmla="*/ 122978 w 263053"/>
                <a:gd name="connsiteY7" fmla="*/ 107599 h 235087"/>
                <a:gd name="connsiteX8" fmla="*/ 124735 w 263053"/>
                <a:gd name="connsiteY8" fmla="*/ 172662 h 235087"/>
                <a:gd name="connsiteX9" fmla="*/ 82579 w 263053"/>
                <a:gd name="connsiteY9" fmla="*/ 228053 h 235087"/>
                <a:gd name="connsiteX10" fmla="*/ 37789 w 263053"/>
                <a:gd name="connsiteY10" fmla="*/ 232449 h 235087"/>
                <a:gd name="connsiteX11" fmla="*/ 39545 w 263053"/>
                <a:gd name="connsiteY11" fmla="*/ 235087 h 23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3053" h="235087">
                  <a:moveTo>
                    <a:pt x="39545" y="235087"/>
                  </a:moveTo>
                  <a:cubicBezTo>
                    <a:pt x="39545" y="235087"/>
                    <a:pt x="1781" y="184092"/>
                    <a:pt x="24" y="133096"/>
                  </a:cubicBezTo>
                  <a:cubicBezTo>
                    <a:pt x="-854" y="82101"/>
                    <a:pt x="21980" y="13521"/>
                    <a:pt x="91361" y="2091"/>
                  </a:cubicBezTo>
                  <a:cubicBezTo>
                    <a:pt x="91361" y="2091"/>
                    <a:pt x="226611" y="-15494"/>
                    <a:pt x="259984" y="51328"/>
                  </a:cubicBezTo>
                  <a:cubicBezTo>
                    <a:pt x="276671" y="86497"/>
                    <a:pt x="221341" y="61879"/>
                    <a:pt x="189725" y="82980"/>
                  </a:cubicBezTo>
                  <a:cubicBezTo>
                    <a:pt x="172160" y="95289"/>
                    <a:pt x="173916" y="117270"/>
                    <a:pt x="173916" y="125183"/>
                  </a:cubicBezTo>
                  <a:cubicBezTo>
                    <a:pt x="173916" y="146285"/>
                    <a:pt x="158108" y="159473"/>
                    <a:pt x="144056" y="148043"/>
                  </a:cubicBezTo>
                  <a:cubicBezTo>
                    <a:pt x="137030" y="141889"/>
                    <a:pt x="155473" y="119908"/>
                    <a:pt x="122978" y="107599"/>
                  </a:cubicBezTo>
                  <a:cubicBezTo>
                    <a:pt x="81701" y="100565"/>
                    <a:pt x="90483" y="162990"/>
                    <a:pt x="124735" y="172662"/>
                  </a:cubicBezTo>
                  <a:cubicBezTo>
                    <a:pt x="104535" y="183212"/>
                    <a:pt x="105413" y="227174"/>
                    <a:pt x="82579" y="228053"/>
                  </a:cubicBezTo>
                  <a:lnTo>
                    <a:pt x="37789" y="232449"/>
                  </a:lnTo>
                  <a:lnTo>
                    <a:pt x="39545" y="235087"/>
                  </a:lnTo>
                  <a:close/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0F92708F-5FFB-47D0-D03A-458DE49B6A73}"/>
                </a:ext>
              </a:extLst>
            </p:cNvPr>
            <p:cNvSpPr/>
            <p:nvPr/>
          </p:nvSpPr>
          <p:spPr>
            <a:xfrm>
              <a:off x="-11051904" y="2954985"/>
              <a:ext cx="132793" cy="93781"/>
            </a:xfrm>
            <a:custGeom>
              <a:avLst/>
              <a:gdLst>
                <a:gd name="connsiteX0" fmla="*/ 122254 w 132793"/>
                <a:gd name="connsiteY0" fmla="*/ 10648 h 93781"/>
                <a:gd name="connsiteX1" fmla="*/ 39699 w 132793"/>
                <a:gd name="connsiteY1" fmla="*/ 22957 h 93781"/>
                <a:gd name="connsiteX2" fmla="*/ 13352 w 132793"/>
                <a:gd name="connsiteY2" fmla="*/ 73074 h 93781"/>
                <a:gd name="connsiteX3" fmla="*/ 44091 w 132793"/>
                <a:gd name="connsiteY3" fmla="*/ 91537 h 93781"/>
                <a:gd name="connsiteX4" fmla="*/ 132793 w 132793"/>
                <a:gd name="connsiteY4" fmla="*/ 37904 h 9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793" h="93781">
                  <a:moveTo>
                    <a:pt x="122254" y="10648"/>
                  </a:moveTo>
                  <a:cubicBezTo>
                    <a:pt x="122254" y="10648"/>
                    <a:pt x="49360" y="-20125"/>
                    <a:pt x="39699" y="22957"/>
                  </a:cubicBezTo>
                  <a:cubicBezTo>
                    <a:pt x="30039" y="66040"/>
                    <a:pt x="29160" y="65161"/>
                    <a:pt x="13352" y="73074"/>
                  </a:cubicBezTo>
                  <a:cubicBezTo>
                    <a:pt x="-2456" y="80987"/>
                    <a:pt x="-15630" y="100330"/>
                    <a:pt x="44091" y="91537"/>
                  </a:cubicBezTo>
                  <a:cubicBezTo>
                    <a:pt x="103811" y="82745"/>
                    <a:pt x="132793" y="37904"/>
                    <a:pt x="132793" y="37904"/>
                  </a:cubicBezTo>
                </a:path>
              </a:pathLst>
            </a:custGeom>
            <a:solidFill>
              <a:srgbClr val="C96128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CC2B76CC-3E56-6617-02E7-61C95B427743}"/>
                </a:ext>
              </a:extLst>
            </p:cNvPr>
            <p:cNvSpPr/>
            <p:nvPr/>
          </p:nvSpPr>
          <p:spPr>
            <a:xfrm>
              <a:off x="-11003024" y="3268022"/>
              <a:ext cx="361090" cy="247097"/>
            </a:xfrm>
            <a:custGeom>
              <a:avLst/>
              <a:gdLst>
                <a:gd name="connsiteX0" fmla="*/ 256048 w 361090"/>
                <a:gd name="connsiteY0" fmla="*/ 231304 h 247097"/>
                <a:gd name="connsiteX1" fmla="*/ 296447 w 361090"/>
                <a:gd name="connsiteY1" fmla="*/ 246251 h 247097"/>
                <a:gd name="connsiteX2" fmla="*/ 321916 w 361090"/>
                <a:gd name="connsiteY2" fmla="*/ 230425 h 247097"/>
                <a:gd name="connsiteX3" fmla="*/ 287665 w 361090"/>
                <a:gd name="connsiteY3" fmla="*/ 224270 h 247097"/>
                <a:gd name="connsiteX4" fmla="*/ 312256 w 361090"/>
                <a:gd name="connsiteY4" fmla="*/ 231304 h 247097"/>
                <a:gd name="connsiteX5" fmla="*/ 335090 w 361090"/>
                <a:gd name="connsiteY5" fmla="*/ 208444 h 247097"/>
                <a:gd name="connsiteX6" fmla="*/ 295569 w 361090"/>
                <a:gd name="connsiteY6" fmla="*/ 205807 h 247097"/>
                <a:gd name="connsiteX7" fmla="*/ 343873 w 361090"/>
                <a:gd name="connsiteY7" fmla="*/ 205807 h 247097"/>
                <a:gd name="connsiteX8" fmla="*/ 346507 w 361090"/>
                <a:gd name="connsiteY8" fmla="*/ 188222 h 247097"/>
                <a:gd name="connsiteX9" fmla="*/ 309621 w 361090"/>
                <a:gd name="connsiteY9" fmla="*/ 188222 h 247097"/>
                <a:gd name="connsiteX10" fmla="*/ 337725 w 361090"/>
                <a:gd name="connsiteY10" fmla="*/ 190860 h 247097"/>
                <a:gd name="connsiteX11" fmla="*/ 357046 w 361090"/>
                <a:gd name="connsiteY11" fmla="*/ 169758 h 247097"/>
                <a:gd name="connsiteX12" fmla="*/ 314890 w 361090"/>
                <a:gd name="connsiteY12" fmla="*/ 166241 h 247097"/>
                <a:gd name="connsiteX13" fmla="*/ 298204 w 361090"/>
                <a:gd name="connsiteY13" fmla="*/ 154811 h 247097"/>
                <a:gd name="connsiteX14" fmla="*/ 335968 w 361090"/>
                <a:gd name="connsiteY14" fmla="*/ 130193 h 247097"/>
                <a:gd name="connsiteX15" fmla="*/ 290300 w 361090"/>
                <a:gd name="connsiteY15" fmla="*/ 132830 h 247097"/>
                <a:gd name="connsiteX16" fmla="*/ 221797 w 361090"/>
                <a:gd name="connsiteY16" fmla="*/ 143381 h 247097"/>
                <a:gd name="connsiteX17" fmla="*/ 117286 w 361090"/>
                <a:gd name="connsiteY17" fmla="*/ 52821 h 247097"/>
                <a:gd name="connsiteX18" fmla="*/ 1358 w 361090"/>
                <a:gd name="connsiteY18" fmla="*/ 1825 h 247097"/>
                <a:gd name="connsiteX19" fmla="*/ 31218 w 361090"/>
                <a:gd name="connsiteY19" fmla="*/ 117004 h 247097"/>
                <a:gd name="connsiteX20" fmla="*/ 205110 w 361090"/>
                <a:gd name="connsiteY20" fmla="*/ 197894 h 247097"/>
                <a:gd name="connsiteX21" fmla="*/ 257805 w 361090"/>
                <a:gd name="connsiteY21" fmla="*/ 233942 h 247097"/>
                <a:gd name="connsiteX22" fmla="*/ 256048 w 361090"/>
                <a:gd name="connsiteY22" fmla="*/ 231304 h 24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090" h="247097">
                  <a:moveTo>
                    <a:pt x="256048" y="231304"/>
                  </a:moveTo>
                  <a:cubicBezTo>
                    <a:pt x="277126" y="242734"/>
                    <a:pt x="288543" y="244493"/>
                    <a:pt x="296447" y="246251"/>
                  </a:cubicBezTo>
                  <a:cubicBezTo>
                    <a:pt x="314890" y="251527"/>
                    <a:pt x="323673" y="230425"/>
                    <a:pt x="321916" y="230425"/>
                  </a:cubicBezTo>
                  <a:cubicBezTo>
                    <a:pt x="302595" y="233063"/>
                    <a:pt x="287665" y="224270"/>
                    <a:pt x="287665" y="224270"/>
                  </a:cubicBezTo>
                  <a:cubicBezTo>
                    <a:pt x="287665" y="224270"/>
                    <a:pt x="296447" y="230425"/>
                    <a:pt x="312256" y="231304"/>
                  </a:cubicBezTo>
                  <a:cubicBezTo>
                    <a:pt x="331577" y="233942"/>
                    <a:pt x="350020" y="216357"/>
                    <a:pt x="335090" y="208444"/>
                  </a:cubicBezTo>
                  <a:cubicBezTo>
                    <a:pt x="315769" y="211082"/>
                    <a:pt x="295569" y="205807"/>
                    <a:pt x="295569" y="205807"/>
                  </a:cubicBezTo>
                  <a:cubicBezTo>
                    <a:pt x="295569" y="205807"/>
                    <a:pt x="330699" y="214599"/>
                    <a:pt x="343873" y="205807"/>
                  </a:cubicBezTo>
                  <a:cubicBezTo>
                    <a:pt x="356168" y="196135"/>
                    <a:pt x="350898" y="186464"/>
                    <a:pt x="346507" y="188222"/>
                  </a:cubicBezTo>
                  <a:cubicBezTo>
                    <a:pt x="342116" y="189980"/>
                    <a:pt x="327186" y="196135"/>
                    <a:pt x="309621" y="188222"/>
                  </a:cubicBezTo>
                  <a:cubicBezTo>
                    <a:pt x="309621" y="188222"/>
                    <a:pt x="324551" y="192618"/>
                    <a:pt x="337725" y="190860"/>
                  </a:cubicBezTo>
                  <a:cubicBezTo>
                    <a:pt x="350898" y="189101"/>
                    <a:pt x="369342" y="175913"/>
                    <a:pt x="357046" y="169758"/>
                  </a:cubicBezTo>
                  <a:cubicBezTo>
                    <a:pt x="344751" y="163603"/>
                    <a:pt x="327186" y="172396"/>
                    <a:pt x="314890" y="166241"/>
                  </a:cubicBezTo>
                  <a:cubicBezTo>
                    <a:pt x="313134" y="165362"/>
                    <a:pt x="302595" y="158328"/>
                    <a:pt x="298204" y="154811"/>
                  </a:cubicBezTo>
                  <a:cubicBezTo>
                    <a:pt x="298204" y="152174"/>
                    <a:pt x="333334" y="145140"/>
                    <a:pt x="335968" y="130193"/>
                  </a:cubicBezTo>
                  <a:cubicBezTo>
                    <a:pt x="338603" y="115246"/>
                    <a:pt x="294691" y="132830"/>
                    <a:pt x="290300" y="132830"/>
                  </a:cubicBezTo>
                  <a:cubicBezTo>
                    <a:pt x="279761" y="133710"/>
                    <a:pt x="221797" y="143381"/>
                    <a:pt x="221797" y="143381"/>
                  </a:cubicBezTo>
                  <a:cubicBezTo>
                    <a:pt x="221797" y="143381"/>
                    <a:pt x="121677" y="45787"/>
                    <a:pt x="117286" y="52821"/>
                  </a:cubicBezTo>
                  <a:cubicBezTo>
                    <a:pt x="112895" y="59854"/>
                    <a:pt x="-14451" y="-12243"/>
                    <a:pt x="1358" y="1825"/>
                  </a:cubicBezTo>
                  <a:cubicBezTo>
                    <a:pt x="17166" y="15893"/>
                    <a:pt x="-13572" y="94144"/>
                    <a:pt x="31218" y="117004"/>
                  </a:cubicBezTo>
                  <a:cubicBezTo>
                    <a:pt x="76009" y="139864"/>
                    <a:pt x="206867" y="195256"/>
                    <a:pt x="205110" y="197894"/>
                  </a:cubicBezTo>
                  <a:cubicBezTo>
                    <a:pt x="205110" y="197894"/>
                    <a:pt x="236727" y="222512"/>
                    <a:pt x="257805" y="233942"/>
                  </a:cubicBezTo>
                  <a:lnTo>
                    <a:pt x="256048" y="231304"/>
                  </a:lnTo>
                  <a:close/>
                </a:path>
              </a:pathLst>
            </a:custGeom>
            <a:solidFill>
              <a:srgbClr val="F9C1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EA7EDAA0-661F-D28F-F125-1EF20195A1F7}"/>
                </a:ext>
              </a:extLst>
            </p:cNvPr>
            <p:cNvSpPr/>
            <p:nvPr/>
          </p:nvSpPr>
          <p:spPr>
            <a:xfrm>
              <a:off x="-11006568" y="3174890"/>
              <a:ext cx="157715" cy="150238"/>
            </a:xfrm>
            <a:custGeom>
              <a:avLst/>
              <a:gdLst>
                <a:gd name="connsiteX0" fmla="*/ 157716 w 157715"/>
                <a:gd name="connsiteY0" fmla="*/ 29894 h 150238"/>
                <a:gd name="connsiteX1" fmla="*/ 134003 w 157715"/>
                <a:gd name="connsiteY1" fmla="*/ 126609 h 150238"/>
                <a:gd name="connsiteX2" fmla="*/ 1389 w 157715"/>
                <a:gd name="connsiteY2" fmla="*/ 123092 h 150238"/>
                <a:gd name="connsiteX3" fmla="*/ 35640 w 157715"/>
                <a:gd name="connsiteY3" fmla="*/ 0 h 15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715" h="150238">
                  <a:moveTo>
                    <a:pt x="157716" y="29894"/>
                  </a:moveTo>
                  <a:cubicBezTo>
                    <a:pt x="157716" y="29894"/>
                    <a:pt x="149812" y="96715"/>
                    <a:pt x="134003" y="126609"/>
                  </a:cubicBezTo>
                  <a:cubicBezTo>
                    <a:pt x="116438" y="167054"/>
                    <a:pt x="22467" y="148590"/>
                    <a:pt x="1389" y="123092"/>
                  </a:cubicBezTo>
                  <a:cubicBezTo>
                    <a:pt x="-8272" y="57150"/>
                    <a:pt x="35640" y="0"/>
                    <a:pt x="35640" y="0"/>
                  </a:cubicBezTo>
                </a:path>
              </a:pathLst>
            </a:custGeom>
            <a:solidFill>
              <a:srgbClr val="FFFFFF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5" name="Graphic 6">
            <a:extLst>
              <a:ext uri="{FF2B5EF4-FFF2-40B4-BE49-F238E27FC236}">
                <a16:creationId xmlns:a16="http://schemas.microsoft.com/office/drawing/2014/main" id="{C20F609D-EB3C-55D3-A12E-E07FE7417985}"/>
              </a:ext>
            </a:extLst>
          </p:cNvPr>
          <p:cNvGrpSpPr/>
          <p:nvPr/>
        </p:nvGrpSpPr>
        <p:grpSpPr>
          <a:xfrm>
            <a:off x="-10159651" y="3689492"/>
            <a:ext cx="1772053" cy="2111660"/>
            <a:chOff x="-10159651" y="3689492"/>
            <a:chExt cx="1772053" cy="2111660"/>
          </a:xfrm>
        </p:grpSpPr>
        <p:grpSp>
          <p:nvGrpSpPr>
            <p:cNvPr id="116" name="Graphic 6">
              <a:extLst>
                <a:ext uri="{FF2B5EF4-FFF2-40B4-BE49-F238E27FC236}">
                  <a16:creationId xmlns:a16="http://schemas.microsoft.com/office/drawing/2014/main" id="{B65F25C4-09B2-4716-0AA3-B9593F61BCA2}"/>
                </a:ext>
              </a:extLst>
            </p:cNvPr>
            <p:cNvGrpSpPr/>
            <p:nvPr/>
          </p:nvGrpSpPr>
          <p:grpSpPr>
            <a:xfrm>
              <a:off x="-10145379" y="3689492"/>
              <a:ext cx="1583761" cy="2111660"/>
              <a:chOff x="-10145379" y="3689492"/>
              <a:chExt cx="1583761" cy="2111660"/>
            </a:xfrm>
          </p:grpSpPr>
          <p:sp>
            <p:nvSpPr>
              <p:cNvPr id="117" name="Freeform 116">
                <a:extLst>
                  <a:ext uri="{FF2B5EF4-FFF2-40B4-BE49-F238E27FC236}">
                    <a16:creationId xmlns:a16="http://schemas.microsoft.com/office/drawing/2014/main" id="{AF22DE33-13CC-B6F0-E65A-361A5BE05DDF}"/>
                  </a:ext>
                </a:extLst>
              </p:cNvPr>
              <p:cNvSpPr/>
              <p:nvPr/>
            </p:nvSpPr>
            <p:spPr>
              <a:xfrm>
                <a:off x="-9701867" y="5162831"/>
                <a:ext cx="224829" cy="623972"/>
              </a:xfrm>
              <a:custGeom>
                <a:avLst/>
                <a:gdLst>
                  <a:gd name="connsiteX0" fmla="*/ 103633 w 224829"/>
                  <a:gd name="connsiteY0" fmla="*/ 612824 h 623972"/>
                  <a:gd name="connsiteX1" fmla="*/ 90459 w 224829"/>
                  <a:gd name="connsiteY1" fmla="*/ 563587 h 623972"/>
                  <a:gd name="connsiteX2" fmla="*/ 96607 w 224829"/>
                  <a:gd name="connsiteY2" fmla="*/ 496765 h 623972"/>
                  <a:gd name="connsiteX3" fmla="*/ 28104 w 224829"/>
                  <a:gd name="connsiteY3" fmla="*/ 125730 h 623972"/>
                  <a:gd name="connsiteX4" fmla="*/ 0 w 224829"/>
                  <a:gd name="connsiteY4" fmla="*/ 4396 h 623972"/>
                  <a:gd name="connsiteX5" fmla="*/ 180040 w 224829"/>
                  <a:gd name="connsiteY5" fmla="*/ 0 h 623972"/>
                  <a:gd name="connsiteX6" fmla="*/ 185309 w 224829"/>
                  <a:gd name="connsiteY6" fmla="*/ 118696 h 623972"/>
                  <a:gd name="connsiteX7" fmla="*/ 194970 w 224829"/>
                  <a:gd name="connsiteY7" fmla="*/ 517867 h 623972"/>
                  <a:gd name="connsiteX8" fmla="*/ 224830 w 224829"/>
                  <a:gd name="connsiteY8" fmla="*/ 556553 h 623972"/>
                  <a:gd name="connsiteX9" fmla="*/ 103633 w 224829"/>
                  <a:gd name="connsiteY9" fmla="*/ 612824 h 623972"/>
                  <a:gd name="connsiteX10" fmla="*/ 103633 w 224829"/>
                  <a:gd name="connsiteY10" fmla="*/ 612824 h 6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4829" h="623972">
                    <a:moveTo>
                      <a:pt x="103633" y="612824"/>
                    </a:moveTo>
                    <a:cubicBezTo>
                      <a:pt x="103633" y="612824"/>
                      <a:pt x="83433" y="589964"/>
                      <a:pt x="90459" y="563587"/>
                    </a:cubicBezTo>
                    <a:cubicBezTo>
                      <a:pt x="97485" y="537210"/>
                      <a:pt x="108024" y="528418"/>
                      <a:pt x="96607" y="496765"/>
                    </a:cubicBezTo>
                    <a:cubicBezTo>
                      <a:pt x="96607" y="496765"/>
                      <a:pt x="10539" y="196069"/>
                      <a:pt x="28104" y="125730"/>
                    </a:cubicBezTo>
                    <a:cubicBezTo>
                      <a:pt x="18443" y="85285"/>
                      <a:pt x="0" y="4396"/>
                      <a:pt x="0" y="4396"/>
                    </a:cubicBezTo>
                    <a:lnTo>
                      <a:pt x="180040" y="0"/>
                    </a:lnTo>
                    <a:lnTo>
                      <a:pt x="185309" y="118696"/>
                    </a:lnTo>
                    <a:lnTo>
                      <a:pt x="194970" y="517867"/>
                    </a:lnTo>
                    <a:lnTo>
                      <a:pt x="224830" y="556553"/>
                    </a:lnTo>
                    <a:cubicBezTo>
                      <a:pt x="224830" y="556553"/>
                      <a:pt x="134371" y="656785"/>
                      <a:pt x="103633" y="612824"/>
                    </a:cubicBezTo>
                    <a:lnTo>
                      <a:pt x="103633" y="612824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eform 117">
                <a:extLst>
                  <a:ext uri="{FF2B5EF4-FFF2-40B4-BE49-F238E27FC236}">
                    <a16:creationId xmlns:a16="http://schemas.microsoft.com/office/drawing/2014/main" id="{260B7E18-1F9E-1C84-0C9B-F3488A3F334B}"/>
                  </a:ext>
                </a:extLst>
              </p:cNvPr>
              <p:cNvSpPr/>
              <p:nvPr/>
            </p:nvSpPr>
            <p:spPr>
              <a:xfrm>
                <a:off x="-9620519" y="5684214"/>
                <a:ext cx="289335" cy="116937"/>
              </a:xfrm>
              <a:custGeom>
                <a:avLst/>
                <a:gdLst>
                  <a:gd name="connsiteX0" fmla="*/ 276096 w 289335"/>
                  <a:gd name="connsiteY0" fmla="*/ 61546 h 116937"/>
                  <a:gd name="connsiteX1" fmla="*/ 129430 w 289335"/>
                  <a:gd name="connsiteY1" fmla="*/ 0 h 116937"/>
                  <a:gd name="connsiteX2" fmla="*/ 99569 w 289335"/>
                  <a:gd name="connsiteY2" fmla="*/ 76493 h 116937"/>
                  <a:gd name="connsiteX3" fmla="*/ 328 w 289335"/>
                  <a:gd name="connsiteY3" fmla="*/ 76493 h 116937"/>
                  <a:gd name="connsiteX4" fmla="*/ 7354 w 289335"/>
                  <a:gd name="connsiteY4" fmla="*/ 114300 h 116937"/>
                  <a:gd name="connsiteX5" fmla="*/ 264679 w 289335"/>
                  <a:gd name="connsiteY5" fmla="*/ 116938 h 116937"/>
                  <a:gd name="connsiteX6" fmla="*/ 276096 w 289335"/>
                  <a:gd name="connsiteY6" fmla="*/ 60667 h 116937"/>
                  <a:gd name="connsiteX7" fmla="*/ 276096 w 289335"/>
                  <a:gd name="connsiteY7" fmla="*/ 60667 h 116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9335" h="116937">
                    <a:moveTo>
                      <a:pt x="276096" y="61546"/>
                    </a:moveTo>
                    <a:cubicBezTo>
                      <a:pt x="246236" y="36049"/>
                      <a:pt x="129430" y="0"/>
                      <a:pt x="129430" y="0"/>
                    </a:cubicBezTo>
                    <a:cubicBezTo>
                      <a:pt x="129430" y="0"/>
                      <a:pt x="125039" y="72097"/>
                      <a:pt x="99569" y="76493"/>
                    </a:cubicBezTo>
                    <a:cubicBezTo>
                      <a:pt x="74101" y="80889"/>
                      <a:pt x="328" y="76493"/>
                      <a:pt x="328" y="76493"/>
                    </a:cubicBezTo>
                    <a:cubicBezTo>
                      <a:pt x="328" y="76493"/>
                      <a:pt x="-2306" y="109904"/>
                      <a:pt x="7354" y="114300"/>
                    </a:cubicBezTo>
                    <a:cubicBezTo>
                      <a:pt x="14380" y="116938"/>
                      <a:pt x="249749" y="116938"/>
                      <a:pt x="264679" y="116938"/>
                    </a:cubicBezTo>
                    <a:cubicBezTo>
                      <a:pt x="279609" y="116938"/>
                      <a:pt x="305078" y="86164"/>
                      <a:pt x="276096" y="60667"/>
                    </a:cubicBezTo>
                    <a:lnTo>
                      <a:pt x="276096" y="606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9" name="Graphic 6">
                <a:extLst>
                  <a:ext uri="{FF2B5EF4-FFF2-40B4-BE49-F238E27FC236}">
                    <a16:creationId xmlns:a16="http://schemas.microsoft.com/office/drawing/2014/main" id="{88AC4BE3-4F7D-2CDE-2F2C-49198863B08D}"/>
                  </a:ext>
                </a:extLst>
              </p:cNvPr>
              <p:cNvGrpSpPr/>
              <p:nvPr/>
            </p:nvGrpSpPr>
            <p:grpSpPr>
              <a:xfrm>
                <a:off x="-10000469" y="4565833"/>
                <a:ext cx="972045" cy="1224518"/>
                <a:chOff x="-10000469" y="4565833"/>
                <a:chExt cx="972045" cy="1224518"/>
              </a:xfrm>
            </p:grpSpPr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8F5DF71F-7939-3B3E-EDD0-60D10E080848}"/>
                    </a:ext>
                  </a:extLst>
                </p:cNvPr>
                <p:cNvSpPr/>
                <p:nvPr/>
              </p:nvSpPr>
              <p:spPr>
                <a:xfrm>
                  <a:off x="-9967975" y="5144367"/>
                  <a:ext cx="182674" cy="645984"/>
                </a:xfrm>
                <a:custGeom>
                  <a:avLst/>
                  <a:gdLst>
                    <a:gd name="connsiteX0" fmla="*/ 113293 w 182674"/>
                    <a:gd name="connsiteY0" fmla="*/ 605790 h 645984"/>
                    <a:gd name="connsiteX1" fmla="*/ 106267 w 182674"/>
                    <a:gd name="connsiteY1" fmla="*/ 513471 h 645984"/>
                    <a:gd name="connsiteX2" fmla="*/ 182675 w 182674"/>
                    <a:gd name="connsiteY2" fmla="*/ 7034 h 645984"/>
                    <a:gd name="connsiteX3" fmla="*/ 0 w 182674"/>
                    <a:gd name="connsiteY3" fmla="*/ 0 h 645984"/>
                    <a:gd name="connsiteX4" fmla="*/ 20200 w 182674"/>
                    <a:gd name="connsiteY4" fmla="*/ 512591 h 645984"/>
                    <a:gd name="connsiteX5" fmla="*/ 2635 w 182674"/>
                    <a:gd name="connsiteY5" fmla="*/ 622495 h 645984"/>
                    <a:gd name="connsiteX6" fmla="*/ 113293 w 182674"/>
                    <a:gd name="connsiteY6" fmla="*/ 606669 h 645984"/>
                    <a:gd name="connsiteX7" fmla="*/ 113293 w 182674"/>
                    <a:gd name="connsiteY7" fmla="*/ 606669 h 64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2674" h="645984">
                      <a:moveTo>
                        <a:pt x="113293" y="605790"/>
                      </a:moveTo>
                      <a:cubicBezTo>
                        <a:pt x="113293" y="605790"/>
                        <a:pt x="94850" y="545123"/>
                        <a:pt x="106267" y="513471"/>
                      </a:cubicBezTo>
                      <a:lnTo>
                        <a:pt x="182675" y="7034"/>
                      </a:lnTo>
                      <a:lnTo>
                        <a:pt x="0" y="0"/>
                      </a:lnTo>
                      <a:lnTo>
                        <a:pt x="20200" y="512591"/>
                      </a:lnTo>
                      <a:cubicBezTo>
                        <a:pt x="20200" y="512591"/>
                        <a:pt x="-6148" y="584688"/>
                        <a:pt x="2635" y="622495"/>
                      </a:cubicBezTo>
                      <a:cubicBezTo>
                        <a:pt x="10539" y="660302"/>
                        <a:pt x="83433" y="650631"/>
                        <a:pt x="113293" y="606669"/>
                      </a:cubicBezTo>
                      <a:lnTo>
                        <a:pt x="113293" y="606669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5C5C81AD-70BE-AF4E-D077-161A16A46970}"/>
                    </a:ext>
                  </a:extLst>
                </p:cNvPr>
                <p:cNvSpPr/>
                <p:nvPr/>
              </p:nvSpPr>
              <p:spPr>
                <a:xfrm>
                  <a:off x="-10000469" y="4565833"/>
                  <a:ext cx="499719" cy="602272"/>
                </a:xfrm>
                <a:custGeom>
                  <a:avLst/>
                  <a:gdLst>
                    <a:gd name="connsiteX0" fmla="*/ 233612 w 499719"/>
                    <a:gd name="connsiteY0" fmla="*/ 601394 h 602272"/>
                    <a:gd name="connsiteX1" fmla="*/ 0 w 499719"/>
                    <a:gd name="connsiteY1" fmla="*/ 601394 h 602272"/>
                    <a:gd name="connsiteX2" fmla="*/ 20199 w 499719"/>
                    <a:gd name="connsiteY2" fmla="*/ 135401 h 602272"/>
                    <a:gd name="connsiteX3" fmla="*/ 44790 w 499719"/>
                    <a:gd name="connsiteY3" fmla="*/ 45720 h 602272"/>
                    <a:gd name="connsiteX4" fmla="*/ 388183 w 499719"/>
                    <a:gd name="connsiteY4" fmla="*/ 0 h 602272"/>
                    <a:gd name="connsiteX5" fmla="*/ 449660 w 499719"/>
                    <a:gd name="connsiteY5" fmla="*/ 124851 h 602272"/>
                    <a:gd name="connsiteX6" fmla="*/ 499720 w 499719"/>
                    <a:gd name="connsiteY6" fmla="*/ 596998 h 602272"/>
                    <a:gd name="connsiteX7" fmla="*/ 274890 w 499719"/>
                    <a:gd name="connsiteY7" fmla="*/ 602273 h 602272"/>
                    <a:gd name="connsiteX8" fmla="*/ 259960 w 499719"/>
                    <a:gd name="connsiteY8" fmla="*/ 366639 h 602272"/>
                    <a:gd name="connsiteX9" fmla="*/ 238882 w 499719"/>
                    <a:gd name="connsiteY9" fmla="*/ 371915 h 602272"/>
                    <a:gd name="connsiteX10" fmla="*/ 233612 w 499719"/>
                    <a:gd name="connsiteY10" fmla="*/ 602273 h 602272"/>
                    <a:gd name="connsiteX11" fmla="*/ 233612 w 499719"/>
                    <a:gd name="connsiteY11" fmla="*/ 602273 h 602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99719" h="602272">
                      <a:moveTo>
                        <a:pt x="233612" y="601394"/>
                      </a:moveTo>
                      <a:lnTo>
                        <a:pt x="0" y="601394"/>
                      </a:lnTo>
                      <a:lnTo>
                        <a:pt x="20199" y="135401"/>
                      </a:lnTo>
                      <a:lnTo>
                        <a:pt x="44790" y="45720"/>
                      </a:lnTo>
                      <a:lnTo>
                        <a:pt x="388183" y="0"/>
                      </a:lnTo>
                      <a:lnTo>
                        <a:pt x="449660" y="124851"/>
                      </a:lnTo>
                      <a:cubicBezTo>
                        <a:pt x="462834" y="160020"/>
                        <a:pt x="499720" y="596998"/>
                        <a:pt x="499720" y="596998"/>
                      </a:cubicBezTo>
                      <a:lnTo>
                        <a:pt x="274890" y="602273"/>
                      </a:lnTo>
                      <a:lnTo>
                        <a:pt x="259960" y="366639"/>
                      </a:lnTo>
                      <a:lnTo>
                        <a:pt x="238882" y="371915"/>
                      </a:lnTo>
                      <a:lnTo>
                        <a:pt x="233612" y="602273"/>
                      </a:lnTo>
                      <a:lnTo>
                        <a:pt x="233612" y="60227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2" name="Freeform 121">
                <a:extLst>
                  <a:ext uri="{FF2B5EF4-FFF2-40B4-BE49-F238E27FC236}">
                    <a16:creationId xmlns:a16="http://schemas.microsoft.com/office/drawing/2014/main" id="{EEE1AB20-F874-A315-17E2-6068BE0260A3}"/>
                  </a:ext>
                </a:extLst>
              </p:cNvPr>
              <p:cNvSpPr/>
              <p:nvPr/>
            </p:nvSpPr>
            <p:spPr>
              <a:xfrm>
                <a:off x="-10145379" y="4042691"/>
                <a:ext cx="736845" cy="653268"/>
              </a:xfrm>
              <a:custGeom>
                <a:avLst/>
                <a:gdLst>
                  <a:gd name="connsiteX0" fmla="*/ 95728 w 736845"/>
                  <a:gd name="connsiteY0" fmla="*/ 109025 h 653268"/>
                  <a:gd name="connsiteX1" fmla="*/ 230978 w 736845"/>
                  <a:gd name="connsiteY1" fmla="*/ 19343 h 653268"/>
                  <a:gd name="connsiteX2" fmla="*/ 413652 w 736845"/>
                  <a:gd name="connsiteY2" fmla="*/ 0 h 653268"/>
                  <a:gd name="connsiteX3" fmla="*/ 555049 w 736845"/>
                  <a:gd name="connsiteY3" fmla="*/ 23739 h 653268"/>
                  <a:gd name="connsiteX4" fmla="*/ 663951 w 736845"/>
                  <a:gd name="connsiteY4" fmla="*/ 91440 h 653268"/>
                  <a:gd name="connsiteX5" fmla="*/ 736845 w 736845"/>
                  <a:gd name="connsiteY5" fmla="*/ 383345 h 653268"/>
                  <a:gd name="connsiteX6" fmla="*/ 610379 w 736845"/>
                  <a:gd name="connsiteY6" fmla="*/ 413238 h 653268"/>
                  <a:gd name="connsiteX7" fmla="*/ 613892 w 736845"/>
                  <a:gd name="connsiteY7" fmla="*/ 302455 h 653268"/>
                  <a:gd name="connsiteX8" fmla="*/ 603352 w 736845"/>
                  <a:gd name="connsiteY8" fmla="*/ 648872 h 653268"/>
                  <a:gd name="connsiteX9" fmla="*/ 152814 w 736845"/>
                  <a:gd name="connsiteY9" fmla="*/ 653269 h 653268"/>
                  <a:gd name="connsiteX10" fmla="*/ 172135 w 736845"/>
                  <a:gd name="connsiteY10" fmla="*/ 314765 h 653268"/>
                  <a:gd name="connsiteX11" fmla="*/ 133493 w 736845"/>
                  <a:gd name="connsiteY11" fmla="*/ 414997 h 653268"/>
                  <a:gd name="connsiteX12" fmla="*/ 0 w 736845"/>
                  <a:gd name="connsiteY12" fmla="*/ 327074 h 653268"/>
                  <a:gd name="connsiteX13" fmla="*/ 96607 w 736845"/>
                  <a:gd name="connsiteY13" fmla="*/ 110783 h 653268"/>
                  <a:gd name="connsiteX14" fmla="*/ 96607 w 736845"/>
                  <a:gd name="connsiteY14" fmla="*/ 109025 h 653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36845" h="653268">
                    <a:moveTo>
                      <a:pt x="95728" y="109025"/>
                    </a:moveTo>
                    <a:cubicBezTo>
                      <a:pt x="137006" y="36049"/>
                      <a:pt x="230978" y="19343"/>
                      <a:pt x="230978" y="19343"/>
                    </a:cubicBezTo>
                    <a:cubicBezTo>
                      <a:pt x="230978" y="19343"/>
                      <a:pt x="310898" y="2638"/>
                      <a:pt x="413652" y="0"/>
                    </a:cubicBezTo>
                    <a:cubicBezTo>
                      <a:pt x="518163" y="4396"/>
                      <a:pt x="555049" y="23739"/>
                      <a:pt x="555049" y="23739"/>
                    </a:cubicBezTo>
                    <a:cubicBezTo>
                      <a:pt x="598083" y="38686"/>
                      <a:pt x="645508" y="63305"/>
                      <a:pt x="663951" y="91440"/>
                    </a:cubicBezTo>
                    <a:cubicBezTo>
                      <a:pt x="685029" y="122213"/>
                      <a:pt x="716646" y="252339"/>
                      <a:pt x="736845" y="383345"/>
                    </a:cubicBezTo>
                    <a:lnTo>
                      <a:pt x="610379" y="413238"/>
                    </a:lnTo>
                    <a:lnTo>
                      <a:pt x="613892" y="302455"/>
                    </a:lnTo>
                    <a:lnTo>
                      <a:pt x="603352" y="648872"/>
                    </a:lnTo>
                    <a:lnTo>
                      <a:pt x="152814" y="653269"/>
                    </a:lnTo>
                    <a:cubicBezTo>
                      <a:pt x="152814" y="653269"/>
                      <a:pt x="170379" y="452804"/>
                      <a:pt x="172135" y="314765"/>
                    </a:cubicBezTo>
                    <a:lnTo>
                      <a:pt x="133493" y="414997"/>
                    </a:lnTo>
                    <a:cubicBezTo>
                      <a:pt x="133493" y="414997"/>
                      <a:pt x="36008" y="371915"/>
                      <a:pt x="0" y="327074"/>
                    </a:cubicBezTo>
                    <a:cubicBezTo>
                      <a:pt x="12295" y="284871"/>
                      <a:pt x="55329" y="182880"/>
                      <a:pt x="96607" y="110783"/>
                    </a:cubicBezTo>
                    <a:lnTo>
                      <a:pt x="96607" y="109025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1F680ECB-2612-CFE5-7399-C1EDAE04C65C}"/>
                  </a:ext>
                </a:extLst>
              </p:cNvPr>
              <p:cNvSpPr/>
              <p:nvPr/>
            </p:nvSpPr>
            <p:spPr>
              <a:xfrm>
                <a:off x="-9872246" y="3894980"/>
                <a:ext cx="243273" cy="239150"/>
              </a:xfrm>
              <a:custGeom>
                <a:avLst/>
                <a:gdLst>
                  <a:gd name="connsiteX0" fmla="*/ 0 w 243273"/>
                  <a:gd name="connsiteY0" fmla="*/ 160899 h 239150"/>
                  <a:gd name="connsiteX1" fmla="*/ 58842 w 243273"/>
                  <a:gd name="connsiteY1" fmla="*/ 152107 h 239150"/>
                  <a:gd name="connsiteX2" fmla="*/ 65868 w 243273"/>
                  <a:gd name="connsiteY2" fmla="*/ 0 h 239150"/>
                  <a:gd name="connsiteX3" fmla="*/ 195848 w 243273"/>
                  <a:gd name="connsiteY3" fmla="*/ 43962 h 239150"/>
                  <a:gd name="connsiteX4" fmla="*/ 191457 w 243273"/>
                  <a:gd name="connsiteY4" fmla="*/ 150349 h 239150"/>
                  <a:gd name="connsiteX5" fmla="*/ 243273 w 243273"/>
                  <a:gd name="connsiteY5" fmla="*/ 159141 h 239150"/>
                  <a:gd name="connsiteX6" fmla="*/ 122076 w 243273"/>
                  <a:gd name="connsiteY6" fmla="*/ 239151 h 239150"/>
                  <a:gd name="connsiteX7" fmla="*/ 0 w 243273"/>
                  <a:gd name="connsiteY7" fmla="*/ 160899 h 239150"/>
                  <a:gd name="connsiteX8" fmla="*/ 0 w 243273"/>
                  <a:gd name="connsiteY8" fmla="*/ 160899 h 23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3273" h="239150">
                    <a:moveTo>
                      <a:pt x="0" y="160899"/>
                    </a:moveTo>
                    <a:lnTo>
                      <a:pt x="58842" y="152107"/>
                    </a:lnTo>
                    <a:lnTo>
                      <a:pt x="65868" y="0"/>
                    </a:lnTo>
                    <a:lnTo>
                      <a:pt x="195848" y="43962"/>
                    </a:lnTo>
                    <a:lnTo>
                      <a:pt x="191457" y="150349"/>
                    </a:lnTo>
                    <a:lnTo>
                      <a:pt x="243273" y="159141"/>
                    </a:lnTo>
                    <a:cubicBezTo>
                      <a:pt x="243273" y="159141"/>
                      <a:pt x="218683" y="239151"/>
                      <a:pt x="122076" y="239151"/>
                    </a:cubicBezTo>
                    <a:cubicBezTo>
                      <a:pt x="25469" y="239151"/>
                      <a:pt x="0" y="160899"/>
                      <a:pt x="0" y="160899"/>
                    </a:cubicBezTo>
                    <a:lnTo>
                      <a:pt x="0" y="160899"/>
                    </a:lnTo>
                    <a:close/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64EEC14C-2FCD-BD5A-F385-E9EE242D7992}"/>
                  </a:ext>
                </a:extLst>
              </p:cNvPr>
              <p:cNvSpPr/>
              <p:nvPr/>
            </p:nvSpPr>
            <p:spPr>
              <a:xfrm>
                <a:off x="-9812907" y="3743752"/>
                <a:ext cx="230192" cy="262889"/>
              </a:xfrm>
              <a:custGeom>
                <a:avLst/>
                <a:gdLst>
                  <a:gd name="connsiteX0" fmla="*/ 23216 w 230192"/>
                  <a:gd name="connsiteY0" fmla="*/ 196068 h 262889"/>
                  <a:gd name="connsiteX1" fmla="*/ 10042 w 230192"/>
                  <a:gd name="connsiteY1" fmla="*/ 176725 h 262889"/>
                  <a:gd name="connsiteX2" fmla="*/ 8286 w 230192"/>
                  <a:gd name="connsiteY2" fmla="*/ 174088 h 262889"/>
                  <a:gd name="connsiteX3" fmla="*/ 48685 w 230192"/>
                  <a:gd name="connsiteY3" fmla="*/ 116059 h 262889"/>
                  <a:gd name="connsiteX4" fmla="*/ 53955 w 230192"/>
                  <a:gd name="connsiteY4" fmla="*/ 104629 h 262889"/>
                  <a:gd name="connsiteX5" fmla="*/ 73276 w 230192"/>
                  <a:gd name="connsiteY5" fmla="*/ 101991 h 262889"/>
                  <a:gd name="connsiteX6" fmla="*/ 68885 w 230192"/>
                  <a:gd name="connsiteY6" fmla="*/ 88802 h 262889"/>
                  <a:gd name="connsiteX7" fmla="*/ 107527 w 230192"/>
                  <a:gd name="connsiteY7" fmla="*/ 30773 h 262889"/>
                  <a:gd name="connsiteX8" fmla="*/ 159344 w 230192"/>
                  <a:gd name="connsiteY8" fmla="*/ 2638 h 262889"/>
                  <a:gd name="connsiteX9" fmla="*/ 167248 w 230192"/>
                  <a:gd name="connsiteY9" fmla="*/ 0 h 262889"/>
                  <a:gd name="connsiteX10" fmla="*/ 193595 w 230192"/>
                  <a:gd name="connsiteY10" fmla="*/ 74735 h 262889"/>
                  <a:gd name="connsiteX11" fmla="*/ 226090 w 230192"/>
                  <a:gd name="connsiteY11" fmla="*/ 116059 h 262889"/>
                  <a:gd name="connsiteX12" fmla="*/ 220821 w 230192"/>
                  <a:gd name="connsiteY12" fmla="*/ 141556 h 262889"/>
                  <a:gd name="connsiteX13" fmla="*/ 220821 w 230192"/>
                  <a:gd name="connsiteY13" fmla="*/ 171450 h 262889"/>
                  <a:gd name="connsiteX14" fmla="*/ 213795 w 230192"/>
                  <a:gd name="connsiteY14" fmla="*/ 186397 h 262889"/>
                  <a:gd name="connsiteX15" fmla="*/ 219064 w 230192"/>
                  <a:gd name="connsiteY15" fmla="*/ 203102 h 262889"/>
                  <a:gd name="connsiteX16" fmla="*/ 212916 w 230192"/>
                  <a:gd name="connsiteY16" fmla="*/ 245305 h 262889"/>
                  <a:gd name="connsiteX17" fmla="*/ 118945 w 230192"/>
                  <a:gd name="connsiteY17" fmla="*/ 262890 h 262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0192" h="262889">
                    <a:moveTo>
                      <a:pt x="23216" y="196068"/>
                    </a:moveTo>
                    <a:cubicBezTo>
                      <a:pt x="17947" y="190793"/>
                      <a:pt x="13555" y="183759"/>
                      <a:pt x="10042" y="176725"/>
                    </a:cubicBezTo>
                    <a:cubicBezTo>
                      <a:pt x="10042" y="175846"/>
                      <a:pt x="9164" y="174967"/>
                      <a:pt x="8286" y="174088"/>
                    </a:cubicBezTo>
                    <a:cubicBezTo>
                      <a:pt x="-16305" y="119575"/>
                      <a:pt x="18825" y="92319"/>
                      <a:pt x="48685" y="116059"/>
                    </a:cubicBezTo>
                    <a:cubicBezTo>
                      <a:pt x="55711" y="121334"/>
                      <a:pt x="48685" y="94078"/>
                      <a:pt x="53955" y="104629"/>
                    </a:cubicBezTo>
                    <a:cubicBezTo>
                      <a:pt x="62737" y="123972"/>
                      <a:pt x="81180" y="131005"/>
                      <a:pt x="73276" y="101991"/>
                    </a:cubicBezTo>
                    <a:cubicBezTo>
                      <a:pt x="73276" y="99353"/>
                      <a:pt x="71519" y="98474"/>
                      <a:pt x="68885" y="88802"/>
                    </a:cubicBezTo>
                    <a:cubicBezTo>
                      <a:pt x="60102" y="62425"/>
                      <a:pt x="85571" y="36928"/>
                      <a:pt x="107527" y="30773"/>
                    </a:cubicBezTo>
                    <a:cubicBezTo>
                      <a:pt x="138266" y="21981"/>
                      <a:pt x="159344" y="2638"/>
                      <a:pt x="159344" y="2638"/>
                    </a:cubicBezTo>
                    <a:cubicBezTo>
                      <a:pt x="159344" y="2638"/>
                      <a:pt x="166370" y="0"/>
                      <a:pt x="167248" y="0"/>
                    </a:cubicBezTo>
                    <a:cubicBezTo>
                      <a:pt x="172517" y="5275"/>
                      <a:pt x="195351" y="35169"/>
                      <a:pt x="193595" y="74735"/>
                    </a:cubicBezTo>
                    <a:cubicBezTo>
                      <a:pt x="193595" y="84406"/>
                      <a:pt x="219942" y="106387"/>
                      <a:pt x="226090" y="116059"/>
                    </a:cubicBezTo>
                    <a:cubicBezTo>
                      <a:pt x="232238" y="125730"/>
                      <a:pt x="232238" y="133643"/>
                      <a:pt x="220821" y="141556"/>
                    </a:cubicBezTo>
                    <a:cubicBezTo>
                      <a:pt x="206769" y="150349"/>
                      <a:pt x="216429" y="167054"/>
                      <a:pt x="220821" y="171450"/>
                    </a:cubicBezTo>
                    <a:cubicBezTo>
                      <a:pt x="225212" y="176725"/>
                      <a:pt x="209403" y="184638"/>
                      <a:pt x="213795" y="186397"/>
                    </a:cubicBezTo>
                    <a:cubicBezTo>
                      <a:pt x="213795" y="186397"/>
                      <a:pt x="224334" y="195189"/>
                      <a:pt x="219064" y="203102"/>
                    </a:cubicBezTo>
                    <a:cubicBezTo>
                      <a:pt x="213795" y="211015"/>
                      <a:pt x="216429" y="236513"/>
                      <a:pt x="212916" y="245305"/>
                    </a:cubicBezTo>
                    <a:cubicBezTo>
                      <a:pt x="206769" y="262011"/>
                      <a:pt x="142657" y="262011"/>
                      <a:pt x="118945" y="262890"/>
                    </a:cubicBezTo>
                  </a:path>
                </a:pathLst>
              </a:custGeom>
              <a:solidFill>
                <a:srgbClr val="DE9C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5BC748F6-1516-123A-55BE-B15B8A68AE27}"/>
                  </a:ext>
                </a:extLst>
              </p:cNvPr>
              <p:cNvSpPr/>
              <p:nvPr/>
            </p:nvSpPr>
            <p:spPr>
              <a:xfrm>
                <a:off x="-9913093" y="3689492"/>
                <a:ext cx="287769" cy="295389"/>
              </a:xfrm>
              <a:custGeom>
                <a:avLst/>
                <a:gdLst>
                  <a:gd name="connsiteX0" fmla="*/ 24160 w 287769"/>
                  <a:gd name="connsiteY0" fmla="*/ 76241 h 295389"/>
                  <a:gd name="connsiteX1" fmla="*/ 61047 w 287769"/>
                  <a:gd name="connsiteY1" fmla="*/ 23487 h 295389"/>
                  <a:gd name="connsiteX2" fmla="*/ 174340 w 287769"/>
                  <a:gd name="connsiteY2" fmla="*/ 627 h 295389"/>
                  <a:gd name="connsiteX3" fmla="*/ 271825 w 287769"/>
                  <a:gd name="connsiteY3" fmla="*/ 67449 h 295389"/>
                  <a:gd name="connsiteX4" fmla="*/ 198931 w 287769"/>
                  <a:gd name="connsiteY4" fmla="*/ 88550 h 295389"/>
                  <a:gd name="connsiteX5" fmla="*/ 175218 w 287769"/>
                  <a:gd name="connsiteY5" fmla="*/ 162406 h 295389"/>
                  <a:gd name="connsiteX6" fmla="*/ 157653 w 287769"/>
                  <a:gd name="connsiteY6" fmla="*/ 185266 h 295389"/>
                  <a:gd name="connsiteX7" fmla="*/ 141845 w 287769"/>
                  <a:gd name="connsiteY7" fmla="*/ 172077 h 295389"/>
                  <a:gd name="connsiteX8" fmla="*/ 108472 w 287769"/>
                  <a:gd name="connsiteY8" fmla="*/ 227469 h 295389"/>
                  <a:gd name="connsiteX9" fmla="*/ 130428 w 287769"/>
                  <a:gd name="connsiteY9" fmla="*/ 250329 h 295389"/>
                  <a:gd name="connsiteX10" fmla="*/ 104959 w 287769"/>
                  <a:gd name="connsiteY10" fmla="*/ 285498 h 295389"/>
                  <a:gd name="connsiteX11" fmla="*/ 83881 w 287769"/>
                  <a:gd name="connsiteY11" fmla="*/ 285498 h 295389"/>
                  <a:gd name="connsiteX12" fmla="*/ 34699 w 287769"/>
                  <a:gd name="connsiteY12" fmla="*/ 221314 h 295389"/>
                  <a:gd name="connsiteX13" fmla="*/ 24160 w 287769"/>
                  <a:gd name="connsiteY13" fmla="*/ 77120 h 295389"/>
                  <a:gd name="connsiteX14" fmla="*/ 24160 w 287769"/>
                  <a:gd name="connsiteY14" fmla="*/ 77120 h 295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7769" h="295389">
                    <a:moveTo>
                      <a:pt x="24160" y="76241"/>
                    </a:moveTo>
                    <a:cubicBezTo>
                      <a:pt x="24160" y="76241"/>
                      <a:pt x="22404" y="46347"/>
                      <a:pt x="61047" y="23487"/>
                    </a:cubicBezTo>
                    <a:cubicBezTo>
                      <a:pt x="99689" y="-252"/>
                      <a:pt x="174340" y="627"/>
                      <a:pt x="174340" y="627"/>
                    </a:cubicBezTo>
                    <a:cubicBezTo>
                      <a:pt x="321006" y="-7286"/>
                      <a:pt x="290268" y="62174"/>
                      <a:pt x="271825" y="67449"/>
                    </a:cubicBezTo>
                    <a:cubicBezTo>
                      <a:pt x="253382" y="71845"/>
                      <a:pt x="229669" y="79758"/>
                      <a:pt x="198931" y="88550"/>
                    </a:cubicBezTo>
                    <a:cubicBezTo>
                      <a:pt x="176974" y="94705"/>
                      <a:pt x="146236" y="116686"/>
                      <a:pt x="175218" y="162406"/>
                    </a:cubicBezTo>
                    <a:cubicBezTo>
                      <a:pt x="204200" y="208126"/>
                      <a:pt x="157653" y="185266"/>
                      <a:pt x="157653" y="185266"/>
                    </a:cubicBezTo>
                    <a:cubicBezTo>
                      <a:pt x="157653" y="185266"/>
                      <a:pt x="146236" y="187024"/>
                      <a:pt x="141845" y="172077"/>
                    </a:cubicBezTo>
                    <a:cubicBezTo>
                      <a:pt x="137454" y="158010"/>
                      <a:pt x="83881" y="154493"/>
                      <a:pt x="108472" y="227469"/>
                    </a:cubicBezTo>
                    <a:cubicBezTo>
                      <a:pt x="115498" y="243295"/>
                      <a:pt x="128671" y="249450"/>
                      <a:pt x="130428" y="250329"/>
                    </a:cubicBezTo>
                    <a:cubicBezTo>
                      <a:pt x="138332" y="252087"/>
                      <a:pt x="108472" y="277585"/>
                      <a:pt x="104959" y="285498"/>
                    </a:cubicBezTo>
                    <a:cubicBezTo>
                      <a:pt x="98811" y="298687"/>
                      <a:pt x="90029" y="298687"/>
                      <a:pt x="83881" y="285498"/>
                    </a:cubicBezTo>
                    <a:cubicBezTo>
                      <a:pt x="78611" y="274068"/>
                      <a:pt x="61925" y="248570"/>
                      <a:pt x="34699" y="221314"/>
                    </a:cubicBezTo>
                    <a:cubicBezTo>
                      <a:pt x="-1309" y="185266"/>
                      <a:pt x="-16239" y="135150"/>
                      <a:pt x="24160" y="77120"/>
                    </a:cubicBezTo>
                    <a:lnTo>
                      <a:pt x="24160" y="7712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5E0365B4-26D7-2FD3-2B8E-7C04281D0678}"/>
                </a:ext>
              </a:extLst>
            </p:cNvPr>
            <p:cNvSpPr/>
            <p:nvPr/>
          </p:nvSpPr>
          <p:spPr>
            <a:xfrm>
              <a:off x="-9624582" y="5681577"/>
              <a:ext cx="160174" cy="74431"/>
            </a:xfrm>
            <a:custGeom>
              <a:avLst/>
              <a:gdLst>
                <a:gd name="connsiteX0" fmla="*/ 10539 w 160174"/>
                <a:gd name="connsiteY0" fmla="*/ 0 h 74431"/>
                <a:gd name="connsiteX1" fmla="*/ 0 w 160174"/>
                <a:gd name="connsiteY1" fmla="*/ 33411 h 74431"/>
                <a:gd name="connsiteX2" fmla="*/ 137884 w 160174"/>
                <a:gd name="connsiteY2" fmla="*/ 73856 h 74431"/>
                <a:gd name="connsiteX3" fmla="*/ 146667 w 160174"/>
                <a:gd name="connsiteY3" fmla="*/ 40445 h 74431"/>
                <a:gd name="connsiteX4" fmla="*/ 10539 w 160174"/>
                <a:gd name="connsiteY4" fmla="*/ 0 h 7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74" h="74431">
                  <a:moveTo>
                    <a:pt x="10539" y="0"/>
                  </a:moveTo>
                  <a:lnTo>
                    <a:pt x="0" y="33411"/>
                  </a:lnTo>
                  <a:cubicBezTo>
                    <a:pt x="0" y="33411"/>
                    <a:pt x="106267" y="67701"/>
                    <a:pt x="137884" y="73856"/>
                  </a:cubicBezTo>
                  <a:cubicBezTo>
                    <a:pt x="162475" y="79131"/>
                    <a:pt x="168623" y="46599"/>
                    <a:pt x="146667" y="40445"/>
                  </a:cubicBezTo>
                  <a:cubicBezTo>
                    <a:pt x="127345" y="35169"/>
                    <a:pt x="10539" y="0"/>
                    <a:pt x="10539" y="0"/>
                  </a:cubicBez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5AA29690-8330-F4E9-364C-73604190C84D}"/>
                </a:ext>
              </a:extLst>
            </p:cNvPr>
            <p:cNvSpPr/>
            <p:nvPr/>
          </p:nvSpPr>
          <p:spPr>
            <a:xfrm>
              <a:off x="-9714724" y="4269532"/>
              <a:ext cx="129662" cy="117936"/>
            </a:xfrm>
            <a:custGeom>
              <a:avLst/>
              <a:gdLst>
                <a:gd name="connsiteX0" fmla="*/ 561 w 129662"/>
                <a:gd name="connsiteY0" fmla="*/ 0 h 117936"/>
                <a:gd name="connsiteX1" fmla="*/ 129663 w 129662"/>
                <a:gd name="connsiteY1" fmla="*/ 4396 h 117936"/>
                <a:gd name="connsiteX2" fmla="*/ 60282 w 129662"/>
                <a:gd name="connsiteY2" fmla="*/ 117817 h 117936"/>
                <a:gd name="connsiteX3" fmla="*/ 561 w 129662"/>
                <a:gd name="connsiteY3" fmla="*/ 0 h 117936"/>
                <a:gd name="connsiteX4" fmla="*/ 561 w 129662"/>
                <a:gd name="connsiteY4" fmla="*/ 0 h 117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62" h="117936">
                  <a:moveTo>
                    <a:pt x="561" y="0"/>
                  </a:moveTo>
                  <a:lnTo>
                    <a:pt x="129663" y="4396"/>
                  </a:lnTo>
                  <a:cubicBezTo>
                    <a:pt x="129663" y="4396"/>
                    <a:pt x="129663" y="122213"/>
                    <a:pt x="60282" y="117817"/>
                  </a:cubicBezTo>
                  <a:cubicBezTo>
                    <a:pt x="-9978" y="113421"/>
                    <a:pt x="561" y="0"/>
                    <a:pt x="561" y="0"/>
                  </a:cubicBezTo>
                  <a:lnTo>
                    <a:pt x="561" y="0"/>
                  </a:lnTo>
                  <a:close/>
                </a:path>
              </a:pathLst>
            </a:custGeom>
            <a:noFill/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DF9E5BDD-DC27-268D-6143-23036CAE8007}"/>
                </a:ext>
              </a:extLst>
            </p:cNvPr>
            <p:cNvSpPr/>
            <p:nvPr/>
          </p:nvSpPr>
          <p:spPr>
            <a:xfrm>
              <a:off x="-10009689" y="5676985"/>
              <a:ext cx="164667" cy="122799"/>
            </a:xfrm>
            <a:custGeom>
              <a:avLst/>
              <a:gdLst>
                <a:gd name="connsiteX0" fmla="*/ 164668 w 164667"/>
                <a:gd name="connsiteY0" fmla="*/ 103945 h 122799"/>
                <a:gd name="connsiteX1" fmla="*/ 161155 w 164667"/>
                <a:gd name="connsiteY1" fmla="*/ 52070 h 122799"/>
                <a:gd name="connsiteX2" fmla="*/ 154129 w 164667"/>
                <a:gd name="connsiteY2" fmla="*/ 28331 h 122799"/>
                <a:gd name="connsiteX3" fmla="*/ 135686 w 164667"/>
                <a:gd name="connsiteY3" fmla="*/ 12505 h 122799"/>
                <a:gd name="connsiteX4" fmla="*/ 46983 w 164667"/>
                <a:gd name="connsiteY4" fmla="*/ 12505 h 122799"/>
                <a:gd name="connsiteX5" fmla="*/ 2193 w 164667"/>
                <a:gd name="connsiteY5" fmla="*/ 81085 h 122799"/>
                <a:gd name="connsiteX6" fmla="*/ 14488 w 164667"/>
                <a:gd name="connsiteY6" fmla="*/ 122408 h 122799"/>
                <a:gd name="connsiteX7" fmla="*/ 149738 w 164667"/>
                <a:gd name="connsiteY7" fmla="*/ 122408 h 122799"/>
                <a:gd name="connsiteX8" fmla="*/ 163790 w 164667"/>
                <a:gd name="connsiteY8" fmla="*/ 103065 h 122799"/>
                <a:gd name="connsiteX9" fmla="*/ 164668 w 164667"/>
                <a:gd name="connsiteY9" fmla="*/ 103065 h 12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667" h="122799">
                  <a:moveTo>
                    <a:pt x="164668" y="103945"/>
                  </a:moveTo>
                  <a:lnTo>
                    <a:pt x="161155" y="52070"/>
                  </a:lnTo>
                  <a:lnTo>
                    <a:pt x="154129" y="28331"/>
                  </a:lnTo>
                  <a:cubicBezTo>
                    <a:pt x="151494" y="24814"/>
                    <a:pt x="140955" y="16901"/>
                    <a:pt x="135686" y="12505"/>
                  </a:cubicBezTo>
                  <a:cubicBezTo>
                    <a:pt x="100556" y="-15631"/>
                    <a:pt x="46983" y="12505"/>
                    <a:pt x="46983" y="12505"/>
                  </a:cubicBezTo>
                  <a:cubicBezTo>
                    <a:pt x="32931" y="37123"/>
                    <a:pt x="4828" y="73172"/>
                    <a:pt x="2193" y="81085"/>
                  </a:cubicBezTo>
                  <a:cubicBezTo>
                    <a:pt x="-4833" y="106582"/>
                    <a:pt x="6584" y="121529"/>
                    <a:pt x="14488" y="122408"/>
                  </a:cubicBezTo>
                  <a:cubicBezTo>
                    <a:pt x="22393" y="123288"/>
                    <a:pt x="142712" y="122408"/>
                    <a:pt x="149738" y="122408"/>
                  </a:cubicBezTo>
                  <a:cubicBezTo>
                    <a:pt x="156764" y="122408"/>
                    <a:pt x="164668" y="108341"/>
                    <a:pt x="163790" y="103065"/>
                  </a:cubicBezTo>
                  <a:lnTo>
                    <a:pt x="164668" y="103065"/>
                  </a:lnTo>
                  <a:close/>
                </a:path>
              </a:pathLst>
            </a:custGeom>
            <a:solidFill>
              <a:srgbClr val="281805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64E8610C-AE91-1849-E966-878EE8A225D4}"/>
                </a:ext>
              </a:extLst>
            </p:cNvPr>
            <p:cNvSpPr/>
            <p:nvPr/>
          </p:nvSpPr>
          <p:spPr>
            <a:xfrm>
              <a:off x="-10159651" y="4379436"/>
              <a:ext cx="328603" cy="513470"/>
            </a:xfrm>
            <a:custGeom>
              <a:avLst/>
              <a:gdLst>
                <a:gd name="connsiteX0" fmla="*/ 218902 w 328603"/>
                <a:gd name="connsiteY0" fmla="*/ 334987 h 513470"/>
                <a:gd name="connsiteX1" fmla="*/ 274231 w 328603"/>
                <a:gd name="connsiteY1" fmla="*/ 357847 h 513470"/>
                <a:gd name="connsiteX2" fmla="*/ 293552 w 328603"/>
                <a:gd name="connsiteY2" fmla="*/ 376311 h 513470"/>
                <a:gd name="connsiteX3" fmla="*/ 325169 w 328603"/>
                <a:gd name="connsiteY3" fmla="*/ 414117 h 513470"/>
                <a:gd name="connsiteX4" fmla="*/ 284770 w 328603"/>
                <a:gd name="connsiteY4" fmla="*/ 412359 h 513470"/>
                <a:gd name="connsiteX5" fmla="*/ 266327 w 328603"/>
                <a:gd name="connsiteY5" fmla="*/ 396533 h 513470"/>
                <a:gd name="connsiteX6" fmla="*/ 275109 w 328603"/>
                <a:gd name="connsiteY6" fmla="*/ 410601 h 513470"/>
                <a:gd name="connsiteX7" fmla="*/ 326047 w 328603"/>
                <a:gd name="connsiteY7" fmla="*/ 461596 h 513470"/>
                <a:gd name="connsiteX8" fmla="*/ 313752 w 328603"/>
                <a:gd name="connsiteY8" fmla="*/ 477422 h 513470"/>
                <a:gd name="connsiteX9" fmla="*/ 260179 w 328603"/>
                <a:gd name="connsiteY9" fmla="*/ 433461 h 513470"/>
                <a:gd name="connsiteX10" fmla="*/ 273353 w 328603"/>
                <a:gd name="connsiteY10" fmla="*/ 448408 h 513470"/>
                <a:gd name="connsiteX11" fmla="*/ 307604 w 328603"/>
                <a:gd name="connsiteY11" fmla="*/ 477422 h 513470"/>
                <a:gd name="connsiteX12" fmla="*/ 307604 w 328603"/>
                <a:gd name="connsiteY12" fmla="*/ 503799 h 513470"/>
                <a:gd name="connsiteX13" fmla="*/ 236466 w 328603"/>
                <a:gd name="connsiteY13" fmla="*/ 442253 h 513470"/>
                <a:gd name="connsiteX14" fmla="*/ 248762 w 328603"/>
                <a:gd name="connsiteY14" fmla="*/ 456321 h 513470"/>
                <a:gd name="connsiteX15" fmla="*/ 283891 w 328603"/>
                <a:gd name="connsiteY15" fmla="*/ 494127 h 513470"/>
                <a:gd name="connsiteX16" fmla="*/ 274231 w 328603"/>
                <a:gd name="connsiteY16" fmla="*/ 513471 h 513470"/>
                <a:gd name="connsiteX17" fmla="*/ 212754 w 328603"/>
                <a:gd name="connsiteY17" fmla="*/ 446649 h 513470"/>
                <a:gd name="connsiteX18" fmla="*/ 247883 w 328603"/>
                <a:gd name="connsiteY18" fmla="*/ 497644 h 513470"/>
                <a:gd name="connsiteX19" fmla="*/ 241736 w 328603"/>
                <a:gd name="connsiteY19" fmla="*/ 511712 h 513470"/>
                <a:gd name="connsiteX20" fmla="*/ 189041 w 328603"/>
                <a:gd name="connsiteY20" fmla="*/ 458079 h 513470"/>
                <a:gd name="connsiteX21" fmla="*/ 160937 w 328603"/>
                <a:gd name="connsiteY21" fmla="*/ 392137 h 513470"/>
                <a:gd name="connsiteX22" fmla="*/ 157425 w 328603"/>
                <a:gd name="connsiteY22" fmla="*/ 370156 h 513470"/>
                <a:gd name="connsiteX23" fmla="*/ 219 w 328603"/>
                <a:gd name="connsiteY23" fmla="*/ 103749 h 513470"/>
                <a:gd name="connsiteX24" fmla="*/ 26566 w 328603"/>
                <a:gd name="connsiteY24" fmla="*/ 0 h 513470"/>
                <a:gd name="connsiteX25" fmla="*/ 138103 w 328603"/>
                <a:gd name="connsiteY25" fmla="*/ 73855 h 513470"/>
                <a:gd name="connsiteX26" fmla="*/ 117904 w 328603"/>
                <a:gd name="connsiteY26" fmla="*/ 124851 h 513470"/>
                <a:gd name="connsiteX27" fmla="*/ 220658 w 328603"/>
                <a:gd name="connsiteY27" fmla="*/ 334987 h 513470"/>
                <a:gd name="connsiteX28" fmla="*/ 218902 w 328603"/>
                <a:gd name="connsiteY28" fmla="*/ 334987 h 5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603" h="513470">
                  <a:moveTo>
                    <a:pt x="218902" y="334987"/>
                  </a:moveTo>
                  <a:cubicBezTo>
                    <a:pt x="225049" y="343779"/>
                    <a:pt x="266327" y="352571"/>
                    <a:pt x="274231" y="357847"/>
                  </a:cubicBezTo>
                  <a:cubicBezTo>
                    <a:pt x="283891" y="364881"/>
                    <a:pt x="293552" y="376311"/>
                    <a:pt x="293552" y="376311"/>
                  </a:cubicBezTo>
                  <a:cubicBezTo>
                    <a:pt x="303213" y="392137"/>
                    <a:pt x="325169" y="409721"/>
                    <a:pt x="325169" y="414117"/>
                  </a:cubicBezTo>
                  <a:cubicBezTo>
                    <a:pt x="325169" y="418514"/>
                    <a:pt x="304091" y="433461"/>
                    <a:pt x="284770" y="412359"/>
                  </a:cubicBezTo>
                  <a:cubicBezTo>
                    <a:pt x="265448" y="391258"/>
                    <a:pt x="273353" y="399171"/>
                    <a:pt x="266327" y="396533"/>
                  </a:cubicBezTo>
                  <a:cubicBezTo>
                    <a:pt x="269839" y="406204"/>
                    <a:pt x="273353" y="407963"/>
                    <a:pt x="275109" y="410601"/>
                  </a:cubicBezTo>
                  <a:cubicBezTo>
                    <a:pt x="283891" y="422031"/>
                    <a:pt x="319899" y="456321"/>
                    <a:pt x="326047" y="461596"/>
                  </a:cubicBezTo>
                  <a:cubicBezTo>
                    <a:pt x="332195" y="466871"/>
                    <a:pt x="326925" y="479181"/>
                    <a:pt x="313752" y="477422"/>
                  </a:cubicBezTo>
                  <a:cubicBezTo>
                    <a:pt x="299700" y="475664"/>
                    <a:pt x="260179" y="433461"/>
                    <a:pt x="260179" y="433461"/>
                  </a:cubicBezTo>
                  <a:lnTo>
                    <a:pt x="273353" y="448408"/>
                  </a:lnTo>
                  <a:cubicBezTo>
                    <a:pt x="275109" y="451045"/>
                    <a:pt x="301456" y="473026"/>
                    <a:pt x="307604" y="477422"/>
                  </a:cubicBezTo>
                  <a:cubicBezTo>
                    <a:pt x="313752" y="481818"/>
                    <a:pt x="324291" y="500282"/>
                    <a:pt x="307604" y="503799"/>
                  </a:cubicBezTo>
                  <a:cubicBezTo>
                    <a:pt x="290918" y="506437"/>
                    <a:pt x="236466" y="442253"/>
                    <a:pt x="236466" y="442253"/>
                  </a:cubicBezTo>
                  <a:lnTo>
                    <a:pt x="248762" y="456321"/>
                  </a:lnTo>
                  <a:cubicBezTo>
                    <a:pt x="248762" y="456321"/>
                    <a:pt x="268083" y="479181"/>
                    <a:pt x="283891" y="494127"/>
                  </a:cubicBezTo>
                  <a:cubicBezTo>
                    <a:pt x="299700" y="509075"/>
                    <a:pt x="274231" y="513471"/>
                    <a:pt x="274231" y="513471"/>
                  </a:cubicBezTo>
                  <a:cubicBezTo>
                    <a:pt x="250518" y="508195"/>
                    <a:pt x="216267" y="450166"/>
                    <a:pt x="212754" y="446649"/>
                  </a:cubicBezTo>
                  <a:cubicBezTo>
                    <a:pt x="214510" y="456321"/>
                    <a:pt x="247883" y="497644"/>
                    <a:pt x="247883" y="497644"/>
                  </a:cubicBezTo>
                  <a:cubicBezTo>
                    <a:pt x="247883" y="497644"/>
                    <a:pt x="254031" y="509075"/>
                    <a:pt x="241736" y="511712"/>
                  </a:cubicBezTo>
                  <a:cubicBezTo>
                    <a:pt x="229441" y="514350"/>
                    <a:pt x="197824" y="480939"/>
                    <a:pt x="189041" y="458079"/>
                  </a:cubicBezTo>
                  <a:cubicBezTo>
                    <a:pt x="180259" y="435219"/>
                    <a:pt x="174111" y="426427"/>
                    <a:pt x="160937" y="392137"/>
                  </a:cubicBezTo>
                  <a:cubicBezTo>
                    <a:pt x="158303" y="384224"/>
                    <a:pt x="157425" y="378948"/>
                    <a:pt x="157425" y="370156"/>
                  </a:cubicBezTo>
                  <a:cubicBezTo>
                    <a:pt x="157425" y="370156"/>
                    <a:pt x="-6807" y="146831"/>
                    <a:pt x="219" y="103749"/>
                  </a:cubicBezTo>
                  <a:cubicBezTo>
                    <a:pt x="7245" y="60667"/>
                    <a:pt x="18662" y="18464"/>
                    <a:pt x="26566" y="0"/>
                  </a:cubicBezTo>
                  <a:cubicBezTo>
                    <a:pt x="79261" y="44841"/>
                    <a:pt x="138103" y="73855"/>
                    <a:pt x="138103" y="73855"/>
                  </a:cubicBezTo>
                  <a:lnTo>
                    <a:pt x="117904" y="124851"/>
                  </a:lnTo>
                  <a:lnTo>
                    <a:pt x="220658" y="334987"/>
                  </a:lnTo>
                  <a:lnTo>
                    <a:pt x="218902" y="334987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B8C40DD4-BD48-D1E6-00A9-4AC687F859A8}"/>
                </a:ext>
              </a:extLst>
            </p:cNvPr>
            <p:cNvSpPr/>
            <p:nvPr/>
          </p:nvSpPr>
          <p:spPr>
            <a:xfrm>
              <a:off x="-9537636" y="4429552"/>
              <a:ext cx="288981" cy="457248"/>
            </a:xfrm>
            <a:custGeom>
              <a:avLst/>
              <a:gdLst>
                <a:gd name="connsiteX0" fmla="*/ 202874 w 288981"/>
                <a:gd name="connsiteY0" fmla="*/ 274320 h 457248"/>
                <a:gd name="connsiteX1" fmla="*/ 252056 w 288981"/>
                <a:gd name="connsiteY1" fmla="*/ 307731 h 457248"/>
                <a:gd name="connsiteX2" fmla="*/ 269621 w 288981"/>
                <a:gd name="connsiteY2" fmla="*/ 329712 h 457248"/>
                <a:gd name="connsiteX3" fmla="*/ 288942 w 288981"/>
                <a:gd name="connsiteY3" fmla="*/ 370156 h 457248"/>
                <a:gd name="connsiteX4" fmla="*/ 254690 w 288981"/>
                <a:gd name="connsiteY4" fmla="*/ 360485 h 457248"/>
                <a:gd name="connsiteX5" fmla="*/ 236247 w 288981"/>
                <a:gd name="connsiteY5" fmla="*/ 339383 h 457248"/>
                <a:gd name="connsiteX6" fmla="*/ 242395 w 288981"/>
                <a:gd name="connsiteY6" fmla="*/ 358726 h 457248"/>
                <a:gd name="connsiteX7" fmla="*/ 281038 w 288981"/>
                <a:gd name="connsiteY7" fmla="*/ 417635 h 457248"/>
                <a:gd name="connsiteX8" fmla="*/ 266108 w 288981"/>
                <a:gd name="connsiteY8" fmla="*/ 431702 h 457248"/>
                <a:gd name="connsiteX9" fmla="*/ 223074 w 288981"/>
                <a:gd name="connsiteY9" fmla="*/ 377190 h 457248"/>
                <a:gd name="connsiteX10" fmla="*/ 232734 w 288981"/>
                <a:gd name="connsiteY10" fmla="*/ 393896 h 457248"/>
                <a:gd name="connsiteX11" fmla="*/ 257325 w 288981"/>
                <a:gd name="connsiteY11" fmla="*/ 429065 h 457248"/>
                <a:gd name="connsiteX12" fmla="*/ 253812 w 288981"/>
                <a:gd name="connsiteY12" fmla="*/ 453683 h 457248"/>
                <a:gd name="connsiteX13" fmla="*/ 198483 w 288981"/>
                <a:gd name="connsiteY13" fmla="*/ 380707 h 457248"/>
                <a:gd name="connsiteX14" fmla="*/ 203752 w 288981"/>
                <a:gd name="connsiteY14" fmla="*/ 394775 h 457248"/>
                <a:gd name="connsiteX15" fmla="*/ 233613 w 288981"/>
                <a:gd name="connsiteY15" fmla="*/ 441374 h 457248"/>
                <a:gd name="connsiteX16" fmla="*/ 219561 w 288981"/>
                <a:gd name="connsiteY16" fmla="*/ 457200 h 457248"/>
                <a:gd name="connsiteX17" fmla="*/ 174770 w 288981"/>
                <a:gd name="connsiteY17" fmla="*/ 380707 h 457248"/>
                <a:gd name="connsiteX18" fmla="*/ 197605 w 288981"/>
                <a:gd name="connsiteY18" fmla="*/ 437857 h 457248"/>
                <a:gd name="connsiteX19" fmla="*/ 190579 w 288981"/>
                <a:gd name="connsiteY19" fmla="*/ 449287 h 457248"/>
                <a:gd name="connsiteX20" fmla="*/ 149301 w 288981"/>
                <a:gd name="connsiteY20" fmla="*/ 386861 h 457248"/>
                <a:gd name="connsiteX21" fmla="*/ 135249 w 288981"/>
                <a:gd name="connsiteY21" fmla="*/ 317402 h 457248"/>
                <a:gd name="connsiteX22" fmla="*/ 135249 w 288981"/>
                <a:gd name="connsiteY22" fmla="*/ 295422 h 457248"/>
                <a:gd name="connsiteX23" fmla="*/ 0 w 288981"/>
                <a:gd name="connsiteY23" fmla="*/ 87044 h 457248"/>
                <a:gd name="connsiteX24" fmla="*/ 1757 w 288981"/>
                <a:gd name="connsiteY24" fmla="*/ 24619 h 457248"/>
                <a:gd name="connsiteX25" fmla="*/ 108024 w 288981"/>
                <a:gd name="connsiteY25" fmla="*/ 0 h 457248"/>
                <a:gd name="connsiteX26" fmla="*/ 115928 w 288981"/>
                <a:gd name="connsiteY26" fmla="*/ 57150 h 457248"/>
                <a:gd name="connsiteX27" fmla="*/ 201996 w 288981"/>
                <a:gd name="connsiteY27" fmla="*/ 273441 h 457248"/>
                <a:gd name="connsiteX28" fmla="*/ 201996 w 288981"/>
                <a:gd name="connsiteY28" fmla="*/ 273441 h 45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8981" h="457248">
                  <a:moveTo>
                    <a:pt x="202874" y="274320"/>
                  </a:moveTo>
                  <a:cubicBezTo>
                    <a:pt x="207265" y="283992"/>
                    <a:pt x="245908" y="300697"/>
                    <a:pt x="252056" y="307731"/>
                  </a:cubicBezTo>
                  <a:cubicBezTo>
                    <a:pt x="259960" y="316523"/>
                    <a:pt x="269621" y="329712"/>
                    <a:pt x="269621" y="329712"/>
                  </a:cubicBezTo>
                  <a:cubicBezTo>
                    <a:pt x="275768" y="347296"/>
                    <a:pt x="289820" y="365760"/>
                    <a:pt x="288942" y="370156"/>
                  </a:cubicBezTo>
                  <a:cubicBezTo>
                    <a:pt x="288064" y="374552"/>
                    <a:pt x="266108" y="386861"/>
                    <a:pt x="254690" y="360485"/>
                  </a:cubicBezTo>
                  <a:cubicBezTo>
                    <a:pt x="249421" y="349055"/>
                    <a:pt x="243273" y="343779"/>
                    <a:pt x="236247" y="339383"/>
                  </a:cubicBezTo>
                  <a:cubicBezTo>
                    <a:pt x="238004" y="349055"/>
                    <a:pt x="241517" y="355209"/>
                    <a:pt x="242395" y="358726"/>
                  </a:cubicBezTo>
                  <a:cubicBezTo>
                    <a:pt x="244152" y="369277"/>
                    <a:pt x="276646" y="411480"/>
                    <a:pt x="281038" y="417635"/>
                  </a:cubicBezTo>
                  <a:cubicBezTo>
                    <a:pt x="285429" y="424669"/>
                    <a:pt x="279281" y="436098"/>
                    <a:pt x="266108" y="431702"/>
                  </a:cubicBezTo>
                  <a:cubicBezTo>
                    <a:pt x="252934" y="427306"/>
                    <a:pt x="223074" y="377190"/>
                    <a:pt x="223074" y="377190"/>
                  </a:cubicBezTo>
                  <a:lnTo>
                    <a:pt x="232734" y="393896"/>
                  </a:lnTo>
                  <a:cubicBezTo>
                    <a:pt x="233613" y="397412"/>
                    <a:pt x="256447" y="424669"/>
                    <a:pt x="257325" y="429065"/>
                  </a:cubicBezTo>
                  <a:cubicBezTo>
                    <a:pt x="262594" y="436098"/>
                    <a:pt x="269621" y="453683"/>
                    <a:pt x="253812" y="453683"/>
                  </a:cubicBezTo>
                  <a:cubicBezTo>
                    <a:pt x="238004" y="453683"/>
                    <a:pt x="198483" y="380707"/>
                    <a:pt x="198483" y="380707"/>
                  </a:cubicBezTo>
                  <a:lnTo>
                    <a:pt x="203752" y="394775"/>
                  </a:lnTo>
                  <a:cubicBezTo>
                    <a:pt x="203752" y="394775"/>
                    <a:pt x="221317" y="423789"/>
                    <a:pt x="233613" y="441374"/>
                  </a:cubicBezTo>
                  <a:cubicBezTo>
                    <a:pt x="246786" y="458959"/>
                    <a:pt x="219561" y="457200"/>
                    <a:pt x="219561" y="457200"/>
                  </a:cubicBezTo>
                  <a:cubicBezTo>
                    <a:pt x="197605" y="446649"/>
                    <a:pt x="176527" y="384224"/>
                    <a:pt x="174770" y="380707"/>
                  </a:cubicBezTo>
                  <a:cubicBezTo>
                    <a:pt x="174770" y="390378"/>
                    <a:pt x="197605" y="437857"/>
                    <a:pt x="197605" y="437857"/>
                  </a:cubicBezTo>
                  <a:cubicBezTo>
                    <a:pt x="197605" y="437857"/>
                    <a:pt x="202874" y="450166"/>
                    <a:pt x="190579" y="449287"/>
                  </a:cubicBezTo>
                  <a:cubicBezTo>
                    <a:pt x="174770" y="449287"/>
                    <a:pt x="153692" y="410601"/>
                    <a:pt x="149301" y="386861"/>
                  </a:cubicBezTo>
                  <a:cubicBezTo>
                    <a:pt x="144910" y="363122"/>
                    <a:pt x="141397" y="353451"/>
                    <a:pt x="135249" y="317402"/>
                  </a:cubicBezTo>
                  <a:cubicBezTo>
                    <a:pt x="133493" y="309489"/>
                    <a:pt x="134371" y="304214"/>
                    <a:pt x="135249" y="295422"/>
                  </a:cubicBezTo>
                  <a:lnTo>
                    <a:pt x="0" y="87044"/>
                  </a:lnTo>
                  <a:lnTo>
                    <a:pt x="1757" y="24619"/>
                  </a:lnTo>
                  <a:lnTo>
                    <a:pt x="108024" y="0"/>
                  </a:lnTo>
                  <a:lnTo>
                    <a:pt x="115928" y="57150"/>
                  </a:lnTo>
                  <a:lnTo>
                    <a:pt x="201996" y="273441"/>
                  </a:lnTo>
                  <a:lnTo>
                    <a:pt x="201996" y="273441"/>
                  </a:lnTo>
                  <a:close/>
                </a:path>
              </a:pathLst>
            </a:custGeom>
            <a:solidFill>
              <a:srgbClr val="DE9C74"/>
            </a:solidFill>
            <a:ln w="676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9" name="Graphic 6">
            <a:extLst>
              <a:ext uri="{FF2B5EF4-FFF2-40B4-BE49-F238E27FC236}">
                <a16:creationId xmlns:a16="http://schemas.microsoft.com/office/drawing/2014/main" id="{15EE0FE3-1D83-4812-5797-A511FB9BDB72}"/>
              </a:ext>
            </a:extLst>
          </p:cNvPr>
          <p:cNvGrpSpPr/>
          <p:nvPr/>
        </p:nvGrpSpPr>
        <p:grpSpPr>
          <a:xfrm flipH="1">
            <a:off x="-6021333" y="1400939"/>
            <a:ext cx="3842455" cy="4626826"/>
            <a:chOff x="-8201469" y="2173664"/>
            <a:chExt cx="3043696" cy="3665014"/>
          </a:xfrm>
        </p:grpSpPr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C32BDA7D-4CD0-ADEF-EBCB-CDC77EC0DA2F}"/>
                </a:ext>
              </a:extLst>
            </p:cNvPr>
            <p:cNvSpPr/>
            <p:nvPr/>
          </p:nvSpPr>
          <p:spPr>
            <a:xfrm>
              <a:off x="-7760262" y="2173664"/>
              <a:ext cx="553185" cy="552571"/>
            </a:xfrm>
            <a:custGeom>
              <a:avLst/>
              <a:gdLst>
                <a:gd name="connsiteX0" fmla="*/ 522744 w 553185"/>
                <a:gd name="connsiteY0" fmla="*/ 139580 h 552571"/>
                <a:gd name="connsiteX1" fmla="*/ 394521 w 553185"/>
                <a:gd name="connsiteY1" fmla="*/ 519408 h 552571"/>
                <a:gd name="connsiteX2" fmla="*/ 104701 w 553185"/>
                <a:gd name="connsiteY2" fmla="*/ 445552 h 552571"/>
                <a:gd name="connsiteX3" fmla="*/ 63423 w 553185"/>
                <a:gd name="connsiteY3" fmla="*/ 76275 h 552571"/>
                <a:gd name="connsiteX4" fmla="*/ 522744 w 553185"/>
                <a:gd name="connsiteY4" fmla="*/ 139580 h 55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185" h="552571">
                  <a:moveTo>
                    <a:pt x="522744" y="139580"/>
                  </a:moveTo>
                  <a:cubicBezTo>
                    <a:pt x="602664" y="338286"/>
                    <a:pt x="513083" y="473688"/>
                    <a:pt x="394521" y="519408"/>
                  </a:cubicBezTo>
                  <a:cubicBezTo>
                    <a:pt x="257514" y="573041"/>
                    <a:pt x="200429" y="570403"/>
                    <a:pt x="104701" y="445552"/>
                  </a:cubicBezTo>
                  <a:cubicBezTo>
                    <a:pt x="8094" y="320702"/>
                    <a:pt x="-52505" y="165957"/>
                    <a:pt x="63423" y="76275"/>
                  </a:cubicBezTo>
                  <a:cubicBezTo>
                    <a:pt x="179351" y="-13406"/>
                    <a:pt x="442824" y="-58247"/>
                    <a:pt x="522744" y="139580"/>
                  </a:cubicBezTo>
                  <a:close/>
                </a:path>
              </a:pathLst>
            </a:custGeom>
            <a:solidFill>
              <a:srgbClr val="CBCBCB"/>
            </a:solidFill>
            <a:ln w="6764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1" name="Graphic 6">
              <a:extLst>
                <a:ext uri="{FF2B5EF4-FFF2-40B4-BE49-F238E27FC236}">
                  <a16:creationId xmlns:a16="http://schemas.microsoft.com/office/drawing/2014/main" id="{088A88FE-CDF1-475C-5569-83B50EFE6700}"/>
                </a:ext>
              </a:extLst>
            </p:cNvPr>
            <p:cNvGrpSpPr/>
            <p:nvPr/>
          </p:nvGrpSpPr>
          <p:grpSpPr>
            <a:xfrm>
              <a:off x="-8201469" y="2379186"/>
              <a:ext cx="3043696" cy="3459492"/>
              <a:chOff x="-8201469" y="2379186"/>
              <a:chExt cx="3043696" cy="3459492"/>
            </a:xfrm>
          </p:grpSpPr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534374A6-4630-5CDC-8733-14803FB364BA}"/>
                  </a:ext>
                </a:extLst>
              </p:cNvPr>
              <p:cNvSpPr/>
              <p:nvPr/>
            </p:nvSpPr>
            <p:spPr>
              <a:xfrm>
                <a:off x="-7770612" y="2379186"/>
                <a:ext cx="384670" cy="529318"/>
              </a:xfrm>
              <a:custGeom>
                <a:avLst/>
                <a:gdLst>
                  <a:gd name="connsiteX0" fmla="*/ 0 w 384670"/>
                  <a:gd name="connsiteY0" fmla="*/ 225083 h 529318"/>
                  <a:gd name="connsiteX1" fmla="*/ 8782 w 384670"/>
                  <a:gd name="connsiteY1" fmla="*/ 241788 h 529318"/>
                  <a:gd name="connsiteX2" fmla="*/ 2635 w 384670"/>
                  <a:gd name="connsiteY2" fmla="*/ 250581 h 529318"/>
                  <a:gd name="connsiteX3" fmla="*/ 14930 w 384670"/>
                  <a:gd name="connsiteY3" fmla="*/ 269045 h 529318"/>
                  <a:gd name="connsiteX4" fmla="*/ 21956 w 384670"/>
                  <a:gd name="connsiteY4" fmla="*/ 296301 h 529318"/>
                  <a:gd name="connsiteX5" fmla="*/ 49182 w 384670"/>
                  <a:gd name="connsiteY5" fmla="*/ 320040 h 529318"/>
                  <a:gd name="connsiteX6" fmla="*/ 104511 w 384670"/>
                  <a:gd name="connsiteY6" fmla="*/ 308610 h 529318"/>
                  <a:gd name="connsiteX7" fmla="*/ 125589 w 384670"/>
                  <a:gd name="connsiteY7" fmla="*/ 304214 h 529318"/>
                  <a:gd name="connsiteX8" fmla="*/ 132615 w 384670"/>
                  <a:gd name="connsiteY8" fmla="*/ 429065 h 529318"/>
                  <a:gd name="connsiteX9" fmla="*/ 90459 w 384670"/>
                  <a:gd name="connsiteY9" fmla="*/ 465992 h 529318"/>
                  <a:gd name="connsiteX10" fmla="*/ 384671 w 384670"/>
                  <a:gd name="connsiteY10" fmla="*/ 474785 h 529318"/>
                  <a:gd name="connsiteX11" fmla="*/ 292455 w 384670"/>
                  <a:gd name="connsiteY11" fmla="*/ 271682 h 529318"/>
                  <a:gd name="connsiteX12" fmla="*/ 292455 w 384670"/>
                  <a:gd name="connsiteY12" fmla="*/ 269924 h 529318"/>
                  <a:gd name="connsiteX13" fmla="*/ 287185 w 384670"/>
                  <a:gd name="connsiteY13" fmla="*/ 269924 h 529318"/>
                  <a:gd name="connsiteX14" fmla="*/ 254690 w 384670"/>
                  <a:gd name="connsiteY14" fmla="*/ 249702 h 529318"/>
                  <a:gd name="connsiteX15" fmla="*/ 263473 w 384670"/>
                  <a:gd name="connsiteY15" fmla="*/ 221566 h 529318"/>
                  <a:gd name="connsiteX16" fmla="*/ 218683 w 384670"/>
                  <a:gd name="connsiteY16" fmla="*/ 152986 h 529318"/>
                  <a:gd name="connsiteX17" fmla="*/ 187066 w 384670"/>
                  <a:gd name="connsiteY17" fmla="*/ 157382 h 529318"/>
                  <a:gd name="connsiteX18" fmla="*/ 197605 w 384670"/>
                  <a:gd name="connsiteY18" fmla="*/ 108145 h 529318"/>
                  <a:gd name="connsiteX19" fmla="*/ 165988 w 384670"/>
                  <a:gd name="connsiteY19" fmla="*/ 41324 h 529318"/>
                  <a:gd name="connsiteX20" fmla="*/ 122076 w 384670"/>
                  <a:gd name="connsiteY20" fmla="*/ 7913 h 529318"/>
                  <a:gd name="connsiteX21" fmla="*/ 97485 w 384670"/>
                  <a:gd name="connsiteY21" fmla="*/ 0 h 529318"/>
                  <a:gd name="connsiteX22" fmla="*/ 46547 w 384670"/>
                  <a:gd name="connsiteY22" fmla="*/ 99353 h 529318"/>
                  <a:gd name="connsiteX23" fmla="*/ 39521 w 384670"/>
                  <a:gd name="connsiteY23" fmla="*/ 139798 h 529318"/>
                  <a:gd name="connsiteX24" fmla="*/ 5270 w 384670"/>
                  <a:gd name="connsiteY24" fmla="*/ 168812 h 529318"/>
                  <a:gd name="connsiteX25" fmla="*/ 2635 w 384670"/>
                  <a:gd name="connsiteY25" fmla="*/ 189914 h 529318"/>
                  <a:gd name="connsiteX26" fmla="*/ 18443 w 384670"/>
                  <a:gd name="connsiteY26" fmla="*/ 203982 h 529318"/>
                  <a:gd name="connsiteX27" fmla="*/ 0 w 384670"/>
                  <a:gd name="connsiteY27" fmla="*/ 222445 h 529318"/>
                  <a:gd name="connsiteX28" fmla="*/ 0 w 384670"/>
                  <a:gd name="connsiteY28" fmla="*/ 225083 h 52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84670" h="529318">
                    <a:moveTo>
                      <a:pt x="0" y="225083"/>
                    </a:moveTo>
                    <a:cubicBezTo>
                      <a:pt x="1757" y="233875"/>
                      <a:pt x="8782" y="241788"/>
                      <a:pt x="8782" y="241788"/>
                    </a:cubicBezTo>
                    <a:lnTo>
                      <a:pt x="2635" y="250581"/>
                    </a:lnTo>
                    <a:cubicBezTo>
                      <a:pt x="-1756" y="267286"/>
                      <a:pt x="14930" y="269045"/>
                      <a:pt x="14930" y="269045"/>
                    </a:cubicBezTo>
                    <a:cubicBezTo>
                      <a:pt x="14930" y="269045"/>
                      <a:pt x="16687" y="275199"/>
                      <a:pt x="21956" y="296301"/>
                    </a:cubicBezTo>
                    <a:cubicBezTo>
                      <a:pt x="27226" y="317402"/>
                      <a:pt x="49182" y="320040"/>
                      <a:pt x="49182" y="320040"/>
                    </a:cubicBezTo>
                    <a:lnTo>
                      <a:pt x="104511" y="308610"/>
                    </a:lnTo>
                    <a:lnTo>
                      <a:pt x="125589" y="304214"/>
                    </a:lnTo>
                    <a:lnTo>
                      <a:pt x="132615" y="429065"/>
                    </a:lnTo>
                    <a:cubicBezTo>
                      <a:pt x="127345" y="451925"/>
                      <a:pt x="90459" y="465992"/>
                      <a:pt x="90459" y="465992"/>
                    </a:cubicBezTo>
                    <a:cubicBezTo>
                      <a:pt x="217805" y="603152"/>
                      <a:pt x="384671" y="474785"/>
                      <a:pt x="384671" y="474785"/>
                    </a:cubicBezTo>
                    <a:cubicBezTo>
                      <a:pt x="305629" y="437857"/>
                      <a:pt x="294211" y="325315"/>
                      <a:pt x="292455" y="271682"/>
                    </a:cubicBezTo>
                    <a:lnTo>
                      <a:pt x="292455" y="269924"/>
                    </a:lnTo>
                    <a:lnTo>
                      <a:pt x="287185" y="269924"/>
                    </a:lnTo>
                    <a:cubicBezTo>
                      <a:pt x="287185" y="269924"/>
                      <a:pt x="259082" y="267286"/>
                      <a:pt x="254690" y="249702"/>
                    </a:cubicBezTo>
                    <a:cubicBezTo>
                      <a:pt x="252934" y="242668"/>
                      <a:pt x="254690" y="233875"/>
                      <a:pt x="263473" y="221566"/>
                    </a:cubicBezTo>
                    <a:cubicBezTo>
                      <a:pt x="294211" y="177605"/>
                      <a:pt x="253812" y="128368"/>
                      <a:pt x="218683" y="152986"/>
                    </a:cubicBezTo>
                    <a:cubicBezTo>
                      <a:pt x="198483" y="167054"/>
                      <a:pt x="187066" y="157382"/>
                      <a:pt x="187066" y="157382"/>
                    </a:cubicBezTo>
                    <a:cubicBezTo>
                      <a:pt x="187066" y="157382"/>
                      <a:pt x="207266" y="126609"/>
                      <a:pt x="197605" y="108145"/>
                    </a:cubicBezTo>
                    <a:cubicBezTo>
                      <a:pt x="181796" y="79131"/>
                      <a:pt x="204631" y="54512"/>
                      <a:pt x="165988" y="41324"/>
                    </a:cubicBezTo>
                    <a:cubicBezTo>
                      <a:pt x="147545" y="35169"/>
                      <a:pt x="155449" y="14947"/>
                      <a:pt x="122076" y="7913"/>
                    </a:cubicBezTo>
                    <a:cubicBezTo>
                      <a:pt x="111537" y="5275"/>
                      <a:pt x="97485" y="0"/>
                      <a:pt x="97485" y="0"/>
                    </a:cubicBezTo>
                    <a:cubicBezTo>
                      <a:pt x="49182" y="35169"/>
                      <a:pt x="48303" y="72976"/>
                      <a:pt x="46547" y="99353"/>
                    </a:cubicBezTo>
                    <a:cubicBezTo>
                      <a:pt x="44791" y="130126"/>
                      <a:pt x="39521" y="139798"/>
                      <a:pt x="39521" y="139798"/>
                    </a:cubicBezTo>
                    <a:lnTo>
                      <a:pt x="5270" y="168812"/>
                    </a:lnTo>
                    <a:cubicBezTo>
                      <a:pt x="5270" y="168812"/>
                      <a:pt x="-3513" y="180242"/>
                      <a:pt x="2635" y="189914"/>
                    </a:cubicBezTo>
                    <a:cubicBezTo>
                      <a:pt x="7904" y="197827"/>
                      <a:pt x="20200" y="193431"/>
                      <a:pt x="18443" y="203982"/>
                    </a:cubicBezTo>
                    <a:cubicBezTo>
                      <a:pt x="16687" y="214532"/>
                      <a:pt x="0" y="222445"/>
                      <a:pt x="0" y="222445"/>
                    </a:cubicBezTo>
                    <a:lnTo>
                      <a:pt x="0" y="225083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2C77924F-B5C6-D495-F4E5-6BD5B2A87F2E}"/>
                  </a:ext>
                </a:extLst>
              </p:cNvPr>
              <p:cNvSpPr/>
              <p:nvPr/>
            </p:nvSpPr>
            <p:spPr>
              <a:xfrm>
                <a:off x="-7862827" y="5314058"/>
                <a:ext cx="166866" cy="142435"/>
              </a:xfrm>
              <a:custGeom>
                <a:avLst/>
                <a:gdLst>
                  <a:gd name="connsiteX0" fmla="*/ 10539 w 166866"/>
                  <a:gd name="connsiteY0" fmla="*/ 0 h 142435"/>
                  <a:gd name="connsiteX1" fmla="*/ 0 w 166866"/>
                  <a:gd name="connsiteY1" fmla="*/ 101112 h 142435"/>
                  <a:gd name="connsiteX2" fmla="*/ 68503 w 166866"/>
                  <a:gd name="connsiteY2" fmla="*/ 123092 h 142435"/>
                  <a:gd name="connsiteX3" fmla="*/ 125589 w 166866"/>
                  <a:gd name="connsiteY3" fmla="*/ 142435 h 142435"/>
                  <a:gd name="connsiteX4" fmla="*/ 166866 w 166866"/>
                  <a:gd name="connsiteY4" fmla="*/ 8792 h 142435"/>
                  <a:gd name="connsiteX5" fmla="*/ 10539 w 166866"/>
                  <a:gd name="connsiteY5" fmla="*/ 0 h 142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6866" h="142435">
                    <a:moveTo>
                      <a:pt x="10539" y="0"/>
                    </a:moveTo>
                    <a:cubicBezTo>
                      <a:pt x="7026" y="36049"/>
                      <a:pt x="3513" y="70338"/>
                      <a:pt x="0" y="101112"/>
                    </a:cubicBezTo>
                    <a:cubicBezTo>
                      <a:pt x="17565" y="101991"/>
                      <a:pt x="57964" y="105508"/>
                      <a:pt x="68503" y="123092"/>
                    </a:cubicBezTo>
                    <a:cubicBezTo>
                      <a:pt x="78164" y="138918"/>
                      <a:pt x="108024" y="141556"/>
                      <a:pt x="125589" y="142435"/>
                    </a:cubicBezTo>
                    <a:cubicBezTo>
                      <a:pt x="136128" y="101112"/>
                      <a:pt x="150180" y="55391"/>
                      <a:pt x="166866" y="8792"/>
                    </a:cubicBezTo>
                    <a:cubicBezTo>
                      <a:pt x="115928" y="11430"/>
                      <a:pt x="58842" y="10551"/>
                      <a:pt x="10539" y="0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485FC40E-B028-661B-FA41-84D63ED1FFFC}"/>
                  </a:ext>
                </a:extLst>
              </p:cNvPr>
              <p:cNvSpPr/>
              <p:nvPr/>
            </p:nvSpPr>
            <p:spPr>
              <a:xfrm>
                <a:off x="-8130764" y="5404619"/>
                <a:ext cx="426899" cy="398715"/>
              </a:xfrm>
              <a:custGeom>
                <a:avLst/>
                <a:gdLst>
                  <a:gd name="connsiteX0" fmla="*/ 409334 w 426899"/>
                  <a:gd name="connsiteY0" fmla="*/ 101112 h 398715"/>
                  <a:gd name="connsiteX1" fmla="*/ 419873 w 426899"/>
                  <a:gd name="connsiteY1" fmla="*/ 34290 h 398715"/>
                  <a:gd name="connsiteX2" fmla="*/ 344344 w 426899"/>
                  <a:gd name="connsiteY2" fmla="*/ 23739 h 398715"/>
                  <a:gd name="connsiteX3" fmla="*/ 255642 w 426899"/>
                  <a:gd name="connsiteY3" fmla="*/ 0 h 398715"/>
                  <a:gd name="connsiteX4" fmla="*/ 215242 w 426899"/>
                  <a:gd name="connsiteY4" fmla="*/ 183759 h 398715"/>
                  <a:gd name="connsiteX5" fmla="*/ 22907 w 426899"/>
                  <a:gd name="connsiteY5" fmla="*/ 299818 h 398715"/>
                  <a:gd name="connsiteX6" fmla="*/ 73 w 426899"/>
                  <a:gd name="connsiteY6" fmla="*/ 356088 h 398715"/>
                  <a:gd name="connsiteX7" fmla="*/ 51011 w 426899"/>
                  <a:gd name="connsiteY7" fmla="*/ 394775 h 398715"/>
                  <a:gd name="connsiteX8" fmla="*/ 207338 w 426899"/>
                  <a:gd name="connsiteY8" fmla="*/ 394775 h 398715"/>
                  <a:gd name="connsiteX9" fmla="*/ 308336 w 426899"/>
                  <a:gd name="connsiteY9" fmla="*/ 345538 h 398715"/>
                  <a:gd name="connsiteX10" fmla="*/ 310971 w 426899"/>
                  <a:gd name="connsiteY10" fmla="*/ 398292 h 398715"/>
                  <a:gd name="connsiteX11" fmla="*/ 426899 w 426899"/>
                  <a:gd name="connsiteY11" fmla="*/ 398292 h 398715"/>
                  <a:gd name="connsiteX12" fmla="*/ 426899 w 426899"/>
                  <a:gd name="connsiteY12" fmla="*/ 327953 h 398715"/>
                  <a:gd name="connsiteX13" fmla="*/ 406700 w 426899"/>
                  <a:gd name="connsiteY13" fmla="*/ 218049 h 398715"/>
                  <a:gd name="connsiteX14" fmla="*/ 408456 w 426899"/>
                  <a:gd name="connsiteY14" fmla="*/ 101991 h 398715"/>
                  <a:gd name="connsiteX15" fmla="*/ 408456 w 426899"/>
                  <a:gd name="connsiteY15" fmla="*/ 101991 h 398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6899" h="398715">
                    <a:moveTo>
                      <a:pt x="409334" y="101112"/>
                    </a:moveTo>
                    <a:cubicBezTo>
                      <a:pt x="416360" y="74735"/>
                      <a:pt x="419873" y="34290"/>
                      <a:pt x="419873" y="34290"/>
                    </a:cubicBezTo>
                    <a:cubicBezTo>
                      <a:pt x="419873" y="34290"/>
                      <a:pt x="354883" y="38686"/>
                      <a:pt x="344344" y="23739"/>
                    </a:cubicBezTo>
                    <a:cubicBezTo>
                      <a:pt x="332927" y="7034"/>
                      <a:pt x="255642" y="0"/>
                      <a:pt x="255642" y="0"/>
                    </a:cubicBezTo>
                    <a:cubicBezTo>
                      <a:pt x="255642" y="0"/>
                      <a:pt x="253007" y="117817"/>
                      <a:pt x="215242" y="183759"/>
                    </a:cubicBezTo>
                    <a:cubicBezTo>
                      <a:pt x="177478" y="249702"/>
                      <a:pt x="51889" y="267286"/>
                      <a:pt x="22907" y="299818"/>
                    </a:cubicBezTo>
                    <a:cubicBezTo>
                      <a:pt x="6221" y="319161"/>
                      <a:pt x="-805" y="337625"/>
                      <a:pt x="73" y="356088"/>
                    </a:cubicBezTo>
                    <a:cubicBezTo>
                      <a:pt x="73" y="373673"/>
                      <a:pt x="38716" y="393016"/>
                      <a:pt x="51011" y="394775"/>
                    </a:cubicBezTo>
                    <a:cubicBezTo>
                      <a:pt x="62428" y="396533"/>
                      <a:pt x="203825" y="402688"/>
                      <a:pt x="207338" y="394775"/>
                    </a:cubicBezTo>
                    <a:cubicBezTo>
                      <a:pt x="237198" y="343779"/>
                      <a:pt x="308336" y="345538"/>
                      <a:pt x="308336" y="345538"/>
                    </a:cubicBezTo>
                    <a:lnTo>
                      <a:pt x="310971" y="398292"/>
                    </a:lnTo>
                    <a:lnTo>
                      <a:pt x="426899" y="398292"/>
                    </a:lnTo>
                    <a:lnTo>
                      <a:pt x="426899" y="327953"/>
                    </a:lnTo>
                    <a:cubicBezTo>
                      <a:pt x="426899" y="275199"/>
                      <a:pt x="406700" y="218049"/>
                      <a:pt x="406700" y="218049"/>
                    </a:cubicBezTo>
                    <a:cubicBezTo>
                      <a:pt x="408456" y="203982"/>
                      <a:pt x="401430" y="128368"/>
                      <a:pt x="408456" y="101991"/>
                    </a:cubicBezTo>
                    <a:lnTo>
                      <a:pt x="408456" y="101991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19363C6C-3E59-0CB0-E6C8-E546FA2579CF}"/>
                  </a:ext>
                </a:extLst>
              </p:cNvPr>
              <p:cNvSpPr/>
              <p:nvPr/>
            </p:nvSpPr>
            <p:spPr>
              <a:xfrm>
                <a:off x="-7927817" y="3481742"/>
                <a:ext cx="797444" cy="1864088"/>
              </a:xfrm>
              <a:custGeom>
                <a:avLst/>
                <a:gdLst>
                  <a:gd name="connsiteX0" fmla="*/ 795688 w 797444"/>
                  <a:gd name="connsiteY0" fmla="*/ 722727 h 1864088"/>
                  <a:gd name="connsiteX1" fmla="*/ 722794 w 797444"/>
                  <a:gd name="connsiteY1" fmla="*/ 722727 h 1864088"/>
                  <a:gd name="connsiteX2" fmla="*/ 650778 w 797444"/>
                  <a:gd name="connsiteY2" fmla="*/ 0 h 1864088"/>
                  <a:gd name="connsiteX3" fmla="*/ 477764 w 797444"/>
                  <a:gd name="connsiteY3" fmla="*/ 2638 h 1864088"/>
                  <a:gd name="connsiteX4" fmla="*/ 303872 w 797444"/>
                  <a:gd name="connsiteY4" fmla="*/ 43962 h 1864088"/>
                  <a:gd name="connsiteX5" fmla="*/ 111537 w 797444"/>
                  <a:gd name="connsiteY5" fmla="*/ 72097 h 1864088"/>
                  <a:gd name="connsiteX6" fmla="*/ 53573 w 797444"/>
                  <a:gd name="connsiteY6" fmla="*/ 757897 h 1864088"/>
                  <a:gd name="connsiteX7" fmla="*/ 0 w 797444"/>
                  <a:gd name="connsiteY7" fmla="*/ 1822645 h 1864088"/>
                  <a:gd name="connsiteX8" fmla="*/ 34251 w 797444"/>
                  <a:gd name="connsiteY8" fmla="*/ 1832317 h 1864088"/>
                  <a:gd name="connsiteX9" fmla="*/ 190579 w 797444"/>
                  <a:gd name="connsiteY9" fmla="*/ 1841109 h 1864088"/>
                  <a:gd name="connsiteX10" fmla="*/ 326706 w 797444"/>
                  <a:gd name="connsiteY10" fmla="*/ 1826162 h 1864088"/>
                  <a:gd name="connsiteX11" fmla="*/ 432973 w 797444"/>
                  <a:gd name="connsiteY11" fmla="*/ 753501 h 1864088"/>
                  <a:gd name="connsiteX12" fmla="*/ 482155 w 797444"/>
                  <a:gd name="connsiteY12" fmla="*/ 1841988 h 1864088"/>
                  <a:gd name="connsiteX13" fmla="*/ 578762 w 797444"/>
                  <a:gd name="connsiteY13" fmla="*/ 1859573 h 1864088"/>
                  <a:gd name="connsiteX14" fmla="*/ 720159 w 797444"/>
                  <a:gd name="connsiteY14" fmla="*/ 1856935 h 1864088"/>
                  <a:gd name="connsiteX15" fmla="*/ 797444 w 797444"/>
                  <a:gd name="connsiteY15" fmla="*/ 1819128 h 1864088"/>
                  <a:gd name="connsiteX16" fmla="*/ 794810 w 797444"/>
                  <a:gd name="connsiteY16" fmla="*/ 723607 h 1864088"/>
                  <a:gd name="connsiteX17" fmla="*/ 795688 w 797444"/>
                  <a:gd name="connsiteY17" fmla="*/ 723607 h 1864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97444" h="1864088">
                    <a:moveTo>
                      <a:pt x="795688" y="722727"/>
                    </a:moveTo>
                    <a:lnTo>
                      <a:pt x="722794" y="722727"/>
                    </a:lnTo>
                    <a:cubicBezTo>
                      <a:pt x="722794" y="722727"/>
                      <a:pt x="654291" y="266407"/>
                      <a:pt x="650778" y="0"/>
                    </a:cubicBezTo>
                    <a:lnTo>
                      <a:pt x="477764" y="2638"/>
                    </a:lnTo>
                    <a:cubicBezTo>
                      <a:pt x="459321" y="11430"/>
                      <a:pt x="350418" y="27256"/>
                      <a:pt x="303872" y="43962"/>
                    </a:cubicBezTo>
                    <a:cubicBezTo>
                      <a:pt x="257325" y="60667"/>
                      <a:pt x="148423" y="72097"/>
                      <a:pt x="111537" y="72097"/>
                    </a:cubicBezTo>
                    <a:lnTo>
                      <a:pt x="53573" y="757897"/>
                    </a:lnTo>
                    <a:lnTo>
                      <a:pt x="0" y="1822645"/>
                    </a:lnTo>
                    <a:cubicBezTo>
                      <a:pt x="10539" y="1826162"/>
                      <a:pt x="21956" y="1829679"/>
                      <a:pt x="34251" y="1832317"/>
                    </a:cubicBezTo>
                    <a:cubicBezTo>
                      <a:pt x="82554" y="1842868"/>
                      <a:pt x="139640" y="1843747"/>
                      <a:pt x="190579" y="1841109"/>
                    </a:cubicBezTo>
                    <a:cubicBezTo>
                      <a:pt x="265229" y="1837592"/>
                      <a:pt x="326706" y="1826162"/>
                      <a:pt x="326706" y="1826162"/>
                    </a:cubicBezTo>
                    <a:lnTo>
                      <a:pt x="432973" y="753501"/>
                    </a:lnTo>
                    <a:lnTo>
                      <a:pt x="482155" y="1841988"/>
                    </a:lnTo>
                    <a:cubicBezTo>
                      <a:pt x="518163" y="1850781"/>
                      <a:pt x="549780" y="1856056"/>
                      <a:pt x="578762" y="1859573"/>
                    </a:cubicBezTo>
                    <a:cubicBezTo>
                      <a:pt x="641117" y="1867486"/>
                      <a:pt x="686786" y="1863969"/>
                      <a:pt x="720159" y="1856935"/>
                    </a:cubicBezTo>
                    <a:cubicBezTo>
                      <a:pt x="779001" y="1844626"/>
                      <a:pt x="797444" y="1819128"/>
                      <a:pt x="797444" y="1819128"/>
                    </a:cubicBezTo>
                    <a:cubicBezTo>
                      <a:pt x="797444" y="1819128"/>
                      <a:pt x="797444" y="1153551"/>
                      <a:pt x="794810" y="723607"/>
                    </a:cubicBezTo>
                    <a:lnTo>
                      <a:pt x="795688" y="72360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1D884A4A-45B7-D09E-95C2-7DB2A1407F7C}"/>
                  </a:ext>
                </a:extLst>
              </p:cNvPr>
              <p:cNvSpPr/>
              <p:nvPr/>
            </p:nvSpPr>
            <p:spPr>
              <a:xfrm>
                <a:off x="-7946260" y="3431625"/>
                <a:ext cx="50059" cy="113420"/>
              </a:xfrm>
              <a:custGeom>
                <a:avLst/>
                <a:gdLst>
                  <a:gd name="connsiteX0" fmla="*/ 0 w 50059"/>
                  <a:gd name="connsiteY0" fmla="*/ 84406 h 113420"/>
                  <a:gd name="connsiteX1" fmla="*/ 36886 w 50059"/>
                  <a:gd name="connsiteY1" fmla="*/ 113421 h 113420"/>
                  <a:gd name="connsiteX2" fmla="*/ 50060 w 50059"/>
                  <a:gd name="connsiteY2" fmla="*/ 0 h 113420"/>
                  <a:gd name="connsiteX3" fmla="*/ 0 w 50059"/>
                  <a:gd name="connsiteY3" fmla="*/ 84406 h 113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59" h="113420">
                    <a:moveTo>
                      <a:pt x="0" y="84406"/>
                    </a:moveTo>
                    <a:lnTo>
                      <a:pt x="36886" y="113421"/>
                    </a:lnTo>
                    <a:lnTo>
                      <a:pt x="50060" y="0"/>
                    </a:lnTo>
                    <a:lnTo>
                      <a:pt x="0" y="84406"/>
                    </a:lnTo>
                    <a:close/>
                  </a:path>
                </a:pathLst>
              </a:custGeom>
              <a:noFill/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1E9AE011-A8B1-5CAE-C690-0C61393537E3}"/>
                  </a:ext>
                </a:extLst>
              </p:cNvPr>
              <p:cNvSpPr/>
              <p:nvPr/>
            </p:nvSpPr>
            <p:spPr>
              <a:xfrm>
                <a:off x="-7348177" y="5338677"/>
                <a:ext cx="141396" cy="71217"/>
              </a:xfrm>
              <a:custGeom>
                <a:avLst/>
                <a:gdLst>
                  <a:gd name="connsiteX0" fmla="*/ 0 w 141396"/>
                  <a:gd name="connsiteY0" fmla="*/ 2638 h 71217"/>
                  <a:gd name="connsiteX1" fmla="*/ 7026 w 141396"/>
                  <a:gd name="connsiteY1" fmla="*/ 71218 h 71217"/>
                  <a:gd name="connsiteX2" fmla="*/ 134371 w 141396"/>
                  <a:gd name="connsiteY2" fmla="*/ 64184 h 71217"/>
                  <a:gd name="connsiteX3" fmla="*/ 141397 w 141396"/>
                  <a:gd name="connsiteY3" fmla="*/ 0 h 71217"/>
                  <a:gd name="connsiteX4" fmla="*/ 0 w 141396"/>
                  <a:gd name="connsiteY4" fmla="*/ 2638 h 7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396" h="71217">
                    <a:moveTo>
                      <a:pt x="0" y="2638"/>
                    </a:moveTo>
                    <a:lnTo>
                      <a:pt x="7026" y="71218"/>
                    </a:lnTo>
                    <a:cubicBezTo>
                      <a:pt x="13174" y="66822"/>
                      <a:pt x="50060" y="39565"/>
                      <a:pt x="134371" y="64184"/>
                    </a:cubicBezTo>
                    <a:lnTo>
                      <a:pt x="141397" y="0"/>
                    </a:lnTo>
                    <a:cubicBezTo>
                      <a:pt x="108024" y="7034"/>
                      <a:pt x="62355" y="10551"/>
                      <a:pt x="0" y="2638"/>
                    </a:cubicBez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E2AF3EC9-4999-C606-8A10-434F85A5012D}"/>
                  </a:ext>
                </a:extLst>
              </p:cNvPr>
              <p:cNvSpPr/>
              <p:nvPr/>
            </p:nvSpPr>
            <p:spPr>
              <a:xfrm>
                <a:off x="-6895004" y="2666257"/>
                <a:ext cx="258269" cy="413676"/>
              </a:xfrm>
              <a:custGeom>
                <a:avLst/>
                <a:gdLst>
                  <a:gd name="connsiteX0" fmla="*/ 256447 w 258269"/>
                  <a:gd name="connsiteY0" fmla="*/ 81327 h 413676"/>
                  <a:gd name="connsiteX1" fmla="*/ 238882 w 258269"/>
                  <a:gd name="connsiteY1" fmla="*/ 84844 h 413676"/>
                  <a:gd name="connsiteX2" fmla="*/ 191457 w 258269"/>
                  <a:gd name="connsiteY2" fmla="*/ 157820 h 413676"/>
                  <a:gd name="connsiteX3" fmla="*/ 238882 w 258269"/>
                  <a:gd name="connsiteY3" fmla="*/ 36486 h 413676"/>
                  <a:gd name="connsiteX4" fmla="*/ 218683 w 258269"/>
                  <a:gd name="connsiteY4" fmla="*/ 44399 h 413676"/>
                  <a:gd name="connsiteX5" fmla="*/ 172136 w 258269"/>
                  <a:gd name="connsiteY5" fmla="*/ 122651 h 413676"/>
                  <a:gd name="connsiteX6" fmla="*/ 209900 w 258269"/>
                  <a:gd name="connsiteY6" fmla="*/ 4834 h 413676"/>
                  <a:gd name="connsiteX7" fmla="*/ 182674 w 258269"/>
                  <a:gd name="connsiteY7" fmla="*/ 23298 h 413676"/>
                  <a:gd name="connsiteX8" fmla="*/ 144032 w 258269"/>
                  <a:gd name="connsiteY8" fmla="*/ 103308 h 413676"/>
                  <a:gd name="connsiteX9" fmla="*/ 163353 w 258269"/>
                  <a:gd name="connsiteY9" fmla="*/ 16264 h 413676"/>
                  <a:gd name="connsiteX10" fmla="*/ 144032 w 258269"/>
                  <a:gd name="connsiteY10" fmla="*/ 8351 h 413676"/>
                  <a:gd name="connsiteX11" fmla="*/ 109780 w 258269"/>
                  <a:gd name="connsiteY11" fmla="*/ 111221 h 413676"/>
                  <a:gd name="connsiteX12" fmla="*/ 75529 w 258269"/>
                  <a:gd name="connsiteY12" fmla="*/ 154303 h 413676"/>
                  <a:gd name="connsiteX13" fmla="*/ 43912 w 258269"/>
                  <a:gd name="connsiteY13" fmla="*/ 130564 h 413676"/>
                  <a:gd name="connsiteX14" fmla="*/ 43912 w 258269"/>
                  <a:gd name="connsiteY14" fmla="*/ 130564 h 413676"/>
                  <a:gd name="connsiteX15" fmla="*/ 0 w 258269"/>
                  <a:gd name="connsiteY15" fmla="*/ 120013 h 413676"/>
                  <a:gd name="connsiteX16" fmla="*/ 19321 w 258269"/>
                  <a:gd name="connsiteY16" fmla="*/ 150786 h 413676"/>
                  <a:gd name="connsiteX17" fmla="*/ 38643 w 258269"/>
                  <a:gd name="connsiteY17" fmla="*/ 207057 h 413676"/>
                  <a:gd name="connsiteX18" fmla="*/ 50938 w 258269"/>
                  <a:gd name="connsiteY18" fmla="*/ 236072 h 413676"/>
                  <a:gd name="connsiteX19" fmla="*/ 57964 w 258269"/>
                  <a:gd name="connsiteY19" fmla="*/ 261569 h 413676"/>
                  <a:gd name="connsiteX20" fmla="*/ 35130 w 258269"/>
                  <a:gd name="connsiteY20" fmla="*/ 355647 h 413676"/>
                  <a:gd name="connsiteX21" fmla="*/ 136128 w 258269"/>
                  <a:gd name="connsiteY21" fmla="*/ 413676 h 413676"/>
                  <a:gd name="connsiteX22" fmla="*/ 136128 w 258269"/>
                  <a:gd name="connsiteY22" fmla="*/ 286188 h 413676"/>
                  <a:gd name="connsiteX23" fmla="*/ 210778 w 258269"/>
                  <a:gd name="connsiteY23" fmla="*/ 180680 h 413676"/>
                  <a:gd name="connsiteX24" fmla="*/ 257325 w 258269"/>
                  <a:gd name="connsiteY24" fmla="*/ 80448 h 413676"/>
                  <a:gd name="connsiteX25" fmla="*/ 256447 w 258269"/>
                  <a:gd name="connsiteY25" fmla="*/ 80448 h 413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58269" h="413676">
                    <a:moveTo>
                      <a:pt x="256447" y="81327"/>
                    </a:moveTo>
                    <a:cubicBezTo>
                      <a:pt x="248543" y="66380"/>
                      <a:pt x="238882" y="84844"/>
                      <a:pt x="238882" y="84844"/>
                    </a:cubicBezTo>
                    <a:lnTo>
                      <a:pt x="191457" y="157820"/>
                    </a:lnTo>
                    <a:cubicBezTo>
                      <a:pt x="191457" y="157820"/>
                      <a:pt x="245030" y="69018"/>
                      <a:pt x="238882" y="36486"/>
                    </a:cubicBezTo>
                    <a:cubicBezTo>
                      <a:pt x="238882" y="36486"/>
                      <a:pt x="228343" y="17143"/>
                      <a:pt x="218683" y="44399"/>
                    </a:cubicBezTo>
                    <a:cubicBezTo>
                      <a:pt x="209022" y="71655"/>
                      <a:pt x="172136" y="122651"/>
                      <a:pt x="172136" y="122651"/>
                    </a:cubicBezTo>
                    <a:cubicBezTo>
                      <a:pt x="172136" y="122651"/>
                      <a:pt x="222195" y="23298"/>
                      <a:pt x="209900" y="4834"/>
                    </a:cubicBezTo>
                    <a:cubicBezTo>
                      <a:pt x="197605" y="-12751"/>
                      <a:pt x="182674" y="23298"/>
                      <a:pt x="182674" y="23298"/>
                    </a:cubicBezTo>
                    <a:lnTo>
                      <a:pt x="144032" y="103308"/>
                    </a:lnTo>
                    <a:cubicBezTo>
                      <a:pt x="144032" y="103308"/>
                      <a:pt x="168623" y="32969"/>
                      <a:pt x="163353" y="16264"/>
                    </a:cubicBezTo>
                    <a:cubicBezTo>
                      <a:pt x="158084" y="-1321"/>
                      <a:pt x="148423" y="-2200"/>
                      <a:pt x="144032" y="8351"/>
                    </a:cubicBezTo>
                    <a:cubicBezTo>
                      <a:pt x="140519" y="18902"/>
                      <a:pt x="119441" y="100670"/>
                      <a:pt x="109780" y="111221"/>
                    </a:cubicBezTo>
                    <a:cubicBezTo>
                      <a:pt x="105389" y="115617"/>
                      <a:pt x="81676" y="145511"/>
                      <a:pt x="75529" y="154303"/>
                    </a:cubicBezTo>
                    <a:cubicBezTo>
                      <a:pt x="66747" y="168371"/>
                      <a:pt x="54451" y="152545"/>
                      <a:pt x="43912" y="130564"/>
                    </a:cubicBezTo>
                    <a:lnTo>
                      <a:pt x="43912" y="130564"/>
                    </a:lnTo>
                    <a:cubicBezTo>
                      <a:pt x="30738" y="97153"/>
                      <a:pt x="879" y="107704"/>
                      <a:pt x="0" y="120013"/>
                    </a:cubicBezTo>
                    <a:cubicBezTo>
                      <a:pt x="0" y="128805"/>
                      <a:pt x="14052" y="143752"/>
                      <a:pt x="19321" y="150786"/>
                    </a:cubicBezTo>
                    <a:cubicBezTo>
                      <a:pt x="24591" y="156941"/>
                      <a:pt x="36886" y="200023"/>
                      <a:pt x="38643" y="207057"/>
                    </a:cubicBezTo>
                    <a:cubicBezTo>
                      <a:pt x="41278" y="222004"/>
                      <a:pt x="46547" y="227279"/>
                      <a:pt x="50938" y="236072"/>
                    </a:cubicBezTo>
                    <a:cubicBezTo>
                      <a:pt x="50938" y="238709"/>
                      <a:pt x="57964" y="259811"/>
                      <a:pt x="57964" y="261569"/>
                    </a:cubicBezTo>
                    <a:lnTo>
                      <a:pt x="35130" y="355647"/>
                    </a:lnTo>
                    <a:lnTo>
                      <a:pt x="136128" y="413676"/>
                    </a:lnTo>
                    <a:lnTo>
                      <a:pt x="136128" y="286188"/>
                    </a:lnTo>
                    <a:lnTo>
                      <a:pt x="210778" y="180680"/>
                    </a:lnTo>
                    <a:cubicBezTo>
                      <a:pt x="210778" y="180680"/>
                      <a:pt x="266107" y="95395"/>
                      <a:pt x="257325" y="80448"/>
                    </a:cubicBezTo>
                    <a:lnTo>
                      <a:pt x="256447" y="80448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9054F0C3-7A77-5B8D-4E55-E2529CDDF0F0}"/>
                  </a:ext>
                </a:extLst>
              </p:cNvPr>
              <p:cNvSpPr/>
              <p:nvPr/>
            </p:nvSpPr>
            <p:spPr>
              <a:xfrm>
                <a:off x="-7375516" y="5388583"/>
                <a:ext cx="206500" cy="450095"/>
              </a:xfrm>
              <a:custGeom>
                <a:avLst/>
                <a:gdLst>
                  <a:gd name="connsiteX0" fmla="*/ 206500 w 206500"/>
                  <a:gd name="connsiteY0" fmla="*/ 391467 h 450095"/>
                  <a:gd name="connsiteX1" fmla="*/ 189814 w 206500"/>
                  <a:gd name="connsiteY1" fmla="*/ 292114 h 450095"/>
                  <a:gd name="connsiteX2" fmla="*/ 173127 w 206500"/>
                  <a:gd name="connsiteY2" fmla="*/ 176056 h 450095"/>
                  <a:gd name="connsiteX3" fmla="*/ 167858 w 206500"/>
                  <a:gd name="connsiteY3" fmla="*/ 18674 h 450095"/>
                  <a:gd name="connsiteX4" fmla="*/ 28217 w 206500"/>
                  <a:gd name="connsiteY4" fmla="*/ 25707 h 450095"/>
                  <a:gd name="connsiteX5" fmla="*/ 35243 w 206500"/>
                  <a:gd name="connsiteY5" fmla="*/ 126819 h 450095"/>
                  <a:gd name="connsiteX6" fmla="*/ 10652 w 206500"/>
                  <a:gd name="connsiteY6" fmla="*/ 284201 h 450095"/>
                  <a:gd name="connsiteX7" fmla="*/ 10652 w 206500"/>
                  <a:gd name="connsiteY7" fmla="*/ 407293 h 450095"/>
                  <a:gd name="connsiteX8" fmla="*/ 174006 w 206500"/>
                  <a:gd name="connsiteY8" fmla="*/ 438066 h 450095"/>
                  <a:gd name="connsiteX9" fmla="*/ 206500 w 206500"/>
                  <a:gd name="connsiteY9" fmla="*/ 391467 h 450095"/>
                  <a:gd name="connsiteX10" fmla="*/ 206500 w 206500"/>
                  <a:gd name="connsiteY10" fmla="*/ 391467 h 450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6500" h="450095">
                    <a:moveTo>
                      <a:pt x="206500" y="391467"/>
                    </a:moveTo>
                    <a:cubicBezTo>
                      <a:pt x="206500" y="349264"/>
                      <a:pt x="189814" y="292114"/>
                      <a:pt x="189814" y="292114"/>
                    </a:cubicBezTo>
                    <a:cubicBezTo>
                      <a:pt x="189814" y="270134"/>
                      <a:pt x="173127" y="176056"/>
                      <a:pt x="173127" y="176056"/>
                    </a:cubicBezTo>
                    <a:lnTo>
                      <a:pt x="167858" y="18674"/>
                    </a:lnTo>
                    <a:cubicBezTo>
                      <a:pt x="138876" y="-7703"/>
                      <a:pt x="49295" y="-6824"/>
                      <a:pt x="28217" y="25707"/>
                    </a:cubicBezTo>
                    <a:cubicBezTo>
                      <a:pt x="18557" y="40654"/>
                      <a:pt x="35243" y="126819"/>
                      <a:pt x="35243" y="126819"/>
                    </a:cubicBezTo>
                    <a:cubicBezTo>
                      <a:pt x="35243" y="126819"/>
                      <a:pt x="15922" y="234964"/>
                      <a:pt x="10652" y="284201"/>
                    </a:cubicBezTo>
                    <a:cubicBezTo>
                      <a:pt x="5383" y="334317"/>
                      <a:pt x="-10425" y="343110"/>
                      <a:pt x="10652" y="407293"/>
                    </a:cubicBezTo>
                    <a:cubicBezTo>
                      <a:pt x="31730" y="471477"/>
                      <a:pt x="160832" y="446859"/>
                      <a:pt x="174006" y="438066"/>
                    </a:cubicBezTo>
                    <a:cubicBezTo>
                      <a:pt x="189814" y="428395"/>
                      <a:pt x="206500" y="416965"/>
                      <a:pt x="206500" y="391467"/>
                    </a:cubicBezTo>
                    <a:lnTo>
                      <a:pt x="206500" y="391467"/>
                    </a:lnTo>
                    <a:close/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1579C032-5F0E-950E-930E-51AFE6D327FE}"/>
                  </a:ext>
                </a:extLst>
              </p:cNvPr>
              <p:cNvSpPr/>
              <p:nvPr/>
            </p:nvSpPr>
            <p:spPr>
              <a:xfrm>
                <a:off x="-7588816" y="2618337"/>
                <a:ext cx="69381" cy="130126"/>
              </a:xfrm>
              <a:custGeom>
                <a:avLst/>
                <a:gdLst>
                  <a:gd name="connsiteX0" fmla="*/ 879 w 69381"/>
                  <a:gd name="connsiteY0" fmla="*/ 65063 h 130126"/>
                  <a:gd name="connsiteX1" fmla="*/ 35130 w 69381"/>
                  <a:gd name="connsiteY1" fmla="*/ 130126 h 130126"/>
                  <a:gd name="connsiteX2" fmla="*/ 69381 w 69381"/>
                  <a:gd name="connsiteY2" fmla="*/ 65063 h 130126"/>
                  <a:gd name="connsiteX3" fmla="*/ 66747 w 69381"/>
                  <a:gd name="connsiteY3" fmla="*/ 41324 h 130126"/>
                  <a:gd name="connsiteX4" fmla="*/ 57964 w 69381"/>
                  <a:gd name="connsiteY4" fmla="*/ 17585 h 130126"/>
                  <a:gd name="connsiteX5" fmla="*/ 34252 w 69381"/>
                  <a:gd name="connsiteY5" fmla="*/ 0 h 130126"/>
                  <a:gd name="connsiteX6" fmla="*/ 2635 w 69381"/>
                  <a:gd name="connsiteY6" fmla="*/ 38686 h 130126"/>
                  <a:gd name="connsiteX7" fmla="*/ 0 w 69381"/>
                  <a:gd name="connsiteY7" fmla="*/ 53633 h 130126"/>
                  <a:gd name="connsiteX8" fmla="*/ 0 w 69381"/>
                  <a:gd name="connsiteY8" fmla="*/ 64184 h 130126"/>
                  <a:gd name="connsiteX9" fmla="*/ 0 w 69381"/>
                  <a:gd name="connsiteY9" fmla="*/ 64184 h 130126"/>
                  <a:gd name="connsiteX10" fmla="*/ 23713 w 69381"/>
                  <a:gd name="connsiteY10" fmla="*/ 50995 h 130126"/>
                  <a:gd name="connsiteX11" fmla="*/ 23713 w 69381"/>
                  <a:gd name="connsiteY11" fmla="*/ 37807 h 130126"/>
                  <a:gd name="connsiteX12" fmla="*/ 34252 w 69381"/>
                  <a:gd name="connsiteY12" fmla="*/ 14947 h 130126"/>
                  <a:gd name="connsiteX13" fmla="*/ 42156 w 69381"/>
                  <a:gd name="connsiteY13" fmla="*/ 25498 h 130126"/>
                  <a:gd name="connsiteX14" fmla="*/ 45669 w 69381"/>
                  <a:gd name="connsiteY14" fmla="*/ 44841 h 130126"/>
                  <a:gd name="connsiteX15" fmla="*/ 45669 w 69381"/>
                  <a:gd name="connsiteY15" fmla="*/ 50995 h 130126"/>
                  <a:gd name="connsiteX16" fmla="*/ 34252 w 69381"/>
                  <a:gd name="connsiteY16" fmla="*/ 86165 h 130126"/>
                  <a:gd name="connsiteX17" fmla="*/ 22835 w 69381"/>
                  <a:gd name="connsiteY17" fmla="*/ 51875 h 130126"/>
                  <a:gd name="connsiteX18" fmla="*/ 22835 w 69381"/>
                  <a:gd name="connsiteY18" fmla="*/ 51875 h 130126"/>
                  <a:gd name="connsiteX19" fmla="*/ 22835 w 69381"/>
                  <a:gd name="connsiteY19" fmla="*/ 51875 h 130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9381" h="130126">
                    <a:moveTo>
                      <a:pt x="879" y="65063"/>
                    </a:moveTo>
                    <a:cubicBezTo>
                      <a:pt x="879" y="101112"/>
                      <a:pt x="15808" y="130126"/>
                      <a:pt x="35130" y="130126"/>
                    </a:cubicBezTo>
                    <a:cubicBezTo>
                      <a:pt x="54451" y="130126"/>
                      <a:pt x="69381" y="101112"/>
                      <a:pt x="69381" y="65063"/>
                    </a:cubicBezTo>
                    <a:cubicBezTo>
                      <a:pt x="69381" y="29015"/>
                      <a:pt x="69381" y="49237"/>
                      <a:pt x="66747" y="41324"/>
                    </a:cubicBezTo>
                    <a:cubicBezTo>
                      <a:pt x="64990" y="32532"/>
                      <a:pt x="62356" y="24618"/>
                      <a:pt x="57964" y="17585"/>
                    </a:cubicBezTo>
                    <a:cubicBezTo>
                      <a:pt x="51817" y="7034"/>
                      <a:pt x="43912" y="0"/>
                      <a:pt x="34252" y="0"/>
                    </a:cubicBezTo>
                    <a:cubicBezTo>
                      <a:pt x="20199" y="0"/>
                      <a:pt x="7904" y="15826"/>
                      <a:pt x="2635" y="38686"/>
                    </a:cubicBezTo>
                    <a:cubicBezTo>
                      <a:pt x="2635" y="43082"/>
                      <a:pt x="879" y="48358"/>
                      <a:pt x="0" y="53633"/>
                    </a:cubicBezTo>
                    <a:lnTo>
                      <a:pt x="0" y="64184"/>
                    </a:lnTo>
                    <a:lnTo>
                      <a:pt x="0" y="64184"/>
                    </a:lnTo>
                    <a:close/>
                    <a:moveTo>
                      <a:pt x="23713" y="50995"/>
                    </a:moveTo>
                    <a:lnTo>
                      <a:pt x="23713" y="37807"/>
                    </a:lnTo>
                    <a:cubicBezTo>
                      <a:pt x="25469" y="24618"/>
                      <a:pt x="29860" y="14947"/>
                      <a:pt x="34252" y="14947"/>
                    </a:cubicBezTo>
                    <a:cubicBezTo>
                      <a:pt x="38643" y="14947"/>
                      <a:pt x="40399" y="19343"/>
                      <a:pt x="42156" y="25498"/>
                    </a:cubicBezTo>
                    <a:cubicBezTo>
                      <a:pt x="43912" y="30773"/>
                      <a:pt x="44791" y="36928"/>
                      <a:pt x="45669" y="44841"/>
                    </a:cubicBezTo>
                    <a:lnTo>
                      <a:pt x="45669" y="50995"/>
                    </a:lnTo>
                    <a:cubicBezTo>
                      <a:pt x="45669" y="70338"/>
                      <a:pt x="40399" y="86165"/>
                      <a:pt x="34252" y="86165"/>
                    </a:cubicBezTo>
                    <a:cubicBezTo>
                      <a:pt x="28104" y="86165"/>
                      <a:pt x="22835" y="71218"/>
                      <a:pt x="22835" y="51875"/>
                    </a:cubicBezTo>
                    <a:lnTo>
                      <a:pt x="22835" y="51875"/>
                    </a:lnTo>
                    <a:cubicBezTo>
                      <a:pt x="22835" y="51875"/>
                      <a:pt x="22835" y="51875"/>
                      <a:pt x="22835" y="51875"/>
                    </a:cubicBezTo>
                    <a:close/>
                  </a:path>
                </a:pathLst>
              </a:custGeom>
              <a:solidFill>
                <a:srgbClr val="FA69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CE9B141B-8BBA-3BCA-AF84-26874AF925A7}"/>
                  </a:ext>
                </a:extLst>
              </p:cNvPr>
              <p:cNvSpPr/>
              <p:nvPr/>
            </p:nvSpPr>
            <p:spPr>
              <a:xfrm>
                <a:off x="-7815402" y="2831111"/>
                <a:ext cx="555562" cy="763172"/>
              </a:xfrm>
              <a:custGeom>
                <a:avLst/>
                <a:gdLst>
                  <a:gd name="connsiteX0" fmla="*/ 410139 w 555562"/>
                  <a:gd name="connsiteY0" fmla="*/ 879 h 763172"/>
                  <a:gd name="connsiteX1" fmla="*/ 137884 w 555562"/>
                  <a:gd name="connsiteY1" fmla="*/ 22860 h 763172"/>
                  <a:gd name="connsiteX2" fmla="*/ 118563 w 555562"/>
                  <a:gd name="connsiteY2" fmla="*/ 87044 h 763172"/>
                  <a:gd name="connsiteX3" fmla="*/ 0 w 555562"/>
                  <a:gd name="connsiteY3" fmla="*/ 750863 h 763172"/>
                  <a:gd name="connsiteX4" fmla="*/ 33373 w 555562"/>
                  <a:gd name="connsiteY4" fmla="*/ 763172 h 763172"/>
                  <a:gd name="connsiteX5" fmla="*/ 186188 w 555562"/>
                  <a:gd name="connsiteY5" fmla="*/ 730641 h 763172"/>
                  <a:gd name="connsiteX6" fmla="*/ 555049 w 555562"/>
                  <a:gd name="connsiteY6" fmla="*/ 684041 h 763172"/>
                  <a:gd name="connsiteX7" fmla="*/ 410139 w 555562"/>
                  <a:gd name="connsiteY7" fmla="*/ 0 h 763172"/>
                  <a:gd name="connsiteX8" fmla="*/ 410139 w 555562"/>
                  <a:gd name="connsiteY8" fmla="*/ 0 h 763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5562" h="763172">
                    <a:moveTo>
                      <a:pt x="410139" y="879"/>
                    </a:moveTo>
                    <a:cubicBezTo>
                      <a:pt x="268742" y="109025"/>
                      <a:pt x="137884" y="22860"/>
                      <a:pt x="137884" y="22860"/>
                    </a:cubicBezTo>
                    <a:lnTo>
                      <a:pt x="118563" y="87044"/>
                    </a:lnTo>
                    <a:cubicBezTo>
                      <a:pt x="112415" y="118696"/>
                      <a:pt x="8782" y="708660"/>
                      <a:pt x="0" y="750863"/>
                    </a:cubicBezTo>
                    <a:cubicBezTo>
                      <a:pt x="7026" y="757897"/>
                      <a:pt x="19321" y="762293"/>
                      <a:pt x="33373" y="763172"/>
                    </a:cubicBezTo>
                    <a:cubicBezTo>
                      <a:pt x="104511" y="759655"/>
                      <a:pt x="138762" y="751742"/>
                      <a:pt x="186188" y="730641"/>
                    </a:cubicBezTo>
                    <a:cubicBezTo>
                      <a:pt x="320559" y="673491"/>
                      <a:pt x="555049" y="684041"/>
                      <a:pt x="555049" y="684041"/>
                    </a:cubicBezTo>
                    <a:cubicBezTo>
                      <a:pt x="565588" y="366639"/>
                      <a:pt x="410139" y="0"/>
                      <a:pt x="410139" y="0"/>
                    </a:cubicBezTo>
                    <a:lnTo>
                      <a:pt x="410139" y="0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02A6940E-F248-4551-56BC-D36172F31A94}"/>
                  </a:ext>
                </a:extLst>
              </p:cNvPr>
              <p:cNvSpPr/>
              <p:nvPr/>
            </p:nvSpPr>
            <p:spPr>
              <a:xfrm>
                <a:off x="-7418436" y="2824077"/>
                <a:ext cx="710497" cy="1381271"/>
              </a:xfrm>
              <a:custGeom>
                <a:avLst/>
                <a:gdLst>
                  <a:gd name="connsiteX0" fmla="*/ 620918 w 710497"/>
                  <a:gd name="connsiteY0" fmla="*/ 236513 h 1381271"/>
                  <a:gd name="connsiteX1" fmla="*/ 519920 w 710497"/>
                  <a:gd name="connsiteY1" fmla="*/ 178484 h 1381271"/>
                  <a:gd name="connsiteX2" fmla="*/ 513772 w 710497"/>
                  <a:gd name="connsiteY2" fmla="*/ 174967 h 1381271"/>
                  <a:gd name="connsiteX3" fmla="*/ 456686 w 710497"/>
                  <a:gd name="connsiteY3" fmla="*/ 315644 h 1381271"/>
                  <a:gd name="connsiteX4" fmla="*/ 228343 w 710497"/>
                  <a:gd name="connsiteY4" fmla="*/ 68580 h 1381271"/>
                  <a:gd name="connsiteX5" fmla="*/ 0 w 710497"/>
                  <a:gd name="connsiteY5" fmla="*/ 0 h 1381271"/>
                  <a:gd name="connsiteX6" fmla="*/ 79920 w 710497"/>
                  <a:gd name="connsiteY6" fmla="*/ 243547 h 1381271"/>
                  <a:gd name="connsiteX7" fmla="*/ 142275 w 710497"/>
                  <a:gd name="connsiteY7" fmla="*/ 617220 h 1381271"/>
                  <a:gd name="connsiteX8" fmla="*/ 142275 w 710497"/>
                  <a:gd name="connsiteY8" fmla="*/ 691955 h 1381271"/>
                  <a:gd name="connsiteX9" fmla="*/ 212535 w 710497"/>
                  <a:gd name="connsiteY9" fmla="*/ 1381271 h 1381271"/>
                  <a:gd name="connsiteX10" fmla="*/ 387305 w 710497"/>
                  <a:gd name="connsiteY10" fmla="*/ 1381271 h 1381271"/>
                  <a:gd name="connsiteX11" fmla="*/ 341636 w 710497"/>
                  <a:gd name="connsiteY11" fmla="*/ 711298 h 1381271"/>
                  <a:gd name="connsiteX12" fmla="*/ 310020 w 710497"/>
                  <a:gd name="connsiteY12" fmla="*/ 519625 h 1381271"/>
                  <a:gd name="connsiteX13" fmla="*/ 310020 w 710497"/>
                  <a:gd name="connsiteY13" fmla="*/ 521384 h 1381271"/>
                  <a:gd name="connsiteX14" fmla="*/ 519920 w 710497"/>
                  <a:gd name="connsiteY14" fmla="*/ 616341 h 1381271"/>
                  <a:gd name="connsiteX15" fmla="*/ 630578 w 710497"/>
                  <a:gd name="connsiteY15" fmla="*/ 559191 h 1381271"/>
                  <a:gd name="connsiteX16" fmla="*/ 710498 w 710497"/>
                  <a:gd name="connsiteY16" fmla="*/ 289267 h 1381271"/>
                  <a:gd name="connsiteX17" fmla="*/ 620039 w 710497"/>
                  <a:gd name="connsiteY17" fmla="*/ 237392 h 1381271"/>
                  <a:gd name="connsiteX18" fmla="*/ 620918 w 710497"/>
                  <a:gd name="connsiteY18" fmla="*/ 237392 h 1381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10497" h="1381271">
                    <a:moveTo>
                      <a:pt x="620918" y="236513"/>
                    </a:moveTo>
                    <a:lnTo>
                      <a:pt x="519920" y="178484"/>
                    </a:lnTo>
                    <a:lnTo>
                      <a:pt x="513772" y="174967"/>
                    </a:lnTo>
                    <a:lnTo>
                      <a:pt x="456686" y="315644"/>
                    </a:lnTo>
                    <a:cubicBezTo>
                      <a:pt x="456686" y="315644"/>
                      <a:pt x="285429" y="102870"/>
                      <a:pt x="228343" y="68580"/>
                    </a:cubicBezTo>
                    <a:cubicBezTo>
                      <a:pt x="171257" y="34290"/>
                      <a:pt x="0" y="0"/>
                      <a:pt x="0" y="0"/>
                    </a:cubicBezTo>
                    <a:lnTo>
                      <a:pt x="79920" y="243547"/>
                    </a:lnTo>
                    <a:cubicBezTo>
                      <a:pt x="79920" y="243547"/>
                      <a:pt x="138762" y="350813"/>
                      <a:pt x="142275" y="617220"/>
                    </a:cubicBezTo>
                    <a:lnTo>
                      <a:pt x="142275" y="691955"/>
                    </a:lnTo>
                    <a:cubicBezTo>
                      <a:pt x="145788" y="958361"/>
                      <a:pt x="212535" y="1381271"/>
                      <a:pt x="212535" y="1381271"/>
                    </a:cubicBezTo>
                    <a:lnTo>
                      <a:pt x="387305" y="1381271"/>
                    </a:lnTo>
                    <a:cubicBezTo>
                      <a:pt x="387305" y="1381271"/>
                      <a:pt x="349540" y="779878"/>
                      <a:pt x="341636" y="711298"/>
                    </a:cubicBezTo>
                    <a:cubicBezTo>
                      <a:pt x="337245" y="675249"/>
                      <a:pt x="323193" y="590843"/>
                      <a:pt x="310020" y="519625"/>
                    </a:cubicBezTo>
                    <a:lnTo>
                      <a:pt x="310020" y="521384"/>
                    </a:lnTo>
                    <a:cubicBezTo>
                      <a:pt x="310020" y="521384"/>
                      <a:pt x="459321" y="612824"/>
                      <a:pt x="519920" y="616341"/>
                    </a:cubicBezTo>
                    <a:cubicBezTo>
                      <a:pt x="580518" y="619858"/>
                      <a:pt x="630578" y="559191"/>
                      <a:pt x="630578" y="559191"/>
                    </a:cubicBezTo>
                    <a:lnTo>
                      <a:pt x="710498" y="289267"/>
                    </a:lnTo>
                    <a:lnTo>
                      <a:pt x="620039" y="237392"/>
                    </a:lnTo>
                    <a:lnTo>
                      <a:pt x="620918" y="237392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A61FB3AA-8EA0-8E21-2A3B-11147C567199}"/>
                  </a:ext>
                </a:extLst>
              </p:cNvPr>
              <p:cNvSpPr/>
              <p:nvPr/>
            </p:nvSpPr>
            <p:spPr>
              <a:xfrm>
                <a:off x="-8201469" y="2846058"/>
                <a:ext cx="533611" cy="1359290"/>
              </a:xfrm>
              <a:custGeom>
                <a:avLst/>
                <a:gdLst>
                  <a:gd name="connsiteX0" fmla="*/ 521316 w 533611"/>
                  <a:gd name="connsiteY0" fmla="*/ 0 h 1359290"/>
                  <a:gd name="connsiteX1" fmla="*/ 258721 w 533611"/>
                  <a:gd name="connsiteY1" fmla="*/ 133643 h 1359290"/>
                  <a:gd name="connsiteX2" fmla="*/ 518 w 533611"/>
                  <a:gd name="connsiteY2" fmla="*/ 749984 h 1359290"/>
                  <a:gd name="connsiteX3" fmla="*/ 256087 w 533611"/>
                  <a:gd name="connsiteY3" fmla="*/ 993531 h 1359290"/>
                  <a:gd name="connsiteX4" fmla="*/ 216566 w 533611"/>
                  <a:gd name="connsiteY4" fmla="*/ 1317088 h 1359290"/>
                  <a:gd name="connsiteX5" fmla="*/ 216566 w 533611"/>
                  <a:gd name="connsiteY5" fmla="*/ 1359291 h 1359290"/>
                  <a:gd name="connsiteX6" fmla="*/ 350937 w 533611"/>
                  <a:gd name="connsiteY6" fmla="*/ 1355774 h 1359290"/>
                  <a:gd name="connsiteX7" fmla="*/ 533611 w 533611"/>
                  <a:gd name="connsiteY7" fmla="*/ 192551 h 1359290"/>
                  <a:gd name="connsiteX8" fmla="*/ 520438 w 533611"/>
                  <a:gd name="connsiteY8" fmla="*/ 879 h 1359290"/>
                  <a:gd name="connsiteX9" fmla="*/ 521316 w 533611"/>
                  <a:gd name="connsiteY9" fmla="*/ 879 h 1359290"/>
                  <a:gd name="connsiteX10" fmla="*/ 255208 w 533611"/>
                  <a:gd name="connsiteY10" fmla="*/ 669974 h 1359290"/>
                  <a:gd name="connsiteX11" fmla="*/ 305268 w 533611"/>
                  <a:gd name="connsiteY11" fmla="*/ 585568 h 1359290"/>
                  <a:gd name="connsiteX12" fmla="*/ 291216 w 533611"/>
                  <a:gd name="connsiteY12" fmla="*/ 698988 h 1359290"/>
                  <a:gd name="connsiteX13" fmla="*/ 254330 w 533611"/>
                  <a:gd name="connsiteY13" fmla="*/ 669974 h 1359290"/>
                  <a:gd name="connsiteX14" fmla="*/ 254330 w 533611"/>
                  <a:gd name="connsiteY14" fmla="*/ 669974 h 135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611" h="1359290">
                    <a:moveTo>
                      <a:pt x="521316" y="0"/>
                    </a:moveTo>
                    <a:cubicBezTo>
                      <a:pt x="521316" y="0"/>
                      <a:pt x="327224" y="60667"/>
                      <a:pt x="258721" y="133643"/>
                    </a:cubicBezTo>
                    <a:cubicBezTo>
                      <a:pt x="190219" y="205740"/>
                      <a:pt x="16327" y="633046"/>
                      <a:pt x="518" y="749984"/>
                    </a:cubicBezTo>
                    <a:cubicBezTo>
                      <a:pt x="-13534" y="854612"/>
                      <a:pt x="263113" y="997048"/>
                      <a:pt x="256087" y="993531"/>
                    </a:cubicBezTo>
                    <a:lnTo>
                      <a:pt x="216566" y="1317088"/>
                    </a:lnTo>
                    <a:lnTo>
                      <a:pt x="216566" y="1359291"/>
                    </a:lnTo>
                    <a:lnTo>
                      <a:pt x="350937" y="1355774"/>
                    </a:lnTo>
                    <a:cubicBezTo>
                      <a:pt x="350937" y="1355774"/>
                      <a:pt x="532733" y="281354"/>
                      <a:pt x="533611" y="192551"/>
                    </a:cubicBezTo>
                    <a:cubicBezTo>
                      <a:pt x="533611" y="82648"/>
                      <a:pt x="520438" y="879"/>
                      <a:pt x="520438" y="879"/>
                    </a:cubicBezTo>
                    <a:lnTo>
                      <a:pt x="521316" y="879"/>
                    </a:lnTo>
                    <a:close/>
                    <a:moveTo>
                      <a:pt x="255208" y="669974"/>
                    </a:moveTo>
                    <a:lnTo>
                      <a:pt x="305268" y="585568"/>
                    </a:lnTo>
                    <a:lnTo>
                      <a:pt x="291216" y="698988"/>
                    </a:lnTo>
                    <a:lnTo>
                      <a:pt x="254330" y="669974"/>
                    </a:lnTo>
                    <a:lnTo>
                      <a:pt x="254330" y="669974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32DCFB66-F274-BFF9-847B-49368EB3EE17}"/>
                  </a:ext>
                </a:extLst>
              </p:cNvPr>
              <p:cNvSpPr/>
              <p:nvPr/>
            </p:nvSpPr>
            <p:spPr>
              <a:xfrm>
                <a:off x="-7863705" y="3677810"/>
                <a:ext cx="140518" cy="184638"/>
              </a:xfrm>
              <a:custGeom>
                <a:avLst/>
                <a:gdLst>
                  <a:gd name="connsiteX0" fmla="*/ 37764 w 140518"/>
                  <a:gd name="connsiteY0" fmla="*/ 0 h 184638"/>
                  <a:gd name="connsiteX1" fmla="*/ 0 w 140518"/>
                  <a:gd name="connsiteY1" fmla="*/ 119575 h 184638"/>
                  <a:gd name="connsiteX2" fmla="*/ 53573 w 140518"/>
                  <a:gd name="connsiteY2" fmla="*/ 121334 h 184638"/>
                  <a:gd name="connsiteX3" fmla="*/ 69381 w 140518"/>
                  <a:gd name="connsiteY3" fmla="*/ 154745 h 184638"/>
                  <a:gd name="connsiteX4" fmla="*/ 94850 w 140518"/>
                  <a:gd name="connsiteY4" fmla="*/ 184638 h 184638"/>
                  <a:gd name="connsiteX5" fmla="*/ 140519 w 140518"/>
                  <a:gd name="connsiteY5" fmla="*/ 34290 h 184638"/>
                  <a:gd name="connsiteX6" fmla="*/ 38643 w 140518"/>
                  <a:gd name="connsiteY6" fmla="*/ 0 h 184638"/>
                  <a:gd name="connsiteX7" fmla="*/ 37764 w 140518"/>
                  <a:gd name="connsiteY7" fmla="*/ 0 h 18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518" h="184638">
                    <a:moveTo>
                      <a:pt x="37764" y="0"/>
                    </a:moveTo>
                    <a:lnTo>
                      <a:pt x="0" y="119575"/>
                    </a:lnTo>
                    <a:cubicBezTo>
                      <a:pt x="0" y="119575"/>
                      <a:pt x="41278" y="117817"/>
                      <a:pt x="53573" y="121334"/>
                    </a:cubicBezTo>
                    <a:cubicBezTo>
                      <a:pt x="65868" y="124851"/>
                      <a:pt x="61477" y="141556"/>
                      <a:pt x="69381" y="154745"/>
                    </a:cubicBezTo>
                    <a:cubicBezTo>
                      <a:pt x="77285" y="167933"/>
                      <a:pt x="94850" y="184638"/>
                      <a:pt x="94850" y="184638"/>
                    </a:cubicBezTo>
                    <a:cubicBezTo>
                      <a:pt x="119441" y="133643"/>
                      <a:pt x="138762" y="83527"/>
                      <a:pt x="140519" y="34290"/>
                    </a:cubicBezTo>
                    <a:lnTo>
                      <a:pt x="38643" y="0"/>
                    </a:lnTo>
                    <a:lnTo>
                      <a:pt x="37764" y="0"/>
                    </a:lnTo>
                    <a:close/>
                  </a:path>
                </a:pathLst>
              </a:custGeom>
              <a:solidFill>
                <a:srgbClr val="7A3E1A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AD703AA5-0839-29F0-1504-E75CBC881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</p:spTree>
    <p:extLst>
      <p:ext uri="{BB962C8B-B14F-4D97-AF65-F5344CB8AC3E}">
        <p14:creationId xmlns:p14="http://schemas.microsoft.com/office/powerpoint/2010/main" val="2340815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7537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660CB3EB-D911-068E-EFD8-9CAF76591B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DDE6DB5-3337-2923-E916-811C7B87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D753257-93B8-9BAE-05CB-7CC8DA47A7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7312" y="1237794"/>
            <a:ext cx="7434688" cy="5038936"/>
          </a:xfrm>
          <a:prstGeom prst="rect">
            <a:avLst/>
          </a:prstGeom>
        </p:spPr>
      </p:pic>
      <p:sp>
        <p:nvSpPr>
          <p:cNvPr id="11" name="Picture Placeholder 20">
            <a:extLst>
              <a:ext uri="{FF2B5EF4-FFF2-40B4-BE49-F238E27FC236}">
                <a16:creationId xmlns:a16="http://schemas.microsoft.com/office/drawing/2014/main" id="{F0A47979-E1AE-9B1F-3BD2-2BC355D422B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61001" y="1460500"/>
            <a:ext cx="5969000" cy="4108450"/>
          </a:xfrm>
          <a:prstGeom prst="round2SameRect">
            <a:avLst>
              <a:gd name="adj1" fmla="val 2471"/>
              <a:gd name="adj2" fmla="val 1664"/>
            </a:avLst>
          </a:prstGeom>
          <a:solidFill>
            <a:schemeClr val="bg1"/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5616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660CB3EB-D911-068E-EFD8-9CAF76591B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DDE6DB5-3337-2923-E916-811C7B87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24EE1-28B7-2157-954D-BB4DD6163D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30"/>
          <a:stretch/>
        </p:blipFill>
        <p:spPr>
          <a:xfrm>
            <a:off x="5603619" y="1070483"/>
            <a:ext cx="6588382" cy="5518029"/>
          </a:xfrm>
          <a:prstGeom prst="rect">
            <a:avLst/>
          </a:prstGeom>
        </p:spPr>
      </p:pic>
      <p:sp>
        <p:nvSpPr>
          <p:cNvPr id="10" name="Picture Placeholder 20">
            <a:extLst>
              <a:ext uri="{FF2B5EF4-FFF2-40B4-BE49-F238E27FC236}">
                <a16:creationId xmlns:a16="http://schemas.microsoft.com/office/drawing/2014/main" id="{8EADDAC2-1480-5EFA-67DF-0443C253DC3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03327" y="1458096"/>
            <a:ext cx="5981346" cy="4492465"/>
          </a:xfrm>
          <a:prstGeom prst="round2SameRect">
            <a:avLst>
              <a:gd name="adj1" fmla="val 1759"/>
              <a:gd name="adj2" fmla="val 2128"/>
            </a:avLst>
          </a:prstGeo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436241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Logo">
            <a:extLst>
              <a:ext uri="{FF2B5EF4-FFF2-40B4-BE49-F238E27FC236}">
                <a16:creationId xmlns:a16="http://schemas.microsoft.com/office/drawing/2014/main" id="{93F75D2D-60C8-74A7-05B1-B87F1C73D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7E27A56-BFD3-25BF-64BC-DC2AF63D33E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28551" y="803236"/>
            <a:ext cx="4720223" cy="4720223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9E6FE99-F34B-495F-0E4C-FBC7A04F5F5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26385" y="1266467"/>
            <a:ext cx="8250014" cy="580435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319CAE7-2180-5795-2417-12A624EFEF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3700720"/>
            <a:ext cx="5507425" cy="1487998"/>
          </a:xfrm>
        </p:spPr>
        <p:txBody>
          <a:bodyPr vert="horz" wrap="square" anchor="t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27CAC3FD-2F13-305E-5E7E-D3E0E34DE7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54A1E1-DB1B-55C9-3FCE-DC16077FDE87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1745110-3EE1-2301-F340-FB00251D113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7375" y="1832265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428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C98399D3-A99C-91A2-9A7B-43C3FA2A0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BCA69D5-B383-8615-A2EB-7C3EAB03FEC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14267" y="3745864"/>
            <a:ext cx="5086967" cy="253119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8745EFA-1970-87F4-E9E0-AFB8FA4A84B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23292" y="427214"/>
            <a:ext cx="5508625" cy="502257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B6B5C54-E13F-AFE3-F712-E8A8BEE763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3700720"/>
            <a:ext cx="5507425" cy="1487998"/>
          </a:xfrm>
        </p:spPr>
        <p:txBody>
          <a:bodyPr vert="horz" wrap="square" anchor="t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3E3DAE5D-6121-70B9-C8DE-6BE055364A7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CAB1B6F-44B9-33FA-8CB7-643FBEB90A3B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04A8C30-C786-328D-BC74-E62C4FE74A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7375" y="1832265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046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7D7ECAE-4941-15F9-2D04-D50668A2C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3700720"/>
            <a:ext cx="5507425" cy="1487998"/>
          </a:xfrm>
        </p:spPr>
        <p:txBody>
          <a:bodyPr vert="horz" wrap="square" anchor="t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3C850C-B8D8-CF64-D11B-E69EA74EC599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D670E1D-997C-0DE3-C7BF-373D2F74B6D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59483" y="0"/>
            <a:ext cx="3432517" cy="686503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52D3287-46D5-DD4B-7CC9-FCD31AC07CD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33414" y="875584"/>
            <a:ext cx="7258586" cy="510683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7375" y="1832265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203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Logo">
            <a:extLst>
              <a:ext uri="{FF2B5EF4-FFF2-40B4-BE49-F238E27FC236}">
                <a16:creationId xmlns:a16="http://schemas.microsoft.com/office/drawing/2014/main" id="{93F75D2D-60C8-74A7-05B1-B87F1C73D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ED39C3F-04EF-B918-41FC-760265D3928E}"/>
              </a:ext>
            </a:extLst>
          </p:cNvPr>
          <p:cNvGrpSpPr/>
          <p:nvPr userDrawn="1"/>
        </p:nvGrpSpPr>
        <p:grpSpPr>
          <a:xfrm>
            <a:off x="5563451" y="953900"/>
            <a:ext cx="7415239" cy="5633404"/>
            <a:chOff x="4857051" y="457408"/>
            <a:chExt cx="8250014" cy="6267588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47E27A56-BFD3-25BF-64BC-DC2AF63D33E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459217" y="457408"/>
              <a:ext cx="4720223" cy="4720223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E9E6FE99-F34B-495F-0E4C-FBC7A04F5F5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857051" y="920639"/>
              <a:ext cx="8250014" cy="5804357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5319CAE7-2180-5795-2417-12A624EFEF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919092"/>
            <a:ext cx="4976076" cy="3269626"/>
          </a:xfrm>
        </p:spPr>
        <p:txBody>
          <a:bodyPr vert="horz" wrap="square" anchor="ctr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27CAC3FD-2F13-305E-5E7E-D3E0E34DE7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879492"/>
            <a:ext cx="3857625" cy="2082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54A1E1-DB1B-55C9-3FCE-DC16077FDE87}"/>
              </a:ext>
            </a:extLst>
          </p:cNvPr>
          <p:cNvSpPr txBox="1"/>
          <p:nvPr userDrawn="1"/>
        </p:nvSpPr>
        <p:spPr>
          <a:xfrm>
            <a:off x="587374" y="6273800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A4F6A68-2375-6694-A913-4E092273293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20961" y="6282217"/>
            <a:ext cx="2520176" cy="30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16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C98399D3-A99C-91A2-9A7B-43C3FA2A0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BCA69D5-B383-8615-A2EB-7C3EAB03FEC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4120" y="3355856"/>
            <a:ext cx="5086967" cy="253119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8745EFA-1970-87F4-E9E0-AFB8FA4A84B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23292" y="427214"/>
            <a:ext cx="5508625" cy="5022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3916AD-2D67-52C8-63CD-14758A8657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919092"/>
            <a:ext cx="4976076" cy="3269626"/>
          </a:xfrm>
        </p:spPr>
        <p:txBody>
          <a:bodyPr vert="horz" wrap="square" anchor="ctr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D5BA4F60-7EFA-3870-6544-E7BEE016424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879492"/>
            <a:ext cx="3857625" cy="2082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830C5B-8B9E-ED3E-6842-95415A6C504C}"/>
              </a:ext>
            </a:extLst>
          </p:cNvPr>
          <p:cNvSpPr txBox="1"/>
          <p:nvPr userDrawn="1"/>
        </p:nvSpPr>
        <p:spPr>
          <a:xfrm>
            <a:off x="587374" y="6273800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4EFE9E3-4027-307D-336C-F6100FD6BB8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20961" y="6282217"/>
            <a:ext cx="2520176" cy="30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241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D670E1D-997C-0DE3-C7BF-373D2F74B6D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59483" y="0"/>
            <a:ext cx="3432517" cy="686503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52D3287-46D5-DD4B-7CC9-FCD31AC07CD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425361" y="803236"/>
            <a:ext cx="6766639" cy="476071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46E4906-89B2-46DB-1FB0-F555C00DBE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919092"/>
            <a:ext cx="4976076" cy="3269626"/>
          </a:xfrm>
        </p:spPr>
        <p:txBody>
          <a:bodyPr vert="horz" wrap="square" anchor="ctr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1" name="Picture 1">
            <a:extLst>
              <a:ext uri="{FF2B5EF4-FFF2-40B4-BE49-F238E27FC236}">
                <a16:creationId xmlns:a16="http://schemas.microsoft.com/office/drawing/2014/main" id="{49C8078F-58DE-7854-89CF-C8AC13456B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879492"/>
            <a:ext cx="3857625" cy="2082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B03A41-CA37-8F0B-94EC-F9A647363576}"/>
              </a:ext>
            </a:extLst>
          </p:cNvPr>
          <p:cNvSpPr txBox="1"/>
          <p:nvPr userDrawn="1"/>
        </p:nvSpPr>
        <p:spPr>
          <a:xfrm>
            <a:off x="587374" y="6273800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846F6C3-97E4-6601-9523-F6E092F0726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20961" y="6282217"/>
            <a:ext cx="2520176" cy="30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484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3C850C-B8D8-CF64-D11B-E69EA74EC599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374" y="2548369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630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3C850C-B8D8-CF64-D11B-E69EA74EC599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17657" y="5537371"/>
            <a:ext cx="2423481" cy="751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59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1218586-CFF9-D1B9-A7B1-D06ABC4D38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320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218586-CFF9-D1B9-A7B1-D06ABC4D384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6FA0464-8B17-496A-FA4C-57E96C00D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18793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FF1CCA5E-6795-1E3C-5218-0B3080BC06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24913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DF651931-7D32-AF36-EB33-181A9C5ED4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41724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3EBF013-1DF3-6C0C-5595-34FA4DDD21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47844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4E3D30E5-8A57-CDD7-DA25-100B803CA7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89137" y="18793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98896E69-B5C1-DD0C-DEBD-1D63423353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9137" y="24913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64B036E8-0AB2-175D-6923-18F103BC90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89137" y="41724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E656E6B1-C23F-11A3-AAEA-E43A083EE0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89137" y="47844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7C8ABE00-69D0-161F-04B2-5AE6D3E8C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>
                <a:solidFill>
                  <a:schemeClr val="tx1"/>
                </a:solidFill>
              </a:rPr>
              <a:pPr>
                <a:lnSpc>
                  <a:spcPct val="90000"/>
                </a:lnSpc>
              </a:pPr>
              <a:t>‹#›</a:t>
            </a:fld>
            <a:endParaRPr lang="en-GB">
              <a:solidFill>
                <a:schemeClr val="tx1"/>
              </a:solidFill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6ABDB94A-2DEF-E45B-3506-6633590FE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C715327-71FF-D372-8408-EABB46BB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1432DB84-23EE-5F7D-D7FC-9E761C4AB9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69936" y="18793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A98D568C-D574-ED5B-B44C-8032527D53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69936" y="24913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66917268-5C98-B3E6-124B-31CD500A1E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69936" y="4172474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3085369-6F34-E1EC-A743-329ADB1CFB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69936" y="4784474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86539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069" userDrawn="1">
          <p15:clr>
            <a:srgbClr val="FBAE40"/>
          </p15:clr>
        </p15:guide>
        <p15:guide id="4" pos="4611" userDrawn="1">
          <p15:clr>
            <a:srgbClr val="FBAE40"/>
          </p15:clr>
        </p15:guide>
        <p15:guide id="5" pos="5382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orient="horz" pos="1729" userDrawn="1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646C8A2-3D7D-9E4F-1586-267B77A9284C}"/>
              </a:ext>
            </a:extLst>
          </p:cNvPr>
          <p:cNvSpPr txBox="1"/>
          <p:nvPr userDrawn="1"/>
        </p:nvSpPr>
        <p:spPr>
          <a:xfrm>
            <a:off x="569119" y="5655662"/>
            <a:ext cx="11053762" cy="7958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Aft>
                <a:spcPts val="375"/>
              </a:spcAft>
            </a:pP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Z-clause –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Perferu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ptatati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d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is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magn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t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dolorep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rrorer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squ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era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nobi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er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bern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scipsan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tu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sitat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 Um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olesequat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cum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olenestr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ps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rr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des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nsedi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psandel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erios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numendi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isqu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sitioriatu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cca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dolupt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d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s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sus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simaiorr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t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xc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xperitibu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ntior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tota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ven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rsperumqu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bl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o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ad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maximpores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olor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a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rror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a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 Et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ni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ent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ulpari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di ne net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lam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asit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nobisquation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po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atu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re et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mnimu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sum et a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xped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un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 </a:t>
            </a:r>
          </a:p>
          <a:p>
            <a:pPr>
              <a:lnSpc>
                <a:spcPct val="100000"/>
              </a:lnSpc>
              <a:spcAft>
                <a:spcPts val="375"/>
              </a:spcAft>
            </a:pP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XXXXXXXXXX XX/XX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166374"/>
            <a:ext cx="3857625" cy="208275"/>
          </a:xfrm>
          <a:prstGeom prst="rect">
            <a:avLst/>
          </a:prstGeom>
        </p:spPr>
      </p:pic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374" y="2476842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088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ue Title Slide – shape 4">
    <p:bg>
      <p:bgPr>
        <a:solidFill>
          <a:srgbClr val="63B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6EE4895-4614-9983-947B-BAECBF5C084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317516" y="0"/>
            <a:ext cx="4887184" cy="6858000"/>
          </a:xfrm>
          <a:custGeom>
            <a:avLst/>
            <a:gdLst>
              <a:gd name="connsiteX0" fmla="*/ 0 w 4887184"/>
              <a:gd name="connsiteY0" fmla="*/ 0 h 6858000"/>
              <a:gd name="connsiteX1" fmla="*/ 4744499 w 4887184"/>
              <a:gd name="connsiteY1" fmla="*/ 0 h 6858000"/>
              <a:gd name="connsiteX2" fmla="*/ 4879783 w 4887184"/>
              <a:gd name="connsiteY2" fmla="*/ 0 h 6858000"/>
              <a:gd name="connsiteX3" fmla="*/ 4887184 w 4887184"/>
              <a:gd name="connsiteY3" fmla="*/ 0 h 6858000"/>
              <a:gd name="connsiteX4" fmla="*/ 4887184 w 4887184"/>
              <a:gd name="connsiteY4" fmla="*/ 6858000 h 6858000"/>
              <a:gd name="connsiteX5" fmla="*/ 4879783 w 4887184"/>
              <a:gd name="connsiteY5" fmla="*/ 6858000 h 6858000"/>
              <a:gd name="connsiteX6" fmla="*/ 4744499 w 4887184"/>
              <a:gd name="connsiteY6" fmla="*/ 6858000 h 6858000"/>
              <a:gd name="connsiteX7" fmla="*/ 0 w 4887184"/>
              <a:gd name="connsiteY7" fmla="*/ 6858000 h 6858000"/>
              <a:gd name="connsiteX8" fmla="*/ 2765741 w 4887184"/>
              <a:gd name="connsiteY8" fmla="*/ 34290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7184" h="6858000">
                <a:moveTo>
                  <a:pt x="0" y="0"/>
                </a:moveTo>
                <a:lnTo>
                  <a:pt x="4744499" y="0"/>
                </a:lnTo>
                <a:lnTo>
                  <a:pt x="4879783" y="0"/>
                </a:lnTo>
                <a:lnTo>
                  <a:pt x="4887184" y="0"/>
                </a:lnTo>
                <a:lnTo>
                  <a:pt x="4887184" y="6858000"/>
                </a:lnTo>
                <a:lnTo>
                  <a:pt x="4879783" y="6858000"/>
                </a:lnTo>
                <a:lnTo>
                  <a:pt x="4744499" y="6858000"/>
                </a:lnTo>
                <a:lnTo>
                  <a:pt x="0" y="6858000"/>
                </a:lnTo>
                <a:lnTo>
                  <a:pt x="2765741" y="3429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insert picture</a:t>
            </a:r>
          </a:p>
          <a:p>
            <a:endParaRPr lang="en-GB"/>
          </a:p>
        </p:txBody>
      </p:sp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EC261A2-C7BD-0672-61C2-02612A82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42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261A2-C7BD-0672-61C2-02612A82E28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6FD99648-ECC6-5785-E9FF-D36ED7681B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725543"/>
            <a:ext cx="5508625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</a:t>
            </a:r>
            <a:br>
              <a:rPr lang="en-GB"/>
            </a:br>
            <a:r>
              <a:rPr lang="en-GB"/>
              <a:t>a two lin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26E7DED7-348B-BC85-9EF4-6297E64C34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1725613"/>
            <a:ext cx="5508625" cy="263525"/>
          </a:xfrm>
        </p:spPr>
        <p:txBody>
          <a:bodyPr/>
          <a:lstStyle/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4AD432D-7FC8-CBC9-FCAA-583E930898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4752000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305C0EC-1456-7C07-F1B1-5A62251FD0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5049000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721AB2-7E87-064C-96BB-FF2F789310BD}"/>
              </a:ext>
            </a:extLst>
          </p:cNvPr>
          <p:cNvSpPr txBox="1"/>
          <p:nvPr userDrawn="1"/>
        </p:nvSpPr>
        <p:spPr>
          <a:xfrm>
            <a:off x="9740348" y="3488635"/>
            <a:ext cx="0" cy="0"/>
          </a:xfrm>
          <a:prstGeom prst="rect">
            <a:avLst/>
          </a:prstGeom>
          <a:noFill/>
        </p:spPr>
        <p:txBody>
          <a:bodyPr wrap="none" lIns="50800" tIns="50800" rIns="50800" bIns="50800" rtlCol="0">
            <a:noAutofit/>
          </a:bodyPr>
          <a:lstStyle/>
          <a:p>
            <a:pPr algn="l"/>
            <a:endParaRPr lang="en-GB" kern="100" spc="-3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EEB26CAC-A4D0-89B1-9317-2D81212419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9199060F-4E73-8F28-4853-19AC0CD417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708000"/>
            <a:ext cx="5508625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C7865A4A-EEDE-E53E-6E06-1CE07F5EE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3484" y="605479"/>
            <a:ext cx="2169577" cy="583845"/>
            <a:chOff x="593484" y="605479"/>
            <a:chExt cx="2169577" cy="583845"/>
          </a:xfrm>
          <a:solidFill>
            <a:schemeClr val="tx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98B49F8-93C7-910E-2666-8D0A95E98C35}"/>
                </a:ext>
              </a:extLst>
            </p:cNvPr>
            <p:cNvSpPr/>
            <p:nvPr/>
          </p:nvSpPr>
          <p:spPr>
            <a:xfrm rot="-1199926">
              <a:off x="657683" y="669640"/>
              <a:ext cx="455795" cy="455524"/>
            </a:xfrm>
            <a:custGeom>
              <a:avLst/>
              <a:gdLst>
                <a:gd name="connsiteX0" fmla="*/ 0 w 455795"/>
                <a:gd name="connsiteY0" fmla="*/ 0 h 455524"/>
                <a:gd name="connsiteX1" fmla="*/ 455796 w 455795"/>
                <a:gd name="connsiteY1" fmla="*/ 0 h 455524"/>
                <a:gd name="connsiteX2" fmla="*/ 455796 w 455795"/>
                <a:gd name="connsiteY2" fmla="*/ 455524 h 455524"/>
                <a:gd name="connsiteX3" fmla="*/ 0 w 455795"/>
                <a:gd name="connsiteY3" fmla="*/ 455524 h 45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795" h="455524">
                  <a:moveTo>
                    <a:pt x="0" y="0"/>
                  </a:moveTo>
                  <a:lnTo>
                    <a:pt x="455796" y="0"/>
                  </a:lnTo>
                  <a:lnTo>
                    <a:pt x="455796" y="455524"/>
                  </a:lnTo>
                  <a:lnTo>
                    <a:pt x="0" y="455524"/>
                  </a:lnTo>
                  <a:close/>
                </a:path>
              </a:pathLst>
            </a:custGeom>
            <a:grp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8" name="Logo">
              <a:extLst>
                <a:ext uri="{FF2B5EF4-FFF2-40B4-BE49-F238E27FC236}">
                  <a16:creationId xmlns:a16="http://schemas.microsoft.com/office/drawing/2014/main" id="{E0E28AD8-DC9D-39A5-42D7-441623C43F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320071" y="745782"/>
              <a:ext cx="1441898" cy="397724"/>
              <a:chOff x="1320071" y="745782"/>
              <a:chExt cx="1441898" cy="397724"/>
            </a:xfrm>
            <a:grpFill/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2E651347-756C-75C5-F16D-D03745ED3DB3}"/>
                  </a:ext>
                </a:extLst>
              </p:cNvPr>
              <p:cNvSpPr/>
              <p:nvPr/>
            </p:nvSpPr>
            <p:spPr>
              <a:xfrm>
                <a:off x="1320071" y="747097"/>
                <a:ext cx="272293" cy="293823"/>
              </a:xfrm>
              <a:custGeom>
                <a:avLst/>
                <a:gdLst>
                  <a:gd name="connsiteX0" fmla="*/ 209811 w 272293"/>
                  <a:gd name="connsiteY0" fmla="*/ 288565 h 293823"/>
                  <a:gd name="connsiteX1" fmla="*/ 205207 w 272293"/>
                  <a:gd name="connsiteY1" fmla="*/ 283963 h 293823"/>
                  <a:gd name="connsiteX2" fmla="*/ 206522 w 272293"/>
                  <a:gd name="connsiteY2" fmla="*/ 249125 h 293823"/>
                  <a:gd name="connsiteX3" fmla="*/ 119704 w 272293"/>
                  <a:gd name="connsiteY3" fmla="*/ 293823 h 293823"/>
                  <a:gd name="connsiteX4" fmla="*/ 0 w 272293"/>
                  <a:gd name="connsiteY4" fmla="*/ 147898 h 293823"/>
                  <a:gd name="connsiteX5" fmla="*/ 121019 w 272293"/>
                  <a:gd name="connsiteY5" fmla="*/ 0 h 293823"/>
                  <a:gd name="connsiteX6" fmla="*/ 206522 w 272293"/>
                  <a:gd name="connsiteY6" fmla="*/ 42069 h 293823"/>
                  <a:gd name="connsiteX7" fmla="*/ 204549 w 272293"/>
                  <a:gd name="connsiteY7" fmla="*/ 10517 h 293823"/>
                  <a:gd name="connsiteX8" fmla="*/ 209153 w 272293"/>
                  <a:gd name="connsiteY8" fmla="*/ 5916 h 293823"/>
                  <a:gd name="connsiteX9" fmla="*/ 267690 w 272293"/>
                  <a:gd name="connsiteY9" fmla="*/ 5916 h 293823"/>
                  <a:gd name="connsiteX10" fmla="*/ 272294 w 272293"/>
                  <a:gd name="connsiteY10" fmla="*/ 10517 h 293823"/>
                  <a:gd name="connsiteX11" fmla="*/ 270320 w 272293"/>
                  <a:gd name="connsiteY11" fmla="*/ 146583 h 293823"/>
                  <a:gd name="connsiteX12" fmla="*/ 272294 w 272293"/>
                  <a:gd name="connsiteY12" fmla="*/ 284621 h 293823"/>
                  <a:gd name="connsiteX13" fmla="*/ 267690 w 272293"/>
                  <a:gd name="connsiteY13" fmla="*/ 289222 h 293823"/>
                  <a:gd name="connsiteX14" fmla="*/ 209811 w 272293"/>
                  <a:gd name="connsiteY14" fmla="*/ 289222 h 293823"/>
                  <a:gd name="connsiteX15" fmla="*/ 137462 w 272293"/>
                  <a:gd name="connsiteY15" fmla="*/ 247153 h 293823"/>
                  <a:gd name="connsiteX16" fmla="*/ 208495 w 272293"/>
                  <a:gd name="connsiteY16" fmla="*/ 148555 h 293823"/>
                  <a:gd name="connsiteX17" fmla="*/ 139435 w 272293"/>
                  <a:gd name="connsiteY17" fmla="*/ 46670 h 293823"/>
                  <a:gd name="connsiteX18" fmla="*/ 67745 w 272293"/>
                  <a:gd name="connsiteY18" fmla="*/ 143296 h 293823"/>
                  <a:gd name="connsiteX19" fmla="*/ 137462 w 272293"/>
                  <a:gd name="connsiteY19" fmla="*/ 247153 h 293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2293" h="293823">
                    <a:moveTo>
                      <a:pt x="209811" y="288565"/>
                    </a:moveTo>
                    <a:cubicBezTo>
                      <a:pt x="207838" y="288565"/>
                      <a:pt x="205207" y="286593"/>
                      <a:pt x="205207" y="283963"/>
                    </a:cubicBezTo>
                    <a:lnTo>
                      <a:pt x="206522" y="249125"/>
                    </a:lnTo>
                    <a:cubicBezTo>
                      <a:pt x="187449" y="277390"/>
                      <a:pt x="157851" y="293823"/>
                      <a:pt x="119704" y="293823"/>
                    </a:cubicBezTo>
                    <a:cubicBezTo>
                      <a:pt x="41436" y="293823"/>
                      <a:pt x="0" y="230063"/>
                      <a:pt x="0" y="147898"/>
                    </a:cubicBezTo>
                    <a:cubicBezTo>
                      <a:pt x="0" y="65732"/>
                      <a:pt x="45382" y="0"/>
                      <a:pt x="121019" y="0"/>
                    </a:cubicBezTo>
                    <a:cubicBezTo>
                      <a:pt x="158509" y="0"/>
                      <a:pt x="187449" y="14461"/>
                      <a:pt x="206522" y="42069"/>
                    </a:cubicBezTo>
                    <a:lnTo>
                      <a:pt x="204549" y="10517"/>
                    </a:lnTo>
                    <a:cubicBezTo>
                      <a:pt x="204549" y="8545"/>
                      <a:pt x="206522" y="5916"/>
                      <a:pt x="209153" y="5916"/>
                    </a:cubicBezTo>
                    <a:lnTo>
                      <a:pt x="267690" y="5916"/>
                    </a:lnTo>
                    <a:cubicBezTo>
                      <a:pt x="269663" y="5916"/>
                      <a:pt x="272294" y="7888"/>
                      <a:pt x="272294" y="10517"/>
                    </a:cubicBezTo>
                    <a:lnTo>
                      <a:pt x="270320" y="146583"/>
                    </a:lnTo>
                    <a:lnTo>
                      <a:pt x="272294" y="284621"/>
                    </a:lnTo>
                    <a:cubicBezTo>
                      <a:pt x="272294" y="286593"/>
                      <a:pt x="270320" y="289222"/>
                      <a:pt x="267690" y="289222"/>
                    </a:cubicBezTo>
                    <a:lnTo>
                      <a:pt x="209811" y="289222"/>
                    </a:lnTo>
                    <a:close/>
                    <a:moveTo>
                      <a:pt x="137462" y="247153"/>
                    </a:moveTo>
                    <a:cubicBezTo>
                      <a:pt x="182187" y="247153"/>
                      <a:pt x="207838" y="214287"/>
                      <a:pt x="208495" y="148555"/>
                    </a:cubicBezTo>
                    <a:cubicBezTo>
                      <a:pt x="209153" y="83480"/>
                      <a:pt x="183502" y="46670"/>
                      <a:pt x="139435" y="46670"/>
                    </a:cubicBezTo>
                    <a:cubicBezTo>
                      <a:pt x="90765" y="46013"/>
                      <a:pt x="67745" y="82823"/>
                      <a:pt x="67745" y="143296"/>
                    </a:cubicBezTo>
                    <a:cubicBezTo>
                      <a:pt x="67087" y="209029"/>
                      <a:pt x="90765" y="247153"/>
                      <a:pt x="137462" y="247153"/>
                    </a:cubicBezTo>
                    <a:close/>
                  </a:path>
                </a:pathLst>
              </a:custGeom>
              <a:grpFill/>
              <a:ln w="65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EA6A9287-2CCF-E85F-DCEB-0571F403E458}"/>
                  </a:ext>
                </a:extLst>
              </p:cNvPr>
              <p:cNvSpPr/>
              <p:nvPr/>
            </p:nvSpPr>
            <p:spPr>
              <a:xfrm>
                <a:off x="2200092" y="746439"/>
                <a:ext cx="278877" cy="295795"/>
              </a:xfrm>
              <a:custGeom>
                <a:avLst/>
                <a:gdLst>
                  <a:gd name="connsiteX0" fmla="*/ 140093 w 278877"/>
                  <a:gd name="connsiteY0" fmla="*/ 295795 h 295795"/>
                  <a:gd name="connsiteX1" fmla="*/ 0 w 278877"/>
                  <a:gd name="connsiteY1" fmla="*/ 148555 h 295795"/>
                  <a:gd name="connsiteX2" fmla="*/ 140093 w 278877"/>
                  <a:gd name="connsiteY2" fmla="*/ 0 h 295795"/>
                  <a:gd name="connsiteX3" fmla="*/ 278871 w 278877"/>
                  <a:gd name="connsiteY3" fmla="*/ 147240 h 295795"/>
                  <a:gd name="connsiteX4" fmla="*/ 140093 w 278877"/>
                  <a:gd name="connsiteY4" fmla="*/ 295795 h 295795"/>
                  <a:gd name="connsiteX5" fmla="*/ 140093 w 278877"/>
                  <a:gd name="connsiteY5" fmla="*/ 249125 h 295795"/>
                  <a:gd name="connsiteX6" fmla="*/ 211126 w 278877"/>
                  <a:gd name="connsiteY6" fmla="*/ 148555 h 295795"/>
                  <a:gd name="connsiteX7" fmla="*/ 139435 w 278877"/>
                  <a:gd name="connsiteY7" fmla="*/ 46670 h 295795"/>
                  <a:gd name="connsiteX8" fmla="*/ 67744 w 278877"/>
                  <a:gd name="connsiteY8" fmla="*/ 149212 h 295795"/>
                  <a:gd name="connsiteX9" fmla="*/ 140093 w 278877"/>
                  <a:gd name="connsiteY9" fmla="*/ 249125 h 295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8877" h="295795">
                    <a:moveTo>
                      <a:pt x="140093" y="295795"/>
                    </a:moveTo>
                    <a:cubicBezTo>
                      <a:pt x="50644" y="295795"/>
                      <a:pt x="0" y="237951"/>
                      <a:pt x="0" y="148555"/>
                    </a:cubicBezTo>
                    <a:cubicBezTo>
                      <a:pt x="0" y="59159"/>
                      <a:pt x="50644" y="0"/>
                      <a:pt x="140093" y="0"/>
                    </a:cubicBezTo>
                    <a:cubicBezTo>
                      <a:pt x="228884" y="0"/>
                      <a:pt x="278871" y="57844"/>
                      <a:pt x="278871" y="147240"/>
                    </a:cubicBezTo>
                    <a:cubicBezTo>
                      <a:pt x="279529" y="236636"/>
                      <a:pt x="229542" y="295795"/>
                      <a:pt x="140093" y="295795"/>
                    </a:cubicBezTo>
                    <a:close/>
                    <a:moveTo>
                      <a:pt x="140093" y="249125"/>
                    </a:moveTo>
                    <a:cubicBezTo>
                      <a:pt x="188106" y="249125"/>
                      <a:pt x="211126" y="216259"/>
                      <a:pt x="211126" y="148555"/>
                    </a:cubicBezTo>
                    <a:cubicBezTo>
                      <a:pt x="211126" y="81508"/>
                      <a:pt x="187449" y="46670"/>
                      <a:pt x="139435" y="46670"/>
                    </a:cubicBezTo>
                    <a:cubicBezTo>
                      <a:pt x="90764" y="47327"/>
                      <a:pt x="67744" y="82165"/>
                      <a:pt x="67744" y="149212"/>
                    </a:cubicBezTo>
                    <a:cubicBezTo>
                      <a:pt x="67744" y="215602"/>
                      <a:pt x="92080" y="249125"/>
                      <a:pt x="140093" y="249125"/>
                    </a:cubicBezTo>
                    <a:close/>
                  </a:path>
                </a:pathLst>
              </a:custGeom>
              <a:grpFill/>
              <a:ln w="65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EC2068DB-5618-1F73-C9EA-49E972A279BA}"/>
                  </a:ext>
                </a:extLst>
              </p:cNvPr>
              <p:cNvSpPr/>
              <p:nvPr/>
            </p:nvSpPr>
            <p:spPr>
              <a:xfrm>
                <a:off x="2505272" y="745782"/>
                <a:ext cx="254535" cy="289879"/>
              </a:xfrm>
              <a:custGeom>
                <a:avLst/>
                <a:gdLst>
                  <a:gd name="connsiteX0" fmla="*/ 4604 w 254535"/>
                  <a:gd name="connsiteY0" fmla="*/ 289879 h 289879"/>
                  <a:gd name="connsiteX1" fmla="*/ 0 w 254535"/>
                  <a:gd name="connsiteY1" fmla="*/ 285278 h 289879"/>
                  <a:gd name="connsiteX2" fmla="*/ 1973 w 254535"/>
                  <a:gd name="connsiteY2" fmla="*/ 156443 h 289879"/>
                  <a:gd name="connsiteX3" fmla="*/ 1316 w 254535"/>
                  <a:gd name="connsiteY3" fmla="*/ 11175 h 289879"/>
                  <a:gd name="connsiteX4" fmla="*/ 5919 w 254535"/>
                  <a:gd name="connsiteY4" fmla="*/ 6573 h 289879"/>
                  <a:gd name="connsiteX5" fmla="*/ 61167 w 254535"/>
                  <a:gd name="connsiteY5" fmla="*/ 6573 h 289879"/>
                  <a:gd name="connsiteX6" fmla="*/ 65771 w 254535"/>
                  <a:gd name="connsiteY6" fmla="*/ 11175 h 289879"/>
                  <a:gd name="connsiteX7" fmla="*/ 63798 w 254535"/>
                  <a:gd name="connsiteY7" fmla="*/ 47985 h 289879"/>
                  <a:gd name="connsiteX8" fmla="*/ 156536 w 254535"/>
                  <a:gd name="connsiteY8" fmla="*/ 0 h 289879"/>
                  <a:gd name="connsiteX9" fmla="*/ 253220 w 254535"/>
                  <a:gd name="connsiteY9" fmla="*/ 111088 h 289879"/>
                  <a:gd name="connsiteX10" fmla="*/ 253220 w 254535"/>
                  <a:gd name="connsiteY10" fmla="*/ 169589 h 289879"/>
                  <a:gd name="connsiteX11" fmla="*/ 254535 w 254535"/>
                  <a:gd name="connsiteY11" fmla="*/ 285278 h 289879"/>
                  <a:gd name="connsiteX12" fmla="*/ 249931 w 254535"/>
                  <a:gd name="connsiteY12" fmla="*/ 289879 h 289879"/>
                  <a:gd name="connsiteX13" fmla="*/ 191395 w 254535"/>
                  <a:gd name="connsiteY13" fmla="*/ 289879 h 289879"/>
                  <a:gd name="connsiteX14" fmla="*/ 186791 w 254535"/>
                  <a:gd name="connsiteY14" fmla="*/ 285278 h 289879"/>
                  <a:gd name="connsiteX15" fmla="*/ 188106 w 254535"/>
                  <a:gd name="connsiteY15" fmla="*/ 169589 h 289879"/>
                  <a:gd name="connsiteX16" fmla="*/ 188106 w 254535"/>
                  <a:gd name="connsiteY16" fmla="*/ 113059 h 289879"/>
                  <a:gd name="connsiteX17" fmla="*/ 136147 w 254535"/>
                  <a:gd name="connsiteY17" fmla="*/ 51928 h 289879"/>
                  <a:gd name="connsiteX18" fmla="*/ 66429 w 254535"/>
                  <a:gd name="connsiteY18" fmla="*/ 138695 h 289879"/>
                  <a:gd name="connsiteX19" fmla="*/ 66429 w 254535"/>
                  <a:gd name="connsiteY19" fmla="*/ 169589 h 289879"/>
                  <a:gd name="connsiteX20" fmla="*/ 67744 w 254535"/>
                  <a:gd name="connsiteY20" fmla="*/ 285278 h 289879"/>
                  <a:gd name="connsiteX21" fmla="*/ 63141 w 254535"/>
                  <a:gd name="connsiteY21" fmla="*/ 289879 h 289879"/>
                  <a:gd name="connsiteX22" fmla="*/ 4604 w 254535"/>
                  <a:gd name="connsiteY22" fmla="*/ 289879 h 289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54535" h="289879">
                    <a:moveTo>
                      <a:pt x="4604" y="289879"/>
                    </a:moveTo>
                    <a:cubicBezTo>
                      <a:pt x="2631" y="289879"/>
                      <a:pt x="0" y="287907"/>
                      <a:pt x="0" y="285278"/>
                    </a:cubicBezTo>
                    <a:lnTo>
                      <a:pt x="1973" y="156443"/>
                    </a:lnTo>
                    <a:lnTo>
                      <a:pt x="1316" y="11175"/>
                    </a:lnTo>
                    <a:cubicBezTo>
                      <a:pt x="1316" y="9203"/>
                      <a:pt x="3289" y="6573"/>
                      <a:pt x="5919" y="6573"/>
                    </a:cubicBezTo>
                    <a:lnTo>
                      <a:pt x="61167" y="6573"/>
                    </a:lnTo>
                    <a:cubicBezTo>
                      <a:pt x="63141" y="6573"/>
                      <a:pt x="65771" y="8545"/>
                      <a:pt x="65771" y="11175"/>
                    </a:cubicBezTo>
                    <a:lnTo>
                      <a:pt x="63798" y="47985"/>
                    </a:lnTo>
                    <a:cubicBezTo>
                      <a:pt x="82214" y="21692"/>
                      <a:pt x="114442" y="0"/>
                      <a:pt x="156536" y="0"/>
                    </a:cubicBezTo>
                    <a:cubicBezTo>
                      <a:pt x="215073" y="0"/>
                      <a:pt x="253220" y="39439"/>
                      <a:pt x="253220" y="111088"/>
                    </a:cubicBezTo>
                    <a:lnTo>
                      <a:pt x="253220" y="169589"/>
                    </a:lnTo>
                    <a:lnTo>
                      <a:pt x="254535" y="285278"/>
                    </a:lnTo>
                    <a:cubicBezTo>
                      <a:pt x="254535" y="287250"/>
                      <a:pt x="252562" y="289879"/>
                      <a:pt x="249931" y="289879"/>
                    </a:cubicBezTo>
                    <a:lnTo>
                      <a:pt x="191395" y="289879"/>
                    </a:lnTo>
                    <a:cubicBezTo>
                      <a:pt x="189422" y="289879"/>
                      <a:pt x="186791" y="287907"/>
                      <a:pt x="186791" y="285278"/>
                    </a:cubicBezTo>
                    <a:lnTo>
                      <a:pt x="188106" y="169589"/>
                    </a:lnTo>
                    <a:lnTo>
                      <a:pt x="188106" y="113059"/>
                    </a:lnTo>
                    <a:cubicBezTo>
                      <a:pt x="188106" y="72963"/>
                      <a:pt x="166402" y="51928"/>
                      <a:pt x="136147" y="51928"/>
                    </a:cubicBezTo>
                    <a:cubicBezTo>
                      <a:pt x="103261" y="51928"/>
                      <a:pt x="71691" y="80193"/>
                      <a:pt x="66429" y="138695"/>
                    </a:cubicBezTo>
                    <a:lnTo>
                      <a:pt x="66429" y="169589"/>
                    </a:lnTo>
                    <a:lnTo>
                      <a:pt x="67744" y="285278"/>
                    </a:lnTo>
                    <a:cubicBezTo>
                      <a:pt x="67744" y="287250"/>
                      <a:pt x="65771" y="289879"/>
                      <a:pt x="63141" y="289879"/>
                    </a:cubicBezTo>
                    <a:lnTo>
                      <a:pt x="4604" y="289879"/>
                    </a:lnTo>
                    <a:close/>
                  </a:path>
                </a:pathLst>
              </a:custGeom>
              <a:grpFill/>
              <a:ln w="65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828D1FD6-0F55-4B23-A3C1-94CA3D11ACB0}"/>
                  </a:ext>
                </a:extLst>
              </p:cNvPr>
              <p:cNvSpPr/>
              <p:nvPr/>
            </p:nvSpPr>
            <p:spPr>
              <a:xfrm>
                <a:off x="1614069" y="745782"/>
                <a:ext cx="277555" cy="295795"/>
              </a:xfrm>
              <a:custGeom>
                <a:avLst/>
                <a:gdLst>
                  <a:gd name="connsiteX0" fmla="*/ 277555 w 277555"/>
                  <a:gd name="connsiteY0" fmla="*/ 155785 h 295795"/>
                  <a:gd name="connsiteX1" fmla="*/ 272951 w 277555"/>
                  <a:gd name="connsiteY1" fmla="*/ 160387 h 295795"/>
                  <a:gd name="connsiteX2" fmla="*/ 66429 w 277555"/>
                  <a:gd name="connsiteY2" fmla="*/ 160387 h 295795"/>
                  <a:gd name="connsiteX3" fmla="*/ 141409 w 277555"/>
                  <a:gd name="connsiteY3" fmla="*/ 249125 h 295795"/>
                  <a:gd name="connsiteX4" fmla="*/ 204549 w 277555"/>
                  <a:gd name="connsiteY4" fmla="*/ 203770 h 295795"/>
                  <a:gd name="connsiteX5" fmla="*/ 204549 w 277555"/>
                  <a:gd name="connsiteY5" fmla="*/ 203770 h 295795"/>
                  <a:gd name="connsiteX6" fmla="*/ 209811 w 277555"/>
                  <a:gd name="connsiteY6" fmla="*/ 199169 h 295795"/>
                  <a:gd name="connsiteX7" fmla="*/ 265059 w 277555"/>
                  <a:gd name="connsiteY7" fmla="*/ 199169 h 295795"/>
                  <a:gd name="connsiteX8" fmla="*/ 269005 w 277555"/>
                  <a:gd name="connsiteY8" fmla="*/ 203770 h 295795"/>
                  <a:gd name="connsiteX9" fmla="*/ 140093 w 277555"/>
                  <a:gd name="connsiteY9" fmla="*/ 295795 h 295795"/>
                  <a:gd name="connsiteX10" fmla="*/ 0 w 277555"/>
                  <a:gd name="connsiteY10" fmla="*/ 148555 h 295795"/>
                  <a:gd name="connsiteX11" fmla="*/ 138120 w 277555"/>
                  <a:gd name="connsiteY11" fmla="*/ 0 h 295795"/>
                  <a:gd name="connsiteX12" fmla="*/ 277555 w 277555"/>
                  <a:gd name="connsiteY12" fmla="*/ 155785 h 295795"/>
                  <a:gd name="connsiteX13" fmla="*/ 205864 w 277555"/>
                  <a:gd name="connsiteY13" fmla="*/ 115689 h 295795"/>
                  <a:gd name="connsiteX14" fmla="*/ 138778 w 277555"/>
                  <a:gd name="connsiteY14" fmla="*/ 46013 h 295795"/>
                  <a:gd name="connsiteX15" fmla="*/ 68402 w 277555"/>
                  <a:gd name="connsiteY15" fmla="*/ 115689 h 295795"/>
                  <a:gd name="connsiteX16" fmla="*/ 205864 w 277555"/>
                  <a:gd name="connsiteY16" fmla="*/ 115689 h 295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7555" h="295795">
                    <a:moveTo>
                      <a:pt x="277555" y="155785"/>
                    </a:moveTo>
                    <a:cubicBezTo>
                      <a:pt x="277555" y="157757"/>
                      <a:pt x="275582" y="160387"/>
                      <a:pt x="272951" y="160387"/>
                    </a:cubicBezTo>
                    <a:lnTo>
                      <a:pt x="66429" y="160387"/>
                    </a:lnTo>
                    <a:cubicBezTo>
                      <a:pt x="69060" y="220860"/>
                      <a:pt x="94053" y="249125"/>
                      <a:pt x="141409" y="249125"/>
                    </a:cubicBezTo>
                    <a:cubicBezTo>
                      <a:pt x="173637" y="249125"/>
                      <a:pt x="195341" y="234007"/>
                      <a:pt x="204549" y="203770"/>
                    </a:cubicBezTo>
                    <a:lnTo>
                      <a:pt x="204549" y="203770"/>
                    </a:lnTo>
                    <a:cubicBezTo>
                      <a:pt x="205207" y="201141"/>
                      <a:pt x="207838" y="199169"/>
                      <a:pt x="209811" y="199169"/>
                    </a:cubicBezTo>
                    <a:lnTo>
                      <a:pt x="265059" y="199169"/>
                    </a:lnTo>
                    <a:cubicBezTo>
                      <a:pt x="267032" y="199169"/>
                      <a:pt x="269663" y="201141"/>
                      <a:pt x="269005" y="203770"/>
                    </a:cubicBezTo>
                    <a:cubicBezTo>
                      <a:pt x="258482" y="255041"/>
                      <a:pt x="212442" y="295795"/>
                      <a:pt x="140093" y="295795"/>
                    </a:cubicBezTo>
                    <a:cubicBezTo>
                      <a:pt x="48671" y="295795"/>
                      <a:pt x="0" y="234664"/>
                      <a:pt x="0" y="148555"/>
                    </a:cubicBezTo>
                    <a:cubicBezTo>
                      <a:pt x="0" y="59159"/>
                      <a:pt x="51959" y="0"/>
                      <a:pt x="138120" y="0"/>
                    </a:cubicBezTo>
                    <a:cubicBezTo>
                      <a:pt x="226254" y="0"/>
                      <a:pt x="275582" y="59159"/>
                      <a:pt x="277555" y="155785"/>
                    </a:cubicBezTo>
                    <a:close/>
                    <a:moveTo>
                      <a:pt x="205864" y="115689"/>
                    </a:moveTo>
                    <a:cubicBezTo>
                      <a:pt x="203234" y="78879"/>
                      <a:pt x="182187" y="46013"/>
                      <a:pt x="138778" y="46013"/>
                    </a:cubicBezTo>
                    <a:cubicBezTo>
                      <a:pt x="99315" y="46013"/>
                      <a:pt x="75637" y="70334"/>
                      <a:pt x="68402" y="115689"/>
                    </a:cubicBezTo>
                    <a:lnTo>
                      <a:pt x="205864" y="115689"/>
                    </a:lnTo>
                    <a:close/>
                  </a:path>
                </a:pathLst>
              </a:custGeom>
              <a:grpFill/>
              <a:ln w="65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87DF840C-2307-80AC-B533-E7882537F522}"/>
                  </a:ext>
                </a:extLst>
              </p:cNvPr>
              <p:cNvSpPr/>
              <p:nvPr/>
            </p:nvSpPr>
            <p:spPr>
              <a:xfrm>
                <a:off x="1905436" y="747754"/>
                <a:ext cx="272293" cy="395752"/>
              </a:xfrm>
              <a:custGeom>
                <a:avLst/>
                <a:gdLst>
                  <a:gd name="connsiteX0" fmla="*/ 272294 w 272293"/>
                  <a:gd name="connsiteY0" fmla="*/ 9203 h 395752"/>
                  <a:gd name="connsiteX1" fmla="*/ 267690 w 272293"/>
                  <a:gd name="connsiteY1" fmla="*/ 4601 h 395752"/>
                  <a:gd name="connsiteX2" fmla="*/ 209811 w 272293"/>
                  <a:gd name="connsiteY2" fmla="*/ 4601 h 395752"/>
                  <a:gd name="connsiteX3" fmla="*/ 205207 w 272293"/>
                  <a:gd name="connsiteY3" fmla="*/ 9203 h 395752"/>
                  <a:gd name="connsiteX4" fmla="*/ 206522 w 272293"/>
                  <a:gd name="connsiteY4" fmla="*/ 40754 h 395752"/>
                  <a:gd name="connsiteX5" fmla="*/ 121677 w 272293"/>
                  <a:gd name="connsiteY5" fmla="*/ 0 h 395752"/>
                  <a:gd name="connsiteX6" fmla="*/ 0 w 272293"/>
                  <a:gd name="connsiteY6" fmla="*/ 144611 h 395752"/>
                  <a:gd name="connsiteX7" fmla="*/ 124308 w 272293"/>
                  <a:gd name="connsiteY7" fmla="*/ 285935 h 395752"/>
                  <a:gd name="connsiteX8" fmla="*/ 209153 w 272293"/>
                  <a:gd name="connsiteY8" fmla="*/ 241237 h 395752"/>
                  <a:gd name="connsiteX9" fmla="*/ 209153 w 272293"/>
                  <a:gd name="connsiteY9" fmla="*/ 273446 h 395752"/>
                  <a:gd name="connsiteX10" fmla="*/ 140093 w 272293"/>
                  <a:gd name="connsiteY10" fmla="*/ 349696 h 395752"/>
                  <a:gd name="connsiteX11" fmla="*/ 76953 w 272293"/>
                  <a:gd name="connsiteY11" fmla="*/ 312228 h 395752"/>
                  <a:gd name="connsiteX12" fmla="*/ 71691 w 272293"/>
                  <a:gd name="connsiteY12" fmla="*/ 307627 h 395752"/>
                  <a:gd name="connsiteX13" fmla="*/ 14470 w 272293"/>
                  <a:gd name="connsiteY13" fmla="*/ 307627 h 395752"/>
                  <a:gd name="connsiteX14" fmla="*/ 9866 w 272293"/>
                  <a:gd name="connsiteY14" fmla="*/ 312228 h 395752"/>
                  <a:gd name="connsiteX15" fmla="*/ 137462 w 272293"/>
                  <a:gd name="connsiteY15" fmla="*/ 395708 h 395752"/>
                  <a:gd name="connsiteX16" fmla="*/ 269663 w 272293"/>
                  <a:gd name="connsiteY16" fmla="*/ 274103 h 395752"/>
                  <a:gd name="connsiteX17" fmla="*/ 269005 w 272293"/>
                  <a:gd name="connsiteY17" fmla="*/ 135408 h 395752"/>
                  <a:gd name="connsiteX18" fmla="*/ 272294 w 272293"/>
                  <a:gd name="connsiteY18" fmla="*/ 9203 h 395752"/>
                  <a:gd name="connsiteX19" fmla="*/ 139435 w 272293"/>
                  <a:gd name="connsiteY19" fmla="*/ 240580 h 395752"/>
                  <a:gd name="connsiteX20" fmla="*/ 67745 w 272293"/>
                  <a:gd name="connsiteY20" fmla="*/ 141982 h 395752"/>
                  <a:gd name="connsiteX21" fmla="*/ 139435 w 272293"/>
                  <a:gd name="connsiteY21" fmla="*/ 46670 h 395752"/>
                  <a:gd name="connsiteX22" fmla="*/ 208495 w 272293"/>
                  <a:gd name="connsiteY22" fmla="*/ 147240 h 395752"/>
                  <a:gd name="connsiteX23" fmla="*/ 139435 w 272293"/>
                  <a:gd name="connsiteY23" fmla="*/ 240580 h 39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2293" h="395752">
                    <a:moveTo>
                      <a:pt x="272294" y="9203"/>
                    </a:moveTo>
                    <a:cubicBezTo>
                      <a:pt x="272294" y="7231"/>
                      <a:pt x="270321" y="4601"/>
                      <a:pt x="267690" y="4601"/>
                    </a:cubicBezTo>
                    <a:lnTo>
                      <a:pt x="209811" y="4601"/>
                    </a:lnTo>
                    <a:cubicBezTo>
                      <a:pt x="207838" y="4601"/>
                      <a:pt x="205207" y="6573"/>
                      <a:pt x="205207" y="9203"/>
                    </a:cubicBezTo>
                    <a:lnTo>
                      <a:pt x="206522" y="40754"/>
                    </a:lnTo>
                    <a:cubicBezTo>
                      <a:pt x="188106" y="14461"/>
                      <a:pt x="159167" y="0"/>
                      <a:pt x="121677" y="0"/>
                    </a:cubicBezTo>
                    <a:cubicBezTo>
                      <a:pt x="45382" y="0"/>
                      <a:pt x="0" y="65075"/>
                      <a:pt x="0" y="144611"/>
                    </a:cubicBezTo>
                    <a:cubicBezTo>
                      <a:pt x="0" y="224804"/>
                      <a:pt x="42094" y="285935"/>
                      <a:pt x="124308" y="285935"/>
                    </a:cubicBezTo>
                    <a:cubicBezTo>
                      <a:pt x="161798" y="285935"/>
                      <a:pt x="190080" y="269502"/>
                      <a:pt x="209153" y="241237"/>
                    </a:cubicBezTo>
                    <a:lnTo>
                      <a:pt x="209153" y="273446"/>
                    </a:lnTo>
                    <a:cubicBezTo>
                      <a:pt x="209153" y="326689"/>
                      <a:pt x="180871" y="349696"/>
                      <a:pt x="140093" y="349696"/>
                    </a:cubicBezTo>
                    <a:cubicBezTo>
                      <a:pt x="105892" y="349696"/>
                      <a:pt x="83530" y="337206"/>
                      <a:pt x="76953" y="312228"/>
                    </a:cubicBezTo>
                    <a:cubicBezTo>
                      <a:pt x="76295" y="309599"/>
                      <a:pt x="74322" y="307627"/>
                      <a:pt x="71691" y="307627"/>
                    </a:cubicBezTo>
                    <a:lnTo>
                      <a:pt x="14470" y="307627"/>
                    </a:lnTo>
                    <a:cubicBezTo>
                      <a:pt x="12497" y="307627"/>
                      <a:pt x="9866" y="309599"/>
                      <a:pt x="9866" y="312228"/>
                    </a:cubicBezTo>
                    <a:cubicBezTo>
                      <a:pt x="17758" y="369415"/>
                      <a:pt x="69718" y="397023"/>
                      <a:pt x="137462" y="395708"/>
                    </a:cubicBezTo>
                    <a:cubicBezTo>
                      <a:pt x="224281" y="395708"/>
                      <a:pt x="270321" y="350353"/>
                      <a:pt x="269663" y="274103"/>
                    </a:cubicBezTo>
                    <a:lnTo>
                      <a:pt x="269005" y="135408"/>
                    </a:lnTo>
                    <a:lnTo>
                      <a:pt x="272294" y="9203"/>
                    </a:lnTo>
                    <a:close/>
                    <a:moveTo>
                      <a:pt x="139435" y="240580"/>
                    </a:moveTo>
                    <a:cubicBezTo>
                      <a:pt x="92738" y="241237"/>
                      <a:pt x="67745" y="206399"/>
                      <a:pt x="67745" y="141982"/>
                    </a:cubicBezTo>
                    <a:cubicBezTo>
                      <a:pt x="67745" y="81508"/>
                      <a:pt x="92080" y="45355"/>
                      <a:pt x="139435" y="46670"/>
                    </a:cubicBezTo>
                    <a:cubicBezTo>
                      <a:pt x="184818" y="47327"/>
                      <a:pt x="209153" y="82823"/>
                      <a:pt x="208495" y="147240"/>
                    </a:cubicBezTo>
                    <a:cubicBezTo>
                      <a:pt x="207838" y="209686"/>
                      <a:pt x="182845" y="240580"/>
                      <a:pt x="139435" y="240580"/>
                    </a:cubicBezTo>
                    <a:close/>
                  </a:path>
                </a:pathLst>
              </a:custGeom>
              <a:grpFill/>
              <a:ln w="65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58196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378">
          <p15:clr>
            <a:srgbClr val="FBAE40"/>
          </p15:clr>
        </p15:guide>
        <p15:guide id="3" pos="3068">
          <p15:clr>
            <a:srgbClr val="FBAE40"/>
          </p15:clr>
        </p15:guide>
        <p15:guide id="4" pos="2298">
          <p15:clr>
            <a:srgbClr val="FBAE40"/>
          </p15:clr>
        </p15:guide>
        <p15:guide id="5" pos="3840">
          <p15:clr>
            <a:srgbClr val="FBAE40"/>
          </p15:clr>
        </p15:guide>
        <p15:guide id="6" pos="4611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slide C">
    <p:bg>
      <p:bgPr>
        <a:solidFill>
          <a:srgbClr val="E7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5D18788-F1A2-3C48-C2E3-CA90DFDA05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56114"/>
            <a:ext cx="12192000" cy="4101886"/>
          </a:xfrm>
          <a:custGeom>
            <a:avLst/>
            <a:gdLst>
              <a:gd name="connsiteX0" fmla="*/ 6091160 w 12182317"/>
              <a:gd name="connsiteY0" fmla="*/ 0 h 4101886"/>
              <a:gd name="connsiteX1" fmla="*/ 9855713 w 12182317"/>
              <a:gd name="connsiteY1" fmla="*/ 787770 h 4101886"/>
              <a:gd name="connsiteX2" fmla="*/ 12182317 w 12182317"/>
              <a:gd name="connsiteY2" fmla="*/ 2850337 h 4101886"/>
              <a:gd name="connsiteX3" fmla="*/ 12182317 w 12182317"/>
              <a:gd name="connsiteY3" fmla="*/ 4101886 h 4101886"/>
              <a:gd name="connsiteX4" fmla="*/ 0 w 12182317"/>
              <a:gd name="connsiteY4" fmla="*/ 4101886 h 4101886"/>
              <a:gd name="connsiteX5" fmla="*/ 0 w 12182317"/>
              <a:gd name="connsiteY5" fmla="*/ 2850337 h 4101886"/>
              <a:gd name="connsiteX6" fmla="*/ 2326603 w 12182317"/>
              <a:gd name="connsiteY6" fmla="*/ 787770 h 410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82317" h="4101886">
                <a:moveTo>
                  <a:pt x="6091160" y="0"/>
                </a:moveTo>
                <a:lnTo>
                  <a:pt x="9855713" y="787770"/>
                </a:lnTo>
                <a:lnTo>
                  <a:pt x="12182317" y="2850337"/>
                </a:lnTo>
                <a:lnTo>
                  <a:pt x="12182317" y="4101886"/>
                </a:lnTo>
                <a:lnTo>
                  <a:pt x="0" y="4101886"/>
                </a:lnTo>
                <a:lnTo>
                  <a:pt x="0" y="2850337"/>
                </a:lnTo>
                <a:lnTo>
                  <a:pt x="2326603" y="7877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                                                                                    Click to insert picture</a:t>
            </a:r>
            <a:br>
              <a:rPr lang="en-GB"/>
            </a:b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endParaRPr lang="en-GB"/>
          </a:p>
        </p:txBody>
      </p:sp>
      <p:sp>
        <p:nvSpPr>
          <p:cNvPr id="2" name="Shape" hidden="1">
            <a:extLst>
              <a:ext uri="{FF2B5EF4-FFF2-40B4-BE49-F238E27FC236}">
                <a16:creationId xmlns:a16="http://schemas.microsoft.com/office/drawing/2014/main" id="{8D7E805C-A191-9D75-9AB7-9D00344C6A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2332809"/>
            <a:ext cx="12192600" cy="4525192"/>
          </a:xfrm>
          <a:custGeom>
            <a:avLst/>
            <a:gdLst>
              <a:gd name="connsiteX0" fmla="*/ 6096604 w 12192600"/>
              <a:gd name="connsiteY0" fmla="*/ 0 h 4525192"/>
              <a:gd name="connsiteX1" fmla="*/ 9864298 w 12192600"/>
              <a:gd name="connsiteY1" fmla="*/ 881563 h 4525192"/>
              <a:gd name="connsiteX2" fmla="*/ 12192600 w 12192600"/>
              <a:gd name="connsiteY2" fmla="*/ 3188723 h 4525192"/>
              <a:gd name="connsiteX3" fmla="*/ 12192600 w 12192600"/>
              <a:gd name="connsiteY3" fmla="*/ 4525192 h 4525192"/>
              <a:gd name="connsiteX4" fmla="*/ 0 w 12192600"/>
              <a:gd name="connsiteY4" fmla="*/ 4525192 h 4525192"/>
              <a:gd name="connsiteX5" fmla="*/ 0 w 12192600"/>
              <a:gd name="connsiteY5" fmla="*/ 3189318 h 4525192"/>
              <a:gd name="connsiteX6" fmla="*/ 2328903 w 12192600"/>
              <a:gd name="connsiteY6" fmla="*/ 881563 h 4525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00" h="4525192">
                <a:moveTo>
                  <a:pt x="6096604" y="0"/>
                </a:moveTo>
                <a:lnTo>
                  <a:pt x="9864298" y="881563"/>
                </a:lnTo>
                <a:lnTo>
                  <a:pt x="12192600" y="3188723"/>
                </a:lnTo>
                <a:lnTo>
                  <a:pt x="12192600" y="4525192"/>
                </a:lnTo>
                <a:lnTo>
                  <a:pt x="0" y="4525192"/>
                </a:lnTo>
                <a:lnTo>
                  <a:pt x="0" y="3189318"/>
                </a:lnTo>
                <a:lnTo>
                  <a:pt x="2328903" y="881563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/>
          <a:p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8B1EA1A-C08F-3E4F-3AEA-367CD50C98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1930"/>
            <a:ext cx="7315653" cy="2152858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37AF4AF-F8C7-AD25-2300-BA79227C0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223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98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36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orient="horz" pos="3952">
          <p15:clr>
            <a:srgbClr val="FBAE40"/>
          </p15:clr>
        </p15:guide>
        <p15:guide id="9" pos="370">
          <p15:clr>
            <a:srgbClr val="FBAE40"/>
          </p15:clr>
        </p15:guide>
        <p15:guide id="10" pos="3069">
          <p15:clr>
            <a:srgbClr val="FBAE40"/>
          </p15:clr>
        </p15:guide>
        <p15:guide id="11" pos="4611">
          <p15:clr>
            <a:srgbClr val="FBAE40"/>
          </p15:clr>
        </p15:guide>
        <p15:guide id="12" pos="5382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hapter slide A">
    <p:bg>
      <p:bgPr>
        <a:solidFill>
          <a:srgbClr val="641E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F09083B-5845-F0EE-30D3-5E1FB77E50B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2744788"/>
            <a:ext cx="12191999" cy="4113212"/>
          </a:xfrm>
          <a:custGeom>
            <a:avLst/>
            <a:gdLst>
              <a:gd name="connsiteX0" fmla="*/ 6091160 w 12182317"/>
              <a:gd name="connsiteY0" fmla="*/ 0 h 3419557"/>
              <a:gd name="connsiteX1" fmla="*/ 12182317 w 12182317"/>
              <a:gd name="connsiteY1" fmla="*/ 1700585 h 3419557"/>
              <a:gd name="connsiteX2" fmla="*/ 12182317 w 12182317"/>
              <a:gd name="connsiteY2" fmla="*/ 3419557 h 3419557"/>
              <a:gd name="connsiteX3" fmla="*/ 0 w 12182317"/>
              <a:gd name="connsiteY3" fmla="*/ 3419557 h 3419557"/>
              <a:gd name="connsiteX4" fmla="*/ 0 w 12182317"/>
              <a:gd name="connsiteY4" fmla="*/ 1700585 h 3419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2317" h="3419557">
                <a:moveTo>
                  <a:pt x="6091160" y="0"/>
                </a:moveTo>
                <a:lnTo>
                  <a:pt x="12182317" y="1700585"/>
                </a:lnTo>
                <a:lnTo>
                  <a:pt x="12182317" y="3419557"/>
                </a:lnTo>
                <a:lnTo>
                  <a:pt x="0" y="3419557"/>
                </a:lnTo>
                <a:lnTo>
                  <a:pt x="0" y="170058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to insert pictur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2" name="Shape" hidden="1">
            <a:extLst>
              <a:ext uri="{FF2B5EF4-FFF2-40B4-BE49-F238E27FC236}">
                <a16:creationId xmlns:a16="http://schemas.microsoft.com/office/drawing/2014/main" id="{32E6E7D6-926B-D154-1477-2AFB06F665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2333625"/>
            <a:ext cx="12193200" cy="4533900"/>
          </a:xfrm>
          <a:custGeom>
            <a:avLst/>
            <a:gdLst>
              <a:gd name="connsiteX0" fmla="*/ 6096607 w 12193200"/>
              <a:gd name="connsiteY0" fmla="*/ 0 h 4533900"/>
              <a:gd name="connsiteX1" fmla="*/ 12193200 w 12193200"/>
              <a:gd name="connsiteY1" fmla="*/ 2202541 h 4533900"/>
              <a:gd name="connsiteX2" fmla="*/ 12193200 w 12193200"/>
              <a:gd name="connsiteY2" fmla="*/ 4533900 h 4533900"/>
              <a:gd name="connsiteX3" fmla="*/ 12191998 w 12193200"/>
              <a:gd name="connsiteY3" fmla="*/ 4533900 h 4533900"/>
              <a:gd name="connsiteX4" fmla="*/ 12191998 w 12193200"/>
              <a:gd name="connsiteY4" fmla="*/ 4524375 h 4533900"/>
              <a:gd name="connsiteX5" fmla="*/ 0 w 12193200"/>
              <a:gd name="connsiteY5" fmla="*/ 4524375 h 4533900"/>
              <a:gd name="connsiteX6" fmla="*/ 0 w 12193200"/>
              <a:gd name="connsiteY6" fmla="*/ 2202541 h 453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3200" h="4533900">
                <a:moveTo>
                  <a:pt x="6096607" y="0"/>
                </a:moveTo>
                <a:lnTo>
                  <a:pt x="12193200" y="2202541"/>
                </a:lnTo>
                <a:lnTo>
                  <a:pt x="12193200" y="4533900"/>
                </a:lnTo>
                <a:lnTo>
                  <a:pt x="12191998" y="4533900"/>
                </a:lnTo>
                <a:lnTo>
                  <a:pt x="12191998" y="4524375"/>
                </a:lnTo>
                <a:lnTo>
                  <a:pt x="0" y="4524375"/>
                </a:lnTo>
                <a:lnTo>
                  <a:pt x="0" y="2202541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/>
          <a:p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D2E157-3E18-9B9A-53A3-E864003A1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1930"/>
            <a:ext cx="7576910" cy="2152858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0F764E0D-5D2E-E385-6986-A5DFD432E9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396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pos="5382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orient="horz" pos="368">
          <p15:clr>
            <a:srgbClr val="FBAE40"/>
          </p15:clr>
        </p15:guide>
        <p15:guide id="10" orient="horz" pos="3952">
          <p15:clr>
            <a:srgbClr val="FBAE40"/>
          </p15:clr>
        </p15:guide>
        <p15:guide id="11" pos="370">
          <p15:clr>
            <a:srgbClr val="FBAE40"/>
          </p15:clr>
        </p15:guide>
        <p15:guide id="12" pos="7333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Shap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E3B1703B-FA9B-21D7-417A-9EAD9B319E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5595" y="0"/>
            <a:ext cx="3653670" cy="6858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74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24">
            <a:extLst>
              <a:ext uri="{FF2B5EF4-FFF2-40B4-BE49-F238E27FC236}">
                <a16:creationId xmlns:a16="http://schemas.microsoft.com/office/drawing/2014/main" id="{8AB35433-B050-D98F-95A3-6ADFAF064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2906939" cy="2880000"/>
          </a:xfrm>
        </p:spPr>
        <p:txBody>
          <a:bodyPr anchor="ctr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7F6A55F9-D85C-342B-B7AF-7F5087624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6" name="footnotes">
            <a:extLst>
              <a:ext uri="{FF2B5EF4-FFF2-40B4-BE49-F238E27FC236}">
                <a16:creationId xmlns:a16="http://schemas.microsoft.com/office/drawing/2014/main" id="{F8F8986E-AD8A-124F-001B-573B15FDE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8075" y="6102000"/>
            <a:ext cx="657592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D8FB1EBE-19BB-94F0-3F4C-BC200A2DF901}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095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xag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5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107155E9-29C0-4F5A-3B1A-054E2EF7F8D8}"/>
              </a:ext>
            </a:extLst>
          </p:cNvPr>
          <p:cNvGrpSpPr/>
          <p:nvPr userDrawn="1"/>
        </p:nvGrpSpPr>
        <p:grpSpPr>
          <a:xfrm>
            <a:off x="0" y="-243000"/>
            <a:ext cx="8572500" cy="7344000"/>
            <a:chOff x="0" y="-243000"/>
            <a:chExt cx="8572500" cy="73440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746C574-DFF9-47C9-8465-E472708D92D7}"/>
                </a:ext>
              </a:extLst>
            </p:cNvPr>
            <p:cNvGrpSpPr/>
            <p:nvPr userDrawn="1"/>
          </p:nvGrpSpPr>
          <p:grpSpPr>
            <a:xfrm>
              <a:off x="0" y="-243000"/>
              <a:ext cx="8572500" cy="180000"/>
              <a:chOff x="0" y="-2043000"/>
              <a:chExt cx="8572500" cy="10142533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210EDD7-E90A-5B0B-7DA0-41F3DB6C50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50% Mark">
                <a:extLst>
                  <a:ext uri="{FF2B5EF4-FFF2-40B4-BE49-F238E27FC236}">
                    <a16:creationId xmlns:a16="http://schemas.microsoft.com/office/drawing/2014/main" id="{0907C615-7953-B6BC-B232-117A3505D7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100% Mark">
                <a:extLst>
                  <a:ext uri="{FF2B5EF4-FFF2-40B4-BE49-F238E27FC236}">
                    <a16:creationId xmlns:a16="http://schemas.microsoft.com/office/drawing/2014/main" id="{A1870CA0-2057-F5FE-F291-517441788C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50% Mark">
                <a:extLst>
                  <a:ext uri="{FF2B5EF4-FFF2-40B4-BE49-F238E27FC236}">
                    <a16:creationId xmlns:a16="http://schemas.microsoft.com/office/drawing/2014/main" id="{9272DAEC-25F2-C107-BC7F-DEB28692EB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200% Mark">
                <a:extLst>
                  <a:ext uri="{FF2B5EF4-FFF2-40B4-BE49-F238E27FC236}">
                    <a16:creationId xmlns:a16="http://schemas.microsoft.com/office/drawing/2014/main" id="{9CD4C702-DE53-7369-FCA2-CA099703CC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250% Mark">
                <a:extLst>
                  <a:ext uri="{FF2B5EF4-FFF2-40B4-BE49-F238E27FC236}">
                    <a16:creationId xmlns:a16="http://schemas.microsoft.com/office/drawing/2014/main" id="{4A48A43B-A8D6-AB86-ED70-634A2B93BB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C85D123-A188-4A7D-5844-87CF77D86C91}"/>
                </a:ext>
              </a:extLst>
            </p:cNvPr>
            <p:cNvGrpSpPr/>
            <p:nvPr userDrawn="1"/>
          </p:nvGrpSpPr>
          <p:grpSpPr>
            <a:xfrm>
              <a:off x="0" y="6921000"/>
              <a:ext cx="8572500" cy="180000"/>
              <a:chOff x="0" y="-2043000"/>
              <a:chExt cx="8572500" cy="10142533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460F146-04EC-0F01-7040-9C3F0B6FA3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50% Mark">
                <a:extLst>
                  <a:ext uri="{FF2B5EF4-FFF2-40B4-BE49-F238E27FC236}">
                    <a16:creationId xmlns:a16="http://schemas.microsoft.com/office/drawing/2014/main" id="{8C333C07-FF82-9C27-D689-C080DCDC2F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100% Mark">
                <a:extLst>
                  <a:ext uri="{FF2B5EF4-FFF2-40B4-BE49-F238E27FC236}">
                    <a16:creationId xmlns:a16="http://schemas.microsoft.com/office/drawing/2014/main" id="{D1DC9600-412F-57C4-651A-A4B1423EFAD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150% Mark">
                <a:extLst>
                  <a:ext uri="{FF2B5EF4-FFF2-40B4-BE49-F238E27FC236}">
                    <a16:creationId xmlns:a16="http://schemas.microsoft.com/office/drawing/2014/main" id="{DB4DD0AB-49E8-6F63-A125-6CBA3B9E0A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200% Mark">
                <a:extLst>
                  <a:ext uri="{FF2B5EF4-FFF2-40B4-BE49-F238E27FC236}">
                    <a16:creationId xmlns:a16="http://schemas.microsoft.com/office/drawing/2014/main" id="{9F985A50-5519-D6DF-8B96-39A47A3A3D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250% Mark">
                <a:extLst>
                  <a:ext uri="{FF2B5EF4-FFF2-40B4-BE49-F238E27FC236}">
                    <a16:creationId xmlns:a16="http://schemas.microsoft.com/office/drawing/2014/main" id="{28480E8E-5094-5366-DA51-AA3F67F622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AC169E5-16B0-10D4-5B53-5FF1BDBBC8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8193" y="1773000"/>
            <a:ext cx="7582946" cy="431923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650C64-D872-AD2C-9700-2773C86DE6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8193" y="1075636"/>
            <a:ext cx="7582943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2924D50-C209-CFBF-2D4E-2FC62B71E3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8193" y="596235"/>
            <a:ext cx="7582943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One line master title style hea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CD712-6FAF-5FDE-6B79-FCA56C826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34A39A2A-0F29-178B-687F-4086C24C4D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-8711" y="0"/>
            <a:ext cx="3656786" cy="6858000"/>
          </a:xfrm>
          <a:prstGeom prst="rect">
            <a:avLst/>
          </a:prstGeom>
        </p:spPr>
      </p:pic>
      <p:pic>
        <p:nvPicPr>
          <p:cNvPr id="8" name="Logo">
            <a:extLst>
              <a:ext uri="{FF2B5EF4-FFF2-40B4-BE49-F238E27FC236}">
                <a16:creationId xmlns:a16="http://schemas.microsoft.com/office/drawing/2014/main" id="{39273CA8-BE2E-8DF0-0E20-3DCA45037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10" name="footnotes">
            <a:extLst>
              <a:ext uri="{FF2B5EF4-FFF2-40B4-BE49-F238E27FC236}">
                <a16:creationId xmlns:a16="http://schemas.microsoft.com/office/drawing/2014/main" id="{88766D66-80DF-CFA4-6500-8193E011B4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8193" y="6102000"/>
            <a:ext cx="6165806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3F28D0E1-CC1C-26A8-8FEA-FC95BD3D8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-1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C8288AA7-680E-FD75-F1FD-4B7D5D578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373" y="2000250"/>
            <a:ext cx="2736000" cy="285840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3600">
                <a:latin typeface="+mj-lt"/>
              </a:defRPr>
            </a:lvl1pPr>
          </a:lstStyle>
          <a:p>
            <a:pPr>
              <a:buClrTx/>
              <a:buFontTx/>
            </a:pPr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46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15582CB-1058-7B1F-9A9F-814916DDED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3"/>
            <a:ext cx="6112786" cy="6875466"/>
          </a:xfrm>
          <a:custGeom>
            <a:avLst/>
            <a:gdLst>
              <a:gd name="connsiteX0" fmla="*/ 0 w 6112786"/>
              <a:gd name="connsiteY0" fmla="*/ 0 h 6875466"/>
              <a:gd name="connsiteX1" fmla="*/ 3777753 w 6112786"/>
              <a:gd name="connsiteY1" fmla="*/ 657533 h 6875466"/>
              <a:gd name="connsiteX2" fmla="*/ 6112786 w 6112786"/>
              <a:gd name="connsiteY2" fmla="*/ 2379113 h 6875466"/>
              <a:gd name="connsiteX3" fmla="*/ 6112786 w 6112786"/>
              <a:gd name="connsiteY3" fmla="*/ 4506705 h 6875466"/>
              <a:gd name="connsiteX4" fmla="*/ 3777753 w 6112786"/>
              <a:gd name="connsiteY4" fmla="*/ 6228284 h 6875466"/>
              <a:gd name="connsiteX5" fmla="*/ 59475 w 6112786"/>
              <a:gd name="connsiteY5" fmla="*/ 6875466 h 6875466"/>
              <a:gd name="connsiteX6" fmla="*/ 0 w 6112786"/>
              <a:gd name="connsiteY6" fmla="*/ 6875466 h 6875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12786" h="6875466">
                <a:moveTo>
                  <a:pt x="0" y="0"/>
                </a:moveTo>
                <a:lnTo>
                  <a:pt x="3777753" y="657533"/>
                </a:lnTo>
                <a:lnTo>
                  <a:pt x="6112786" y="2379113"/>
                </a:lnTo>
                <a:lnTo>
                  <a:pt x="6112786" y="4506705"/>
                </a:lnTo>
                <a:lnTo>
                  <a:pt x="3777753" y="6228284"/>
                </a:lnTo>
                <a:lnTo>
                  <a:pt x="59475" y="6875466"/>
                </a:lnTo>
                <a:lnTo>
                  <a:pt x="0" y="6875466"/>
                </a:lnTo>
                <a:close/>
              </a:path>
            </a:pathLst>
          </a:custGeom>
          <a:solidFill>
            <a:srgbClr val="CAC8C2"/>
          </a:solidFill>
        </p:spPr>
        <p:txBody>
          <a:bodyPr wrap="square" anchor="ctr">
            <a:noAutofit/>
          </a:bodyPr>
          <a:lstStyle/>
          <a:p>
            <a:r>
              <a:rPr lang="en-GB"/>
              <a:t>Click to insert picture</a:t>
            </a:r>
          </a:p>
        </p:txBody>
      </p:sp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4BB2B7E-1122-64B9-8FB7-E6C5D5C1C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99FF496B-EF9B-37F5-435B-4728F34AA9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27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5382">
          <p15:clr>
            <a:srgbClr val="FBAE40"/>
          </p15:clr>
        </p15:guide>
        <p15:guide id="5" pos="3069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pos="370">
          <p15:clr>
            <a:srgbClr val="FBAE40"/>
          </p15:clr>
        </p15:guide>
        <p15:guide id="10" pos="7333">
          <p15:clr>
            <a:srgbClr val="FBAE40"/>
          </p15:clr>
        </p15:guide>
        <p15:guide id="11" orient="horz" pos="368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ctagon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233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F5A64A-E4A0-D87C-3DA3-2D8C1E5A5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1527" y="1798983"/>
            <a:ext cx="5309610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E33C2B6-B18D-0C9B-A882-2E94AC1C92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1527" y="1075636"/>
            <a:ext cx="530960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FFA3F07-A4C8-482C-13EB-B4B5D62A5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1528" y="596235"/>
            <a:ext cx="530960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8BFCDDB7-6051-0D4A-26CE-31F49C5ACB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7375" y="596235"/>
            <a:ext cx="5508625" cy="5689559"/>
          </a:xfrm>
          <a:custGeom>
            <a:avLst/>
            <a:gdLst>
              <a:gd name="connsiteX0" fmla="*/ 0 w 6836942"/>
              <a:gd name="connsiteY0" fmla="*/ 0 h 6857999"/>
              <a:gd name="connsiteX1" fmla="*/ 3318198 w 6836942"/>
              <a:gd name="connsiteY1" fmla="*/ 0 h 6857999"/>
              <a:gd name="connsiteX2" fmla="*/ 3412392 w 6836942"/>
              <a:gd name="connsiteY2" fmla="*/ 0 h 6857999"/>
              <a:gd name="connsiteX3" fmla="*/ 3424168 w 6836942"/>
              <a:gd name="connsiteY3" fmla="*/ 0 h 6857999"/>
              <a:gd name="connsiteX4" fmla="*/ 3518744 w 6836942"/>
              <a:gd name="connsiteY4" fmla="*/ 0 h 6857999"/>
              <a:gd name="connsiteX5" fmla="*/ 6836942 w 6836942"/>
              <a:gd name="connsiteY5" fmla="*/ 0 h 6857999"/>
              <a:gd name="connsiteX6" fmla="*/ 4902466 w 6836942"/>
              <a:gd name="connsiteY6" fmla="*/ 3428999 h 6857999"/>
              <a:gd name="connsiteX7" fmla="*/ 6836942 w 6836942"/>
              <a:gd name="connsiteY7" fmla="*/ 6857999 h 6857999"/>
              <a:gd name="connsiteX8" fmla="*/ 3518744 w 6836942"/>
              <a:gd name="connsiteY8" fmla="*/ 6857999 h 6857999"/>
              <a:gd name="connsiteX9" fmla="*/ 3424168 w 6836942"/>
              <a:gd name="connsiteY9" fmla="*/ 6857999 h 6857999"/>
              <a:gd name="connsiteX10" fmla="*/ 3412392 w 6836942"/>
              <a:gd name="connsiteY10" fmla="*/ 6857999 h 6857999"/>
              <a:gd name="connsiteX11" fmla="*/ 3318198 w 6836942"/>
              <a:gd name="connsiteY11" fmla="*/ 6857999 h 6857999"/>
              <a:gd name="connsiteX12" fmla="*/ 0 w 6836942"/>
              <a:gd name="connsiteY12" fmla="*/ 6857999 h 6857999"/>
              <a:gd name="connsiteX13" fmla="*/ 1934095 w 6836942"/>
              <a:gd name="connsiteY13" fmla="*/ 3428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36942" h="6857999">
                <a:moveTo>
                  <a:pt x="0" y="0"/>
                </a:moveTo>
                <a:lnTo>
                  <a:pt x="3318198" y="0"/>
                </a:lnTo>
                <a:lnTo>
                  <a:pt x="3412392" y="0"/>
                </a:lnTo>
                <a:lnTo>
                  <a:pt x="3424168" y="0"/>
                </a:lnTo>
                <a:lnTo>
                  <a:pt x="3518744" y="0"/>
                </a:lnTo>
                <a:lnTo>
                  <a:pt x="6836942" y="0"/>
                </a:lnTo>
                <a:lnTo>
                  <a:pt x="4902466" y="3428999"/>
                </a:lnTo>
                <a:lnTo>
                  <a:pt x="6836942" y="6857999"/>
                </a:lnTo>
                <a:lnTo>
                  <a:pt x="3518744" y="6857999"/>
                </a:lnTo>
                <a:lnTo>
                  <a:pt x="3424168" y="6857999"/>
                </a:lnTo>
                <a:lnTo>
                  <a:pt x="3412392" y="6857999"/>
                </a:lnTo>
                <a:lnTo>
                  <a:pt x="3318198" y="6857999"/>
                </a:lnTo>
                <a:lnTo>
                  <a:pt x="0" y="6857999"/>
                </a:lnTo>
                <a:lnTo>
                  <a:pt x="1934095" y="3428999"/>
                </a:lnTo>
                <a:close/>
              </a:path>
            </a:pathLst>
          </a:custGeom>
          <a:solidFill>
            <a:srgbClr val="CAC8C2"/>
          </a:solidFill>
        </p:spPr>
        <p:txBody>
          <a:bodyPr wrap="square" lIns="201600" tIns="201600" rIns="201600" bIns="20160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insert an imag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409B11E5-48BC-B027-DA6A-0824D32A6F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4" name="footnotes">
            <a:extLst>
              <a:ext uri="{FF2B5EF4-FFF2-40B4-BE49-F238E27FC236}">
                <a16:creationId xmlns:a16="http://schemas.microsoft.com/office/drawing/2014/main" id="{5DB03927-783E-6480-4564-90A2C39F8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1527" y="6102000"/>
            <a:ext cx="3892472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4110321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3" name="Picture Placeholder 20">
            <a:extLst>
              <a:ext uri="{FF2B5EF4-FFF2-40B4-BE49-F238E27FC236}">
                <a16:creationId xmlns:a16="http://schemas.microsoft.com/office/drawing/2014/main" id="{4D0016D6-1C0E-AD47-ED25-C78CC55682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597126"/>
            <a:ext cx="5543807" cy="5676674"/>
          </a:xfrm>
          <a:custGeom>
            <a:avLst/>
            <a:gdLst>
              <a:gd name="connsiteX0" fmla="*/ 1892106 w 6459796"/>
              <a:gd name="connsiteY0" fmla="*/ 0 h 6459796"/>
              <a:gd name="connsiteX1" fmla="*/ 4567690 w 6459796"/>
              <a:gd name="connsiteY1" fmla="*/ 0 h 6459796"/>
              <a:gd name="connsiteX2" fmla="*/ 6459796 w 6459796"/>
              <a:gd name="connsiteY2" fmla="*/ 1892106 h 6459796"/>
              <a:gd name="connsiteX3" fmla="*/ 6459796 w 6459796"/>
              <a:gd name="connsiteY3" fmla="*/ 4567690 h 6459796"/>
              <a:gd name="connsiteX4" fmla="*/ 4567690 w 6459796"/>
              <a:gd name="connsiteY4" fmla="*/ 6459796 h 6459796"/>
              <a:gd name="connsiteX5" fmla="*/ 1892106 w 6459796"/>
              <a:gd name="connsiteY5" fmla="*/ 6459796 h 6459796"/>
              <a:gd name="connsiteX6" fmla="*/ 0 w 6459796"/>
              <a:gd name="connsiteY6" fmla="*/ 4567690 h 6459796"/>
              <a:gd name="connsiteX7" fmla="*/ 0 w 6459796"/>
              <a:gd name="connsiteY7" fmla="*/ 1892106 h 645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59796" h="6459796">
                <a:moveTo>
                  <a:pt x="1892106" y="0"/>
                </a:moveTo>
                <a:lnTo>
                  <a:pt x="4567690" y="0"/>
                </a:lnTo>
                <a:lnTo>
                  <a:pt x="6459796" y="1892106"/>
                </a:lnTo>
                <a:lnTo>
                  <a:pt x="6459796" y="4567690"/>
                </a:lnTo>
                <a:lnTo>
                  <a:pt x="4567690" y="6459796"/>
                </a:lnTo>
                <a:lnTo>
                  <a:pt x="1892106" y="6459796"/>
                </a:lnTo>
                <a:lnTo>
                  <a:pt x="0" y="4567690"/>
                </a:lnTo>
                <a:lnTo>
                  <a:pt x="0" y="1892106"/>
                </a:lnTo>
                <a:close/>
              </a:path>
            </a:pathLst>
          </a:custGeom>
          <a:solidFill>
            <a:srgbClr val="CAC8C2"/>
          </a:solidFill>
        </p:spPr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E9A298C-07CA-F134-C3C8-D3F72B21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9" name="footnotes">
            <a:extLst>
              <a:ext uri="{FF2B5EF4-FFF2-40B4-BE49-F238E27FC236}">
                <a16:creationId xmlns:a16="http://schemas.microsoft.com/office/drawing/2014/main" id="{07A7F6E9-1BEA-8C95-8A28-731013871F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518293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hapter slide C">
    <p:bg>
      <p:bgPr>
        <a:solidFill>
          <a:srgbClr val="FA6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" hidden="1">
            <a:extLst>
              <a:ext uri="{FF2B5EF4-FFF2-40B4-BE49-F238E27FC236}">
                <a16:creationId xmlns:a16="http://schemas.microsoft.com/office/drawing/2014/main" id="{8D7E805C-A191-9D75-9AB7-9D00344C6A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2332809"/>
            <a:ext cx="12192600" cy="4525192"/>
          </a:xfrm>
          <a:custGeom>
            <a:avLst/>
            <a:gdLst>
              <a:gd name="connsiteX0" fmla="*/ 6096604 w 12192600"/>
              <a:gd name="connsiteY0" fmla="*/ 0 h 4525192"/>
              <a:gd name="connsiteX1" fmla="*/ 9864298 w 12192600"/>
              <a:gd name="connsiteY1" fmla="*/ 881563 h 4525192"/>
              <a:gd name="connsiteX2" fmla="*/ 12192600 w 12192600"/>
              <a:gd name="connsiteY2" fmla="*/ 3188723 h 4525192"/>
              <a:gd name="connsiteX3" fmla="*/ 12192600 w 12192600"/>
              <a:gd name="connsiteY3" fmla="*/ 4525192 h 4525192"/>
              <a:gd name="connsiteX4" fmla="*/ 0 w 12192600"/>
              <a:gd name="connsiteY4" fmla="*/ 4525192 h 4525192"/>
              <a:gd name="connsiteX5" fmla="*/ 0 w 12192600"/>
              <a:gd name="connsiteY5" fmla="*/ 3189318 h 4525192"/>
              <a:gd name="connsiteX6" fmla="*/ 2328903 w 12192600"/>
              <a:gd name="connsiteY6" fmla="*/ 881563 h 4525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00" h="4525192">
                <a:moveTo>
                  <a:pt x="6096604" y="0"/>
                </a:moveTo>
                <a:lnTo>
                  <a:pt x="9864298" y="881563"/>
                </a:lnTo>
                <a:lnTo>
                  <a:pt x="12192600" y="3188723"/>
                </a:lnTo>
                <a:lnTo>
                  <a:pt x="12192600" y="4525192"/>
                </a:lnTo>
                <a:lnTo>
                  <a:pt x="0" y="4525192"/>
                </a:lnTo>
                <a:lnTo>
                  <a:pt x="0" y="3189318"/>
                </a:lnTo>
                <a:lnTo>
                  <a:pt x="2328903" y="881563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/>
          <a:p>
            <a:endParaRPr lang="en-GB"/>
          </a:p>
        </p:txBody>
      </p:sp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9B1E0F0E-F136-A3CE-233E-073DF907D78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56114"/>
            <a:ext cx="12192000" cy="4101886"/>
          </a:xfrm>
          <a:custGeom>
            <a:avLst/>
            <a:gdLst>
              <a:gd name="connsiteX0" fmla="*/ 6091160 w 12182317"/>
              <a:gd name="connsiteY0" fmla="*/ 0 h 4101886"/>
              <a:gd name="connsiteX1" fmla="*/ 9855713 w 12182317"/>
              <a:gd name="connsiteY1" fmla="*/ 787770 h 4101886"/>
              <a:gd name="connsiteX2" fmla="*/ 12182317 w 12182317"/>
              <a:gd name="connsiteY2" fmla="*/ 2850337 h 4101886"/>
              <a:gd name="connsiteX3" fmla="*/ 12182317 w 12182317"/>
              <a:gd name="connsiteY3" fmla="*/ 4101886 h 4101886"/>
              <a:gd name="connsiteX4" fmla="*/ 0 w 12182317"/>
              <a:gd name="connsiteY4" fmla="*/ 4101886 h 4101886"/>
              <a:gd name="connsiteX5" fmla="*/ 0 w 12182317"/>
              <a:gd name="connsiteY5" fmla="*/ 2850337 h 4101886"/>
              <a:gd name="connsiteX6" fmla="*/ 2326603 w 12182317"/>
              <a:gd name="connsiteY6" fmla="*/ 787770 h 410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82317" h="4101886">
                <a:moveTo>
                  <a:pt x="6091160" y="0"/>
                </a:moveTo>
                <a:lnTo>
                  <a:pt x="9855713" y="787770"/>
                </a:lnTo>
                <a:lnTo>
                  <a:pt x="12182317" y="2850337"/>
                </a:lnTo>
                <a:lnTo>
                  <a:pt x="12182317" y="4101886"/>
                </a:lnTo>
                <a:lnTo>
                  <a:pt x="0" y="4101886"/>
                </a:lnTo>
                <a:lnTo>
                  <a:pt x="0" y="2850337"/>
                </a:lnTo>
                <a:lnTo>
                  <a:pt x="2326603" y="7877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                                                                                    Click to insert picture</a:t>
            </a:r>
            <a:br>
              <a:rPr lang="en-GB"/>
            </a:b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78AEA89-5F49-18B9-C5F2-168B2BCEC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1930"/>
            <a:ext cx="7119710" cy="2152858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B9C7C8D1-F1A2-48BE-AA6F-7B7A42736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007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98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36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orient="horz" pos="3952">
          <p15:clr>
            <a:srgbClr val="FBAE40"/>
          </p15:clr>
        </p15:guide>
        <p15:guide id="9" pos="370">
          <p15:clr>
            <a:srgbClr val="FBAE40"/>
          </p15:clr>
        </p15:guide>
        <p15:guide id="10" pos="3069">
          <p15:clr>
            <a:srgbClr val="FBAE40"/>
          </p15:clr>
        </p15:guide>
        <p15:guide id="11" pos="4611">
          <p15:clr>
            <a:srgbClr val="FBAE40"/>
          </p15:clr>
        </p15:guide>
        <p15:guide id="12" pos="53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141591B4-B15A-5F11-763E-6BA96AAE2D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" y="0"/>
            <a:ext cx="3432517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4BB2B7E-1122-64B9-8FB7-E6C5D5C1C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92489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5B4E068C-B7B9-EE92-AAD5-82BAB27A63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3D2A0AD-A3A0-B9F9-275C-913C343AFE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452437" y="1135966"/>
            <a:ext cx="7772400" cy="4360984"/>
          </a:xfrm>
          <a:prstGeom prst="rect">
            <a:avLst/>
          </a:prstGeom>
        </p:spPr>
      </p:pic>
      <p:sp>
        <p:nvSpPr>
          <p:cNvPr id="7" name="Slide Number Static">
            <a:extLst>
              <a:ext uri="{FF2B5EF4-FFF2-40B4-BE49-F238E27FC236}">
                <a16:creationId xmlns:a16="http://schemas.microsoft.com/office/drawing/2014/main" id="{E46194CB-C62D-FBD6-FC1E-CC5F7F678E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4256321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hapter slide A">
    <p:bg>
      <p:bgPr>
        <a:solidFill>
          <a:srgbClr val="0B3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946BCA7-A06E-3E1B-AFEE-731C97E128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107638"/>
          </a:xfrm>
          <a:custGeom>
            <a:avLst/>
            <a:gdLst>
              <a:gd name="connsiteX0" fmla="*/ 0 w 12174926"/>
              <a:gd name="connsiteY0" fmla="*/ 0 h 4101886"/>
              <a:gd name="connsiteX1" fmla="*/ 12174926 w 12174926"/>
              <a:gd name="connsiteY1" fmla="*/ 0 h 4101886"/>
              <a:gd name="connsiteX2" fmla="*/ 12174926 w 12174926"/>
              <a:gd name="connsiteY2" fmla="*/ 1251549 h 4101886"/>
              <a:gd name="connsiteX3" fmla="*/ 9849734 w 12174926"/>
              <a:gd name="connsiteY3" fmla="*/ 3314116 h 4101886"/>
              <a:gd name="connsiteX4" fmla="*/ 6087463 w 12174926"/>
              <a:gd name="connsiteY4" fmla="*/ 4101886 h 4101886"/>
              <a:gd name="connsiteX5" fmla="*/ 2325192 w 12174926"/>
              <a:gd name="connsiteY5" fmla="*/ 3314116 h 4101886"/>
              <a:gd name="connsiteX6" fmla="*/ 0 w 12174926"/>
              <a:gd name="connsiteY6" fmla="*/ 1251549 h 410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74926" h="4101886">
                <a:moveTo>
                  <a:pt x="0" y="0"/>
                </a:moveTo>
                <a:lnTo>
                  <a:pt x="12174926" y="0"/>
                </a:lnTo>
                <a:lnTo>
                  <a:pt x="12174926" y="1251549"/>
                </a:lnTo>
                <a:lnTo>
                  <a:pt x="9849734" y="3314116"/>
                </a:lnTo>
                <a:lnTo>
                  <a:pt x="6087463" y="4101886"/>
                </a:lnTo>
                <a:lnTo>
                  <a:pt x="2325192" y="3314116"/>
                </a:lnTo>
                <a:lnTo>
                  <a:pt x="0" y="125154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2" name="Shape" hidden="1">
            <a:extLst>
              <a:ext uri="{FF2B5EF4-FFF2-40B4-BE49-F238E27FC236}">
                <a16:creationId xmlns:a16="http://schemas.microsoft.com/office/drawing/2014/main" id="{32E6E7D6-926B-D154-1477-2AFB06F665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2333625"/>
            <a:ext cx="12193200" cy="4533900"/>
          </a:xfrm>
          <a:custGeom>
            <a:avLst/>
            <a:gdLst>
              <a:gd name="connsiteX0" fmla="*/ 6096607 w 12193200"/>
              <a:gd name="connsiteY0" fmla="*/ 0 h 4533900"/>
              <a:gd name="connsiteX1" fmla="*/ 12193200 w 12193200"/>
              <a:gd name="connsiteY1" fmla="*/ 2202541 h 4533900"/>
              <a:gd name="connsiteX2" fmla="*/ 12193200 w 12193200"/>
              <a:gd name="connsiteY2" fmla="*/ 4533900 h 4533900"/>
              <a:gd name="connsiteX3" fmla="*/ 12191998 w 12193200"/>
              <a:gd name="connsiteY3" fmla="*/ 4533900 h 4533900"/>
              <a:gd name="connsiteX4" fmla="*/ 12191998 w 12193200"/>
              <a:gd name="connsiteY4" fmla="*/ 4524375 h 4533900"/>
              <a:gd name="connsiteX5" fmla="*/ 0 w 12193200"/>
              <a:gd name="connsiteY5" fmla="*/ 4524375 h 4533900"/>
              <a:gd name="connsiteX6" fmla="*/ 0 w 12193200"/>
              <a:gd name="connsiteY6" fmla="*/ 2202541 h 453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3200" h="4533900">
                <a:moveTo>
                  <a:pt x="6096607" y="0"/>
                </a:moveTo>
                <a:lnTo>
                  <a:pt x="12193200" y="2202541"/>
                </a:lnTo>
                <a:lnTo>
                  <a:pt x="12193200" y="4533900"/>
                </a:lnTo>
                <a:lnTo>
                  <a:pt x="12191998" y="4533900"/>
                </a:lnTo>
                <a:lnTo>
                  <a:pt x="12191998" y="4524375"/>
                </a:lnTo>
                <a:lnTo>
                  <a:pt x="0" y="4524375"/>
                </a:lnTo>
                <a:lnTo>
                  <a:pt x="0" y="2202541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/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00BB532-620D-96D6-C53D-D34F89759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4925391"/>
            <a:ext cx="5508625" cy="134840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chapter titl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96B6C4A2-905A-5CBA-0979-3592212F4E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lum bright="100000" contrast="-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389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pos="5382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orient="horz" pos="368">
          <p15:clr>
            <a:srgbClr val="FBAE40"/>
          </p15:clr>
        </p15:guide>
        <p15:guide id="10" orient="horz" pos="3952">
          <p15:clr>
            <a:srgbClr val="FBAE40"/>
          </p15:clr>
        </p15:guide>
        <p15:guide id="11" pos="370">
          <p15:clr>
            <a:srgbClr val="FBAE40"/>
          </p15:clr>
        </p15:guide>
        <p15:guide id="12" pos="7333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hapter slide A">
    <p:bg>
      <p:bgPr>
        <a:solidFill>
          <a:srgbClr val="63B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3D06861-B131-2591-19BF-E93CEC3575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104558"/>
          </a:xfrm>
          <a:custGeom>
            <a:avLst/>
            <a:gdLst>
              <a:gd name="connsiteX0" fmla="*/ 0 w 12184061"/>
              <a:gd name="connsiteY0" fmla="*/ 0 h 4101885"/>
              <a:gd name="connsiteX1" fmla="*/ 12184061 w 12184061"/>
              <a:gd name="connsiteY1" fmla="*/ 0 h 4101885"/>
              <a:gd name="connsiteX2" fmla="*/ 12184061 w 12184061"/>
              <a:gd name="connsiteY2" fmla="*/ 2061970 h 4101885"/>
              <a:gd name="connsiteX3" fmla="*/ 6088060 w 12184061"/>
              <a:gd name="connsiteY3" fmla="*/ 4101885 h 4101885"/>
              <a:gd name="connsiteX4" fmla="*/ 0 w 12184061"/>
              <a:gd name="connsiteY4" fmla="*/ 2064627 h 4101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4061" h="4101885">
                <a:moveTo>
                  <a:pt x="0" y="0"/>
                </a:moveTo>
                <a:lnTo>
                  <a:pt x="12184061" y="0"/>
                </a:lnTo>
                <a:lnTo>
                  <a:pt x="12184061" y="2061970"/>
                </a:lnTo>
                <a:lnTo>
                  <a:pt x="6088060" y="4101885"/>
                </a:lnTo>
                <a:lnTo>
                  <a:pt x="0" y="206462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66EA604-8D93-CF97-513A-CCD2CD751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4925391"/>
            <a:ext cx="9797596" cy="134840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sp>
        <p:nvSpPr>
          <p:cNvPr id="2" name="Shape" hidden="1">
            <a:extLst>
              <a:ext uri="{FF2B5EF4-FFF2-40B4-BE49-F238E27FC236}">
                <a16:creationId xmlns:a16="http://schemas.microsoft.com/office/drawing/2014/main" id="{32E6E7D6-926B-D154-1477-2AFB06F665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2333625"/>
            <a:ext cx="12193200" cy="4533900"/>
          </a:xfrm>
          <a:custGeom>
            <a:avLst/>
            <a:gdLst>
              <a:gd name="connsiteX0" fmla="*/ 6096607 w 12193200"/>
              <a:gd name="connsiteY0" fmla="*/ 0 h 4533900"/>
              <a:gd name="connsiteX1" fmla="*/ 12193200 w 12193200"/>
              <a:gd name="connsiteY1" fmla="*/ 2202541 h 4533900"/>
              <a:gd name="connsiteX2" fmla="*/ 12193200 w 12193200"/>
              <a:gd name="connsiteY2" fmla="*/ 4533900 h 4533900"/>
              <a:gd name="connsiteX3" fmla="*/ 12191998 w 12193200"/>
              <a:gd name="connsiteY3" fmla="*/ 4533900 h 4533900"/>
              <a:gd name="connsiteX4" fmla="*/ 12191998 w 12193200"/>
              <a:gd name="connsiteY4" fmla="*/ 4524375 h 4533900"/>
              <a:gd name="connsiteX5" fmla="*/ 0 w 12193200"/>
              <a:gd name="connsiteY5" fmla="*/ 4524375 h 4533900"/>
              <a:gd name="connsiteX6" fmla="*/ 0 w 12193200"/>
              <a:gd name="connsiteY6" fmla="*/ 2202541 h 453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3200" h="4533900">
                <a:moveTo>
                  <a:pt x="6096607" y="0"/>
                </a:moveTo>
                <a:lnTo>
                  <a:pt x="12193200" y="2202541"/>
                </a:lnTo>
                <a:lnTo>
                  <a:pt x="12193200" y="4533900"/>
                </a:lnTo>
                <a:lnTo>
                  <a:pt x="12191998" y="4533900"/>
                </a:lnTo>
                <a:lnTo>
                  <a:pt x="12191998" y="4524375"/>
                </a:lnTo>
                <a:lnTo>
                  <a:pt x="0" y="4524375"/>
                </a:lnTo>
                <a:lnTo>
                  <a:pt x="0" y="2202541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/>
          <a:p>
            <a:endParaRPr lang="en-GB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7688A492-52EF-12D3-FE48-76DBF3098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lum bright="-100000" contrast="-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19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pos="5382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  <p15:guide id="9" orient="horz" pos="368">
          <p15:clr>
            <a:srgbClr val="FBAE40"/>
          </p15:clr>
        </p15:guide>
        <p15:guide id="10" orient="horz" pos="3952">
          <p15:clr>
            <a:srgbClr val="FBAE40"/>
          </p15:clr>
        </p15:guide>
        <p15:guide id="11" pos="370">
          <p15:clr>
            <a:srgbClr val="FBAE40"/>
          </p15:clr>
        </p15:guide>
        <p15:guide id="12" pos="7333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ctagon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233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592677A9-082F-2517-6F1D-9258305B26A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597126"/>
            <a:ext cx="5508625" cy="5676674"/>
          </a:xfrm>
          <a:custGeom>
            <a:avLst/>
            <a:gdLst>
              <a:gd name="connsiteX0" fmla="*/ 1892106 w 6459796"/>
              <a:gd name="connsiteY0" fmla="*/ 0 h 6459796"/>
              <a:gd name="connsiteX1" fmla="*/ 4567690 w 6459796"/>
              <a:gd name="connsiteY1" fmla="*/ 0 h 6459796"/>
              <a:gd name="connsiteX2" fmla="*/ 6459796 w 6459796"/>
              <a:gd name="connsiteY2" fmla="*/ 1892106 h 6459796"/>
              <a:gd name="connsiteX3" fmla="*/ 6459796 w 6459796"/>
              <a:gd name="connsiteY3" fmla="*/ 4567690 h 6459796"/>
              <a:gd name="connsiteX4" fmla="*/ 4567690 w 6459796"/>
              <a:gd name="connsiteY4" fmla="*/ 6459796 h 6459796"/>
              <a:gd name="connsiteX5" fmla="*/ 1892106 w 6459796"/>
              <a:gd name="connsiteY5" fmla="*/ 6459796 h 6459796"/>
              <a:gd name="connsiteX6" fmla="*/ 0 w 6459796"/>
              <a:gd name="connsiteY6" fmla="*/ 4567690 h 6459796"/>
              <a:gd name="connsiteX7" fmla="*/ 0 w 6459796"/>
              <a:gd name="connsiteY7" fmla="*/ 1892106 h 645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59796" h="6459796">
                <a:moveTo>
                  <a:pt x="1892106" y="0"/>
                </a:moveTo>
                <a:lnTo>
                  <a:pt x="4567690" y="0"/>
                </a:lnTo>
                <a:lnTo>
                  <a:pt x="6459796" y="1892106"/>
                </a:lnTo>
                <a:lnTo>
                  <a:pt x="6459796" y="4567690"/>
                </a:lnTo>
                <a:lnTo>
                  <a:pt x="4567690" y="6459796"/>
                </a:lnTo>
                <a:lnTo>
                  <a:pt x="1892106" y="6459796"/>
                </a:lnTo>
                <a:lnTo>
                  <a:pt x="0" y="4567690"/>
                </a:lnTo>
                <a:lnTo>
                  <a:pt x="0" y="1892106"/>
                </a:lnTo>
                <a:close/>
              </a:path>
            </a:pathLst>
          </a:custGeom>
          <a:solidFill>
            <a:srgbClr val="CAC8C2"/>
          </a:solidFill>
        </p:spPr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F5A64A-E4A0-D87C-3DA3-2D8C1E5A5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1527" y="1798983"/>
            <a:ext cx="5309610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E33C2B6-B18D-0C9B-A882-2E94AC1C92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1527" y="1075636"/>
            <a:ext cx="530960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FFA3F07-A4C8-482C-13EB-B4B5D62A5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1528" y="596235"/>
            <a:ext cx="530960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720B87C-6049-B10E-6385-08D53BFA5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8" name="footnotes">
            <a:extLst>
              <a:ext uri="{FF2B5EF4-FFF2-40B4-BE49-F238E27FC236}">
                <a16:creationId xmlns:a16="http://schemas.microsoft.com/office/drawing/2014/main" id="{218E0870-4142-0895-9B8B-8159ED159B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1527" y="6102000"/>
            <a:ext cx="3892472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99593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ctagon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233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F5A64A-E4A0-D87C-3DA3-2D8C1E5A5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1527" y="1798983"/>
            <a:ext cx="5309610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E33C2B6-B18D-0C9B-A882-2E94AC1C92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1527" y="1075636"/>
            <a:ext cx="530960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FFA3F07-A4C8-482C-13EB-B4B5D62A5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1528" y="596235"/>
            <a:ext cx="530960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FE365486-9D86-8D27-5D9F-9F5664CCD31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584200"/>
            <a:ext cx="5508625" cy="5658853"/>
          </a:xfrm>
          <a:custGeom>
            <a:avLst/>
            <a:gdLst>
              <a:gd name="connsiteX0" fmla="*/ 2954626 w 5909252"/>
              <a:gd name="connsiteY0" fmla="*/ 0 h 5909252"/>
              <a:gd name="connsiteX1" fmla="*/ 4780584 w 5909252"/>
              <a:gd name="connsiteY1" fmla="*/ 564332 h 5909252"/>
              <a:gd name="connsiteX2" fmla="*/ 5909252 w 5909252"/>
              <a:gd name="connsiteY2" fmla="*/ 2041645 h 5909252"/>
              <a:gd name="connsiteX3" fmla="*/ 5909252 w 5909252"/>
              <a:gd name="connsiteY3" fmla="*/ 3867607 h 5909252"/>
              <a:gd name="connsiteX4" fmla="*/ 4780584 w 5909252"/>
              <a:gd name="connsiteY4" fmla="*/ 5344920 h 5909252"/>
              <a:gd name="connsiteX5" fmla="*/ 2954626 w 5909252"/>
              <a:gd name="connsiteY5" fmla="*/ 5909252 h 5909252"/>
              <a:gd name="connsiteX6" fmla="*/ 1128668 w 5909252"/>
              <a:gd name="connsiteY6" fmla="*/ 5344920 h 5909252"/>
              <a:gd name="connsiteX7" fmla="*/ 0 w 5909252"/>
              <a:gd name="connsiteY7" fmla="*/ 3867607 h 5909252"/>
              <a:gd name="connsiteX8" fmla="*/ 0 w 5909252"/>
              <a:gd name="connsiteY8" fmla="*/ 2041645 h 5909252"/>
              <a:gd name="connsiteX9" fmla="*/ 1128668 w 5909252"/>
              <a:gd name="connsiteY9" fmla="*/ 564332 h 5909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09252" h="5909252">
                <a:moveTo>
                  <a:pt x="2954626" y="0"/>
                </a:moveTo>
                <a:lnTo>
                  <a:pt x="4780584" y="564332"/>
                </a:lnTo>
                <a:lnTo>
                  <a:pt x="5909252" y="2041645"/>
                </a:lnTo>
                <a:lnTo>
                  <a:pt x="5909252" y="3867607"/>
                </a:lnTo>
                <a:lnTo>
                  <a:pt x="4780584" y="5344920"/>
                </a:lnTo>
                <a:lnTo>
                  <a:pt x="2954626" y="5909252"/>
                </a:lnTo>
                <a:lnTo>
                  <a:pt x="1128668" y="5344920"/>
                </a:lnTo>
                <a:lnTo>
                  <a:pt x="0" y="3867607"/>
                </a:lnTo>
                <a:lnTo>
                  <a:pt x="0" y="2041645"/>
                </a:lnTo>
                <a:lnTo>
                  <a:pt x="1128668" y="564332"/>
                </a:lnTo>
                <a:close/>
              </a:path>
            </a:pathLst>
          </a:custGeom>
          <a:solidFill>
            <a:srgbClr val="CAC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48A9DE9-DA3C-CDE8-1462-D4DB93EDF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4" name="footnotes">
            <a:extLst>
              <a:ext uri="{FF2B5EF4-FFF2-40B4-BE49-F238E27FC236}">
                <a16:creationId xmlns:a16="http://schemas.microsoft.com/office/drawing/2014/main" id="{526EA8E3-AD30-75C8-DFFF-196A6899A7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1527" y="6102000"/>
            <a:ext cx="3892472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731532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BD427E25-1A64-AFCB-DE33-A891C94440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584200"/>
            <a:ext cx="5545138" cy="5689559"/>
          </a:xfrm>
          <a:custGeom>
            <a:avLst/>
            <a:gdLst>
              <a:gd name="connsiteX0" fmla="*/ 0 w 6836942"/>
              <a:gd name="connsiteY0" fmla="*/ 0 h 6857999"/>
              <a:gd name="connsiteX1" fmla="*/ 3318198 w 6836942"/>
              <a:gd name="connsiteY1" fmla="*/ 0 h 6857999"/>
              <a:gd name="connsiteX2" fmla="*/ 3412392 w 6836942"/>
              <a:gd name="connsiteY2" fmla="*/ 0 h 6857999"/>
              <a:gd name="connsiteX3" fmla="*/ 3424168 w 6836942"/>
              <a:gd name="connsiteY3" fmla="*/ 0 h 6857999"/>
              <a:gd name="connsiteX4" fmla="*/ 3518744 w 6836942"/>
              <a:gd name="connsiteY4" fmla="*/ 0 h 6857999"/>
              <a:gd name="connsiteX5" fmla="*/ 6836942 w 6836942"/>
              <a:gd name="connsiteY5" fmla="*/ 0 h 6857999"/>
              <a:gd name="connsiteX6" fmla="*/ 4902466 w 6836942"/>
              <a:gd name="connsiteY6" fmla="*/ 3428999 h 6857999"/>
              <a:gd name="connsiteX7" fmla="*/ 6836942 w 6836942"/>
              <a:gd name="connsiteY7" fmla="*/ 6857999 h 6857999"/>
              <a:gd name="connsiteX8" fmla="*/ 3518744 w 6836942"/>
              <a:gd name="connsiteY8" fmla="*/ 6857999 h 6857999"/>
              <a:gd name="connsiteX9" fmla="*/ 3424168 w 6836942"/>
              <a:gd name="connsiteY9" fmla="*/ 6857999 h 6857999"/>
              <a:gd name="connsiteX10" fmla="*/ 3412392 w 6836942"/>
              <a:gd name="connsiteY10" fmla="*/ 6857999 h 6857999"/>
              <a:gd name="connsiteX11" fmla="*/ 3318198 w 6836942"/>
              <a:gd name="connsiteY11" fmla="*/ 6857999 h 6857999"/>
              <a:gd name="connsiteX12" fmla="*/ 0 w 6836942"/>
              <a:gd name="connsiteY12" fmla="*/ 6857999 h 6857999"/>
              <a:gd name="connsiteX13" fmla="*/ 1934095 w 6836942"/>
              <a:gd name="connsiteY13" fmla="*/ 3428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36942" h="6857999">
                <a:moveTo>
                  <a:pt x="0" y="0"/>
                </a:moveTo>
                <a:lnTo>
                  <a:pt x="3318198" y="0"/>
                </a:lnTo>
                <a:lnTo>
                  <a:pt x="3412392" y="0"/>
                </a:lnTo>
                <a:lnTo>
                  <a:pt x="3424168" y="0"/>
                </a:lnTo>
                <a:lnTo>
                  <a:pt x="3518744" y="0"/>
                </a:lnTo>
                <a:lnTo>
                  <a:pt x="6836942" y="0"/>
                </a:lnTo>
                <a:lnTo>
                  <a:pt x="4902466" y="3428999"/>
                </a:lnTo>
                <a:lnTo>
                  <a:pt x="6836942" y="6857999"/>
                </a:lnTo>
                <a:lnTo>
                  <a:pt x="3518744" y="6857999"/>
                </a:lnTo>
                <a:lnTo>
                  <a:pt x="3424168" y="6857999"/>
                </a:lnTo>
                <a:lnTo>
                  <a:pt x="3412392" y="6857999"/>
                </a:lnTo>
                <a:lnTo>
                  <a:pt x="3318198" y="6857999"/>
                </a:lnTo>
                <a:lnTo>
                  <a:pt x="0" y="6857999"/>
                </a:lnTo>
                <a:lnTo>
                  <a:pt x="1934095" y="3428999"/>
                </a:lnTo>
                <a:close/>
              </a:path>
            </a:pathLst>
          </a:custGeom>
          <a:solidFill>
            <a:srgbClr val="CAC8C2"/>
          </a:solidFill>
        </p:spPr>
        <p:txBody>
          <a:bodyPr wrap="square" lIns="201600" tIns="201600" rIns="201600" bIns="20160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71FECBDB-0204-F169-0062-7F4D852B9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1116DF71-C805-4A66-B529-6672142A24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819106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ontent and Image A">
    <p:bg>
      <p:bgPr>
        <a:solidFill>
          <a:srgbClr val="0B3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1C7BFDF-BE37-4AA6-C1E9-DE9CA0E8DE8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614946"/>
            <a:ext cx="5545138" cy="5658853"/>
          </a:xfrm>
          <a:custGeom>
            <a:avLst/>
            <a:gdLst>
              <a:gd name="connsiteX0" fmla="*/ 2954626 w 5909252"/>
              <a:gd name="connsiteY0" fmla="*/ 0 h 5909252"/>
              <a:gd name="connsiteX1" fmla="*/ 4780584 w 5909252"/>
              <a:gd name="connsiteY1" fmla="*/ 564332 h 5909252"/>
              <a:gd name="connsiteX2" fmla="*/ 5909252 w 5909252"/>
              <a:gd name="connsiteY2" fmla="*/ 2041645 h 5909252"/>
              <a:gd name="connsiteX3" fmla="*/ 5909252 w 5909252"/>
              <a:gd name="connsiteY3" fmla="*/ 3867607 h 5909252"/>
              <a:gd name="connsiteX4" fmla="*/ 4780584 w 5909252"/>
              <a:gd name="connsiteY4" fmla="*/ 5344920 h 5909252"/>
              <a:gd name="connsiteX5" fmla="*/ 2954626 w 5909252"/>
              <a:gd name="connsiteY5" fmla="*/ 5909252 h 5909252"/>
              <a:gd name="connsiteX6" fmla="*/ 1128668 w 5909252"/>
              <a:gd name="connsiteY6" fmla="*/ 5344920 h 5909252"/>
              <a:gd name="connsiteX7" fmla="*/ 0 w 5909252"/>
              <a:gd name="connsiteY7" fmla="*/ 3867607 h 5909252"/>
              <a:gd name="connsiteX8" fmla="*/ 0 w 5909252"/>
              <a:gd name="connsiteY8" fmla="*/ 2041645 h 5909252"/>
              <a:gd name="connsiteX9" fmla="*/ 1128668 w 5909252"/>
              <a:gd name="connsiteY9" fmla="*/ 564332 h 5909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09252" h="5909252">
                <a:moveTo>
                  <a:pt x="2954626" y="0"/>
                </a:moveTo>
                <a:lnTo>
                  <a:pt x="4780584" y="564332"/>
                </a:lnTo>
                <a:lnTo>
                  <a:pt x="5909252" y="2041645"/>
                </a:lnTo>
                <a:lnTo>
                  <a:pt x="5909252" y="3867607"/>
                </a:lnTo>
                <a:lnTo>
                  <a:pt x="4780584" y="5344920"/>
                </a:lnTo>
                <a:lnTo>
                  <a:pt x="2954626" y="5909252"/>
                </a:lnTo>
                <a:lnTo>
                  <a:pt x="1128668" y="5344920"/>
                </a:lnTo>
                <a:lnTo>
                  <a:pt x="0" y="3867607"/>
                </a:lnTo>
                <a:lnTo>
                  <a:pt x="0" y="2041645"/>
                </a:lnTo>
                <a:lnTo>
                  <a:pt x="1128668" y="5643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A680CB-D028-25E1-3625-086BE1CE8C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C8F9C6BD-F983-2606-16EE-BD61F460A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lum bright="100000" contrast="-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  <p:sp>
        <p:nvSpPr>
          <p:cNvPr id="4" name="footnotes">
            <a:extLst>
              <a:ext uri="{FF2B5EF4-FFF2-40B4-BE49-F238E27FC236}">
                <a16:creationId xmlns:a16="http://schemas.microsoft.com/office/drawing/2014/main" id="{DD4350DC-EEE4-0ACA-39D3-52388B0315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1C28C907-0719-1D3C-6053-3D4268E1E2B6}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908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and Image A">
    <p:bg>
      <p:bgPr>
        <a:solidFill>
          <a:srgbClr val="641E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F1A3A7EC-8228-DD08-2F15-6CE48FF49BE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787" y="-7858"/>
            <a:ext cx="6079213" cy="6865859"/>
          </a:xfrm>
          <a:custGeom>
            <a:avLst/>
            <a:gdLst>
              <a:gd name="connsiteX0" fmla="*/ 4224351 w 6079213"/>
              <a:gd name="connsiteY0" fmla="*/ 0 h 6865859"/>
              <a:gd name="connsiteX1" fmla="*/ 6079213 w 6079213"/>
              <a:gd name="connsiteY1" fmla="*/ 0 h 6865859"/>
              <a:gd name="connsiteX2" fmla="*/ 6079213 w 6079213"/>
              <a:gd name="connsiteY2" fmla="*/ 6865859 h 6865859"/>
              <a:gd name="connsiteX3" fmla="*/ 4224350 w 6079213"/>
              <a:gd name="connsiteY3" fmla="*/ 6865859 h 6865859"/>
              <a:gd name="connsiteX4" fmla="*/ 1167517 w 6079213"/>
              <a:gd name="connsiteY4" fmla="*/ 5554604 h 6865859"/>
              <a:gd name="connsiteX5" fmla="*/ 0 w 6079213"/>
              <a:gd name="connsiteY5" fmla="*/ 3432930 h 6865859"/>
              <a:gd name="connsiteX6" fmla="*/ 1167517 w 6079213"/>
              <a:gd name="connsiteY6" fmla="*/ 1311256 h 6865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9213" h="6865859">
                <a:moveTo>
                  <a:pt x="4224351" y="0"/>
                </a:moveTo>
                <a:lnTo>
                  <a:pt x="6079213" y="0"/>
                </a:lnTo>
                <a:lnTo>
                  <a:pt x="6079213" y="6865859"/>
                </a:lnTo>
                <a:lnTo>
                  <a:pt x="4224350" y="6865859"/>
                </a:lnTo>
                <a:lnTo>
                  <a:pt x="1167517" y="5554604"/>
                </a:lnTo>
                <a:lnTo>
                  <a:pt x="0" y="3432930"/>
                </a:lnTo>
                <a:lnTo>
                  <a:pt x="1167517" y="13112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here to insert pictur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05519DE3-4BD9-3949-6C5D-A71222C8BA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lum bright="-100000" contrast="-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  <p:sp>
        <p:nvSpPr>
          <p:cNvPr id="2" name="footnotes">
            <a:extLst>
              <a:ext uri="{FF2B5EF4-FFF2-40B4-BE49-F238E27FC236}">
                <a16:creationId xmlns:a16="http://schemas.microsoft.com/office/drawing/2014/main" id="{84ADDAC6-008E-AE7B-BCC0-0E9338BDCA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273796"/>
            <a:ext cx="9396000" cy="584204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9AC8FB62-5D7B-58DF-F02D-F9B42170EE28}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943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and Image A">
    <p:bg>
      <p:bgPr>
        <a:solidFill>
          <a:srgbClr val="1D25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BD427E25-1A64-AFCB-DE33-A891C94440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32512" y="584200"/>
            <a:ext cx="5508626" cy="5689559"/>
          </a:xfrm>
          <a:custGeom>
            <a:avLst/>
            <a:gdLst>
              <a:gd name="connsiteX0" fmla="*/ 0 w 6836942"/>
              <a:gd name="connsiteY0" fmla="*/ 0 h 6857999"/>
              <a:gd name="connsiteX1" fmla="*/ 3318198 w 6836942"/>
              <a:gd name="connsiteY1" fmla="*/ 0 h 6857999"/>
              <a:gd name="connsiteX2" fmla="*/ 3412392 w 6836942"/>
              <a:gd name="connsiteY2" fmla="*/ 0 h 6857999"/>
              <a:gd name="connsiteX3" fmla="*/ 3424168 w 6836942"/>
              <a:gd name="connsiteY3" fmla="*/ 0 h 6857999"/>
              <a:gd name="connsiteX4" fmla="*/ 3518744 w 6836942"/>
              <a:gd name="connsiteY4" fmla="*/ 0 h 6857999"/>
              <a:gd name="connsiteX5" fmla="*/ 6836942 w 6836942"/>
              <a:gd name="connsiteY5" fmla="*/ 0 h 6857999"/>
              <a:gd name="connsiteX6" fmla="*/ 4902466 w 6836942"/>
              <a:gd name="connsiteY6" fmla="*/ 3428999 h 6857999"/>
              <a:gd name="connsiteX7" fmla="*/ 6836942 w 6836942"/>
              <a:gd name="connsiteY7" fmla="*/ 6857999 h 6857999"/>
              <a:gd name="connsiteX8" fmla="*/ 3518744 w 6836942"/>
              <a:gd name="connsiteY8" fmla="*/ 6857999 h 6857999"/>
              <a:gd name="connsiteX9" fmla="*/ 3424168 w 6836942"/>
              <a:gd name="connsiteY9" fmla="*/ 6857999 h 6857999"/>
              <a:gd name="connsiteX10" fmla="*/ 3412392 w 6836942"/>
              <a:gd name="connsiteY10" fmla="*/ 6857999 h 6857999"/>
              <a:gd name="connsiteX11" fmla="*/ 3318198 w 6836942"/>
              <a:gd name="connsiteY11" fmla="*/ 6857999 h 6857999"/>
              <a:gd name="connsiteX12" fmla="*/ 0 w 6836942"/>
              <a:gd name="connsiteY12" fmla="*/ 6857999 h 6857999"/>
              <a:gd name="connsiteX13" fmla="*/ 1934095 w 6836942"/>
              <a:gd name="connsiteY13" fmla="*/ 3428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36942" h="6857999">
                <a:moveTo>
                  <a:pt x="0" y="0"/>
                </a:moveTo>
                <a:lnTo>
                  <a:pt x="3318198" y="0"/>
                </a:lnTo>
                <a:lnTo>
                  <a:pt x="3412392" y="0"/>
                </a:lnTo>
                <a:lnTo>
                  <a:pt x="3424168" y="0"/>
                </a:lnTo>
                <a:lnTo>
                  <a:pt x="3518744" y="0"/>
                </a:lnTo>
                <a:lnTo>
                  <a:pt x="6836942" y="0"/>
                </a:lnTo>
                <a:lnTo>
                  <a:pt x="4902466" y="3428999"/>
                </a:lnTo>
                <a:lnTo>
                  <a:pt x="6836942" y="6857999"/>
                </a:lnTo>
                <a:lnTo>
                  <a:pt x="3518744" y="6857999"/>
                </a:lnTo>
                <a:lnTo>
                  <a:pt x="3424168" y="6857999"/>
                </a:lnTo>
                <a:lnTo>
                  <a:pt x="3412392" y="6857999"/>
                </a:lnTo>
                <a:lnTo>
                  <a:pt x="3318198" y="6857999"/>
                </a:lnTo>
                <a:lnTo>
                  <a:pt x="0" y="6857999"/>
                </a:lnTo>
                <a:lnTo>
                  <a:pt x="1934095" y="34289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201600" tIns="201600" rIns="201600" bIns="20160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E82264-14D0-E906-6AB1-6D1F08D01B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cstate="email">
            <a:lum bright="100000" contrast="-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10432800" y="6194848"/>
            <a:ext cx="1555200" cy="819752"/>
          </a:xfrm>
          <a:prstGeom prst="rect">
            <a:avLst/>
          </a:prstGeom>
        </p:spPr>
      </p:pic>
      <p:sp>
        <p:nvSpPr>
          <p:cNvPr id="2" name="footnotes">
            <a:extLst>
              <a:ext uri="{FF2B5EF4-FFF2-40B4-BE49-F238E27FC236}">
                <a16:creationId xmlns:a16="http://schemas.microsoft.com/office/drawing/2014/main" id="{15A44D96-717C-6180-D4AA-45CE45106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153B9308-795E-6447-DCF3-8265C0A9AD8F}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593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9DA44C5-759C-86D6-2BFE-0A72E0BD5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30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DA44C5-759C-86D6-2BFE-0A72E0BD523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6874A-FA12-2517-B453-C324E0434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884570"/>
            <a:ext cx="9252153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short heading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22594F9-0BB8-7792-AE0C-94FE452A5C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867027"/>
            <a:ext cx="9252154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A69F945-AD9B-325F-DF07-52216CBE6C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EBBE698-1152-EE3E-6379-0B931EBA4A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1884640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1B23141-87E5-384D-30A4-B09644DA6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4882891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95C3106-D51A-4B26-F01B-6C92F09A7E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5208027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3FD9A8E-D3C5-9FC9-DBF8-EF5B3E7931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5B06503-ABF5-C3C4-D5DB-5D518083D51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384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7333" userDrawn="1">
          <p15:clr>
            <a:srgbClr val="FBAE40"/>
          </p15:clr>
        </p15:guide>
        <p15:guide id="3" pos="370" userDrawn="1">
          <p15:clr>
            <a:srgbClr val="FBAE40"/>
          </p15:clr>
        </p15:guide>
        <p15:guide id="4" orient="horz" pos="36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573B4CC-5B19-661D-2E5A-C555F54BD53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2" y="0"/>
            <a:ext cx="3445097" cy="6923638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5D56FF3-4493-9CD5-0AFA-69BE681C8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8871A96B-14C3-D3C0-2020-ED3383B1D3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-576416" y="736435"/>
            <a:ext cx="8043024" cy="5658729"/>
          </a:xfrm>
          <a:prstGeom prst="rect">
            <a:avLst/>
          </a:prstGeom>
        </p:spPr>
      </p:pic>
      <p:sp>
        <p:nvSpPr>
          <p:cNvPr id="9" name="Slide Number Static">
            <a:extLst>
              <a:ext uri="{FF2B5EF4-FFF2-40B4-BE49-F238E27FC236}">
                <a16:creationId xmlns:a16="http://schemas.microsoft.com/office/drawing/2014/main" id="{DC6184CC-650C-7060-09E9-1421D6A211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60214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D845BF45-C241-7BD7-6C67-D6AA646D34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29398" y="891503"/>
            <a:ext cx="5074994" cy="507499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5D56FF3-4493-9CD5-0AFA-69BE681C8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8871A96B-14C3-D3C0-2020-ED3383B1D3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-112542" y="891503"/>
            <a:ext cx="6780628" cy="4770560"/>
          </a:xfrm>
          <a:prstGeom prst="rect">
            <a:avLst/>
          </a:prstGeom>
        </p:spPr>
      </p:pic>
      <p:sp>
        <p:nvSpPr>
          <p:cNvPr id="9" name="Slide Number Static">
            <a:extLst>
              <a:ext uri="{FF2B5EF4-FFF2-40B4-BE49-F238E27FC236}">
                <a16:creationId xmlns:a16="http://schemas.microsoft.com/office/drawing/2014/main" id="{12DF09E1-E0C8-17C1-12BF-750E7115F0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985788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4983431" cy="3230114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5D56FF3-4493-9CD5-0AFA-69BE681C8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863CFE56-9F2F-8F65-953F-00528B7D80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2437" y="3272945"/>
            <a:ext cx="5086967" cy="253119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83C80E6-A59A-2B9A-FC54-089636598AA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97334" y="715016"/>
            <a:ext cx="5181600" cy="4724400"/>
          </a:xfrm>
          <a:prstGeom prst="rect">
            <a:avLst/>
          </a:prstGeom>
        </p:spPr>
      </p:pic>
      <p:sp>
        <p:nvSpPr>
          <p:cNvPr id="11" name="Slide Number Static">
            <a:extLst>
              <a:ext uri="{FF2B5EF4-FFF2-40B4-BE49-F238E27FC236}">
                <a16:creationId xmlns:a16="http://schemas.microsoft.com/office/drawing/2014/main" id="{93B87F75-6B59-8FDD-9E3D-7B5C33F518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23489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5521BE6-691A-02DF-BE61-1515454FEC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 flipH="1">
            <a:off x="6945998" y="1597930"/>
            <a:ext cx="6858002" cy="3662142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4983431" cy="3230114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BC662B2-6BFD-3ECB-9D17-EE6911CDB175}"/>
              </a:ext>
            </a:extLst>
          </p:cNvPr>
          <p:cNvSpPr/>
          <p:nvPr/>
        </p:nvSpPr>
        <p:spPr>
          <a:xfrm>
            <a:off x="10432800" y="6195600"/>
            <a:ext cx="1555167" cy="817773"/>
          </a:xfrm>
          <a:custGeom>
            <a:avLst/>
            <a:gdLst>
              <a:gd name="connsiteX0" fmla="*/ 0 w 1555167"/>
              <a:gd name="connsiteY0" fmla="*/ 0 h 817773"/>
              <a:gd name="connsiteX1" fmla="*/ 1555168 w 1555167"/>
              <a:gd name="connsiteY1" fmla="*/ 0 h 817773"/>
              <a:gd name="connsiteX2" fmla="*/ 1555168 w 1555167"/>
              <a:gd name="connsiteY2" fmla="*/ 817773 h 817773"/>
              <a:gd name="connsiteX3" fmla="*/ 0 w 1555167"/>
              <a:gd name="connsiteY3" fmla="*/ 817773 h 81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5167" h="817773">
                <a:moveTo>
                  <a:pt x="0" y="0"/>
                </a:moveTo>
                <a:lnTo>
                  <a:pt x="1555168" y="0"/>
                </a:lnTo>
                <a:lnTo>
                  <a:pt x="1555168" y="817773"/>
                </a:lnTo>
                <a:lnTo>
                  <a:pt x="0" y="817773"/>
                </a:lnTo>
                <a:close/>
              </a:path>
            </a:pathLst>
          </a:custGeom>
          <a:solidFill>
            <a:srgbClr val="FFFFFF">
              <a:alpha val="0"/>
            </a:srgbClr>
          </a:solidFill>
          <a:ln w="306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C2A6EA-6AED-555A-3E26-423B06CBBADF}"/>
              </a:ext>
            </a:extLst>
          </p:cNvPr>
          <p:cNvGrpSpPr/>
          <p:nvPr userDrawn="1"/>
        </p:nvGrpSpPr>
        <p:grpSpPr>
          <a:xfrm>
            <a:off x="10735212" y="6498097"/>
            <a:ext cx="980720" cy="221131"/>
            <a:chOff x="10735212" y="6498097"/>
            <a:chExt cx="980720" cy="221131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F655E331-FFBC-0DBF-185C-C940DEAA8064}"/>
                </a:ext>
              </a:extLst>
            </p:cNvPr>
            <p:cNvSpPr/>
            <p:nvPr/>
          </p:nvSpPr>
          <p:spPr>
            <a:xfrm rot="20400074">
              <a:off x="10735212" y="6498097"/>
              <a:ext cx="212570" cy="212571"/>
            </a:xfrm>
            <a:custGeom>
              <a:avLst/>
              <a:gdLst>
                <a:gd name="connsiteX0" fmla="*/ 0 w 212570"/>
                <a:gd name="connsiteY0" fmla="*/ 0 h 212571"/>
                <a:gd name="connsiteX1" fmla="*/ 212570 w 212570"/>
                <a:gd name="connsiteY1" fmla="*/ 0 h 212571"/>
                <a:gd name="connsiteX2" fmla="*/ 212570 w 212570"/>
                <a:gd name="connsiteY2" fmla="*/ 212572 h 212571"/>
                <a:gd name="connsiteX3" fmla="*/ 0 w 212570"/>
                <a:gd name="connsiteY3" fmla="*/ 212572 h 21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570" h="212571">
                  <a:moveTo>
                    <a:pt x="0" y="0"/>
                  </a:moveTo>
                  <a:lnTo>
                    <a:pt x="212570" y="0"/>
                  </a:lnTo>
                  <a:lnTo>
                    <a:pt x="212570" y="212572"/>
                  </a:lnTo>
                  <a:lnTo>
                    <a:pt x="0" y="212572"/>
                  </a:lnTo>
                  <a:close/>
                </a:path>
              </a:pathLst>
            </a:custGeom>
            <a:solidFill>
              <a:schemeClr val="tx1"/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6F638C19-342F-E9B3-BFE2-28C15597D1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1044131" y="6533629"/>
              <a:ext cx="671801" cy="185599"/>
              <a:chOff x="11044131" y="6533629"/>
              <a:chExt cx="671801" cy="185599"/>
            </a:xfrm>
            <a:solidFill>
              <a:schemeClr val="tx1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362E93B0-30F7-97B2-7670-A16FBB5A1CA7}"/>
                  </a:ext>
                </a:extLst>
              </p:cNvPr>
              <p:cNvSpPr/>
              <p:nvPr/>
            </p:nvSpPr>
            <p:spPr>
              <a:xfrm>
                <a:off x="11044131" y="6534242"/>
                <a:ext cx="126990" cy="137113"/>
              </a:xfrm>
              <a:custGeom>
                <a:avLst/>
                <a:gdLst>
                  <a:gd name="connsiteX0" fmla="*/ 97850 w 126990"/>
                  <a:gd name="connsiteY0" fmla="*/ 134660 h 137113"/>
                  <a:gd name="connsiteX1" fmla="*/ 95703 w 126990"/>
                  <a:gd name="connsiteY1" fmla="*/ 132512 h 137113"/>
                  <a:gd name="connsiteX2" fmla="*/ 96316 w 126990"/>
                  <a:gd name="connsiteY2" fmla="*/ 116255 h 137113"/>
                  <a:gd name="connsiteX3" fmla="*/ 55827 w 126990"/>
                  <a:gd name="connsiteY3" fmla="*/ 137114 h 137113"/>
                  <a:gd name="connsiteX4" fmla="*/ 0 w 126990"/>
                  <a:gd name="connsiteY4" fmla="*/ 69017 h 137113"/>
                  <a:gd name="connsiteX5" fmla="*/ 56440 w 126990"/>
                  <a:gd name="connsiteY5" fmla="*/ 0 h 137113"/>
                  <a:gd name="connsiteX6" fmla="*/ 96316 w 126990"/>
                  <a:gd name="connsiteY6" fmla="*/ 19631 h 137113"/>
                  <a:gd name="connsiteX7" fmla="*/ 95396 w 126990"/>
                  <a:gd name="connsiteY7" fmla="*/ 4908 h 137113"/>
                  <a:gd name="connsiteX8" fmla="*/ 97543 w 126990"/>
                  <a:gd name="connsiteY8" fmla="*/ 2761 h 137113"/>
                  <a:gd name="connsiteX9" fmla="*/ 124843 w 126990"/>
                  <a:gd name="connsiteY9" fmla="*/ 2761 h 137113"/>
                  <a:gd name="connsiteX10" fmla="*/ 126990 w 126990"/>
                  <a:gd name="connsiteY10" fmla="*/ 4908 h 137113"/>
                  <a:gd name="connsiteX11" fmla="*/ 126070 w 126990"/>
                  <a:gd name="connsiteY11" fmla="*/ 68403 h 137113"/>
                  <a:gd name="connsiteX12" fmla="*/ 126990 w 126990"/>
                  <a:gd name="connsiteY12" fmla="*/ 132819 h 137113"/>
                  <a:gd name="connsiteX13" fmla="*/ 124843 w 126990"/>
                  <a:gd name="connsiteY13" fmla="*/ 134966 h 137113"/>
                  <a:gd name="connsiteX14" fmla="*/ 97850 w 126990"/>
                  <a:gd name="connsiteY14" fmla="*/ 134966 h 137113"/>
                  <a:gd name="connsiteX15" fmla="*/ 64108 w 126990"/>
                  <a:gd name="connsiteY15" fmla="*/ 115335 h 137113"/>
                  <a:gd name="connsiteX16" fmla="*/ 97236 w 126990"/>
                  <a:gd name="connsiteY16" fmla="*/ 69324 h 137113"/>
                  <a:gd name="connsiteX17" fmla="*/ 65029 w 126990"/>
                  <a:gd name="connsiteY17" fmla="*/ 21779 h 137113"/>
                  <a:gd name="connsiteX18" fmla="*/ 31594 w 126990"/>
                  <a:gd name="connsiteY18" fmla="*/ 66870 h 137113"/>
                  <a:gd name="connsiteX19" fmla="*/ 64108 w 126990"/>
                  <a:gd name="connsiteY19" fmla="*/ 115335 h 137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990" h="137113">
                    <a:moveTo>
                      <a:pt x="97850" y="134660"/>
                    </a:moveTo>
                    <a:cubicBezTo>
                      <a:pt x="96930" y="134660"/>
                      <a:pt x="95703" y="133739"/>
                      <a:pt x="95703" y="132512"/>
                    </a:cubicBezTo>
                    <a:lnTo>
                      <a:pt x="96316" y="116255"/>
                    </a:lnTo>
                    <a:cubicBezTo>
                      <a:pt x="87421" y="129445"/>
                      <a:pt x="73617" y="137114"/>
                      <a:pt x="55827" y="137114"/>
                    </a:cubicBezTo>
                    <a:cubicBezTo>
                      <a:pt x="19325" y="137114"/>
                      <a:pt x="0" y="107360"/>
                      <a:pt x="0" y="69017"/>
                    </a:cubicBezTo>
                    <a:cubicBezTo>
                      <a:pt x="0" y="30674"/>
                      <a:pt x="21165" y="0"/>
                      <a:pt x="56440" y="0"/>
                    </a:cubicBezTo>
                    <a:cubicBezTo>
                      <a:pt x="73924" y="0"/>
                      <a:pt x="87421" y="6748"/>
                      <a:pt x="96316" y="19631"/>
                    </a:cubicBezTo>
                    <a:lnTo>
                      <a:pt x="95396" y="4908"/>
                    </a:lnTo>
                    <a:cubicBezTo>
                      <a:pt x="95396" y="3988"/>
                      <a:pt x="96316" y="2761"/>
                      <a:pt x="97543" y="2761"/>
                    </a:cubicBezTo>
                    <a:lnTo>
                      <a:pt x="124843" y="2761"/>
                    </a:lnTo>
                    <a:cubicBezTo>
                      <a:pt x="125763" y="2761"/>
                      <a:pt x="126990" y="3681"/>
                      <a:pt x="126990" y="4908"/>
                    </a:cubicBezTo>
                    <a:lnTo>
                      <a:pt x="126070" y="68403"/>
                    </a:lnTo>
                    <a:lnTo>
                      <a:pt x="126990" y="132819"/>
                    </a:lnTo>
                    <a:cubicBezTo>
                      <a:pt x="126990" y="133739"/>
                      <a:pt x="126070" y="134966"/>
                      <a:pt x="124843" y="134966"/>
                    </a:cubicBezTo>
                    <a:lnTo>
                      <a:pt x="97850" y="134966"/>
                    </a:lnTo>
                    <a:close/>
                    <a:moveTo>
                      <a:pt x="64108" y="115335"/>
                    </a:moveTo>
                    <a:cubicBezTo>
                      <a:pt x="84967" y="115335"/>
                      <a:pt x="96930" y="99998"/>
                      <a:pt x="97236" y="69324"/>
                    </a:cubicBezTo>
                    <a:cubicBezTo>
                      <a:pt x="97543" y="38956"/>
                      <a:pt x="85580" y="21779"/>
                      <a:pt x="65029" y="21779"/>
                    </a:cubicBezTo>
                    <a:cubicBezTo>
                      <a:pt x="42330" y="21472"/>
                      <a:pt x="31594" y="38649"/>
                      <a:pt x="31594" y="66870"/>
                    </a:cubicBezTo>
                    <a:cubicBezTo>
                      <a:pt x="31287" y="97544"/>
                      <a:pt x="42330" y="115335"/>
                      <a:pt x="64108" y="11533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15F38D3A-B53E-12A7-EA5B-CADB8E01CEA2}"/>
                  </a:ext>
                </a:extLst>
              </p:cNvPr>
              <p:cNvSpPr/>
              <p:nvPr/>
            </p:nvSpPr>
            <p:spPr>
              <a:xfrm>
                <a:off x="11454548" y="6533935"/>
                <a:ext cx="130060" cy="138033"/>
              </a:xfrm>
              <a:custGeom>
                <a:avLst/>
                <a:gdLst>
                  <a:gd name="connsiteX0" fmla="*/ 65335 w 130060"/>
                  <a:gd name="connsiteY0" fmla="*/ 138034 h 138033"/>
                  <a:gd name="connsiteX1" fmla="*/ 0 w 130060"/>
                  <a:gd name="connsiteY1" fmla="*/ 69324 h 138033"/>
                  <a:gd name="connsiteX2" fmla="*/ 65335 w 130060"/>
                  <a:gd name="connsiteY2" fmla="*/ 0 h 138033"/>
                  <a:gd name="connsiteX3" fmla="*/ 130057 w 130060"/>
                  <a:gd name="connsiteY3" fmla="*/ 68710 h 138033"/>
                  <a:gd name="connsiteX4" fmla="*/ 65335 w 130060"/>
                  <a:gd name="connsiteY4" fmla="*/ 138034 h 138033"/>
                  <a:gd name="connsiteX5" fmla="*/ 65335 w 130060"/>
                  <a:gd name="connsiteY5" fmla="*/ 116255 h 138033"/>
                  <a:gd name="connsiteX6" fmla="*/ 98463 w 130060"/>
                  <a:gd name="connsiteY6" fmla="*/ 69324 h 138033"/>
                  <a:gd name="connsiteX7" fmla="*/ 65029 w 130060"/>
                  <a:gd name="connsiteY7" fmla="*/ 21779 h 138033"/>
                  <a:gd name="connsiteX8" fmla="*/ 31594 w 130060"/>
                  <a:gd name="connsiteY8" fmla="*/ 69630 h 138033"/>
                  <a:gd name="connsiteX9" fmla="*/ 65335 w 130060"/>
                  <a:gd name="connsiteY9" fmla="*/ 116255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0060" h="138033">
                    <a:moveTo>
                      <a:pt x="65335" y="138034"/>
                    </a:moveTo>
                    <a:cubicBezTo>
                      <a:pt x="23619" y="138034"/>
                      <a:pt x="0" y="111040"/>
                      <a:pt x="0" y="69324"/>
                    </a:cubicBezTo>
                    <a:cubicBezTo>
                      <a:pt x="0" y="27607"/>
                      <a:pt x="23619" y="0"/>
                      <a:pt x="65335" y="0"/>
                    </a:cubicBezTo>
                    <a:cubicBezTo>
                      <a:pt x="106745" y="0"/>
                      <a:pt x="130057" y="26993"/>
                      <a:pt x="130057" y="68710"/>
                    </a:cubicBezTo>
                    <a:cubicBezTo>
                      <a:pt x="130364" y="110427"/>
                      <a:pt x="107052" y="138034"/>
                      <a:pt x="65335" y="138034"/>
                    </a:cubicBezTo>
                    <a:close/>
                    <a:moveTo>
                      <a:pt x="65335" y="116255"/>
                    </a:moveTo>
                    <a:cubicBezTo>
                      <a:pt x="87727" y="116255"/>
                      <a:pt x="98463" y="100918"/>
                      <a:pt x="98463" y="69324"/>
                    </a:cubicBezTo>
                    <a:cubicBezTo>
                      <a:pt x="98463" y="38036"/>
                      <a:pt x="87421" y="21779"/>
                      <a:pt x="65029" y="21779"/>
                    </a:cubicBezTo>
                    <a:cubicBezTo>
                      <a:pt x="42330" y="22085"/>
                      <a:pt x="31594" y="38343"/>
                      <a:pt x="31594" y="69630"/>
                    </a:cubicBezTo>
                    <a:cubicBezTo>
                      <a:pt x="31594" y="100611"/>
                      <a:pt x="42943" y="116255"/>
                      <a:pt x="65335" y="11625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8187FE85-88D6-0B4A-B43E-C5133FDB2DFC}"/>
                  </a:ext>
                </a:extLst>
              </p:cNvPr>
              <p:cNvSpPr/>
              <p:nvPr/>
            </p:nvSpPr>
            <p:spPr>
              <a:xfrm>
                <a:off x="11596875" y="6533629"/>
                <a:ext cx="118708" cy="135273"/>
              </a:xfrm>
              <a:custGeom>
                <a:avLst/>
                <a:gdLst>
                  <a:gd name="connsiteX0" fmla="*/ 2147 w 118708"/>
                  <a:gd name="connsiteY0" fmla="*/ 135273 h 135273"/>
                  <a:gd name="connsiteX1" fmla="*/ 0 w 118708"/>
                  <a:gd name="connsiteY1" fmla="*/ 133126 h 135273"/>
                  <a:gd name="connsiteX2" fmla="*/ 920 w 118708"/>
                  <a:gd name="connsiteY2" fmla="*/ 73005 h 135273"/>
                  <a:gd name="connsiteX3" fmla="*/ 614 w 118708"/>
                  <a:gd name="connsiteY3" fmla="*/ 5215 h 135273"/>
                  <a:gd name="connsiteX4" fmla="*/ 2761 w 118708"/>
                  <a:gd name="connsiteY4" fmla="*/ 3067 h 135273"/>
                  <a:gd name="connsiteX5" fmla="*/ 28527 w 118708"/>
                  <a:gd name="connsiteY5" fmla="*/ 3067 h 135273"/>
                  <a:gd name="connsiteX6" fmla="*/ 30674 w 118708"/>
                  <a:gd name="connsiteY6" fmla="*/ 5215 h 135273"/>
                  <a:gd name="connsiteX7" fmla="*/ 29754 w 118708"/>
                  <a:gd name="connsiteY7" fmla="*/ 22392 h 135273"/>
                  <a:gd name="connsiteX8" fmla="*/ 73004 w 118708"/>
                  <a:gd name="connsiteY8" fmla="*/ 0 h 135273"/>
                  <a:gd name="connsiteX9" fmla="*/ 118095 w 118708"/>
                  <a:gd name="connsiteY9" fmla="*/ 51839 h 135273"/>
                  <a:gd name="connsiteX10" fmla="*/ 118095 w 118708"/>
                  <a:gd name="connsiteY10" fmla="*/ 79139 h 135273"/>
                  <a:gd name="connsiteX11" fmla="*/ 118708 w 118708"/>
                  <a:gd name="connsiteY11" fmla="*/ 133126 h 135273"/>
                  <a:gd name="connsiteX12" fmla="*/ 116561 w 118708"/>
                  <a:gd name="connsiteY12" fmla="*/ 135273 h 135273"/>
                  <a:gd name="connsiteX13" fmla="*/ 89261 w 118708"/>
                  <a:gd name="connsiteY13" fmla="*/ 135273 h 135273"/>
                  <a:gd name="connsiteX14" fmla="*/ 87114 w 118708"/>
                  <a:gd name="connsiteY14" fmla="*/ 133126 h 135273"/>
                  <a:gd name="connsiteX15" fmla="*/ 87727 w 118708"/>
                  <a:gd name="connsiteY15" fmla="*/ 79139 h 135273"/>
                  <a:gd name="connsiteX16" fmla="*/ 87727 w 118708"/>
                  <a:gd name="connsiteY16" fmla="*/ 52760 h 135273"/>
                  <a:gd name="connsiteX17" fmla="*/ 63495 w 118708"/>
                  <a:gd name="connsiteY17" fmla="*/ 24233 h 135273"/>
                  <a:gd name="connsiteX18" fmla="*/ 30981 w 118708"/>
                  <a:gd name="connsiteY18" fmla="*/ 64722 h 135273"/>
                  <a:gd name="connsiteX19" fmla="*/ 30981 w 118708"/>
                  <a:gd name="connsiteY19" fmla="*/ 79139 h 135273"/>
                  <a:gd name="connsiteX20" fmla="*/ 31594 w 118708"/>
                  <a:gd name="connsiteY20" fmla="*/ 133126 h 135273"/>
                  <a:gd name="connsiteX21" fmla="*/ 29447 w 118708"/>
                  <a:gd name="connsiteY21" fmla="*/ 135273 h 135273"/>
                  <a:gd name="connsiteX22" fmla="*/ 2147 w 118708"/>
                  <a:gd name="connsiteY22" fmla="*/ 135273 h 135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8708" h="135273">
                    <a:moveTo>
                      <a:pt x="2147" y="135273"/>
                    </a:moveTo>
                    <a:cubicBezTo>
                      <a:pt x="1227" y="135273"/>
                      <a:pt x="0" y="134353"/>
                      <a:pt x="0" y="133126"/>
                    </a:cubicBezTo>
                    <a:lnTo>
                      <a:pt x="920" y="73005"/>
                    </a:lnTo>
                    <a:lnTo>
                      <a:pt x="614" y="5215"/>
                    </a:lnTo>
                    <a:cubicBezTo>
                      <a:pt x="614" y="4294"/>
                      <a:pt x="1534" y="3067"/>
                      <a:pt x="2761" y="3067"/>
                    </a:cubicBezTo>
                    <a:lnTo>
                      <a:pt x="28527" y="3067"/>
                    </a:lnTo>
                    <a:cubicBezTo>
                      <a:pt x="29447" y="3067"/>
                      <a:pt x="30674" y="3988"/>
                      <a:pt x="30674" y="5215"/>
                    </a:cubicBezTo>
                    <a:lnTo>
                      <a:pt x="29754" y="22392"/>
                    </a:lnTo>
                    <a:cubicBezTo>
                      <a:pt x="38342" y="10122"/>
                      <a:pt x="53373" y="0"/>
                      <a:pt x="73004" y="0"/>
                    </a:cubicBezTo>
                    <a:cubicBezTo>
                      <a:pt x="100304" y="0"/>
                      <a:pt x="118095" y="18404"/>
                      <a:pt x="118095" y="51839"/>
                    </a:cubicBezTo>
                    <a:lnTo>
                      <a:pt x="118095" y="79139"/>
                    </a:lnTo>
                    <a:lnTo>
                      <a:pt x="118708" y="133126"/>
                    </a:lnTo>
                    <a:cubicBezTo>
                      <a:pt x="118708" y="134046"/>
                      <a:pt x="117788" y="135273"/>
                      <a:pt x="116561" y="135273"/>
                    </a:cubicBezTo>
                    <a:lnTo>
                      <a:pt x="89261" y="135273"/>
                    </a:lnTo>
                    <a:cubicBezTo>
                      <a:pt x="88341" y="135273"/>
                      <a:pt x="87114" y="134353"/>
                      <a:pt x="87114" y="133126"/>
                    </a:cubicBezTo>
                    <a:lnTo>
                      <a:pt x="87727" y="79139"/>
                    </a:lnTo>
                    <a:lnTo>
                      <a:pt x="87727" y="52760"/>
                    </a:lnTo>
                    <a:cubicBezTo>
                      <a:pt x="87727" y="34048"/>
                      <a:pt x="77605" y="24233"/>
                      <a:pt x="63495" y="24233"/>
                    </a:cubicBezTo>
                    <a:cubicBezTo>
                      <a:pt x="48158" y="24233"/>
                      <a:pt x="33435" y="37422"/>
                      <a:pt x="30981" y="64722"/>
                    </a:cubicBezTo>
                    <a:lnTo>
                      <a:pt x="30981" y="79139"/>
                    </a:lnTo>
                    <a:lnTo>
                      <a:pt x="31594" y="133126"/>
                    </a:lnTo>
                    <a:cubicBezTo>
                      <a:pt x="31594" y="134046"/>
                      <a:pt x="30674" y="135273"/>
                      <a:pt x="29447" y="135273"/>
                    </a:cubicBezTo>
                    <a:lnTo>
                      <a:pt x="2147" y="135273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EC12B66F-F2BB-813A-30E5-AD23E62E2E5F}"/>
                  </a:ext>
                </a:extLst>
              </p:cNvPr>
              <p:cNvSpPr/>
              <p:nvPr/>
            </p:nvSpPr>
            <p:spPr>
              <a:xfrm>
                <a:off x="11181243" y="6533629"/>
                <a:ext cx="129443" cy="138033"/>
              </a:xfrm>
              <a:custGeom>
                <a:avLst/>
                <a:gdLst>
                  <a:gd name="connsiteX0" fmla="*/ 129444 w 129443"/>
                  <a:gd name="connsiteY0" fmla="*/ 72698 h 138033"/>
                  <a:gd name="connsiteX1" fmla="*/ 127297 w 129443"/>
                  <a:gd name="connsiteY1" fmla="*/ 74845 h 138033"/>
                  <a:gd name="connsiteX2" fmla="*/ 30981 w 129443"/>
                  <a:gd name="connsiteY2" fmla="*/ 74845 h 138033"/>
                  <a:gd name="connsiteX3" fmla="*/ 65949 w 129443"/>
                  <a:gd name="connsiteY3" fmla="*/ 116255 h 138033"/>
                  <a:gd name="connsiteX4" fmla="*/ 95396 w 129443"/>
                  <a:gd name="connsiteY4" fmla="*/ 95090 h 138033"/>
                  <a:gd name="connsiteX5" fmla="*/ 95396 w 129443"/>
                  <a:gd name="connsiteY5" fmla="*/ 95090 h 138033"/>
                  <a:gd name="connsiteX6" fmla="*/ 97850 w 129443"/>
                  <a:gd name="connsiteY6" fmla="*/ 92943 h 138033"/>
                  <a:gd name="connsiteX7" fmla="*/ 123616 w 129443"/>
                  <a:gd name="connsiteY7" fmla="*/ 92943 h 138033"/>
                  <a:gd name="connsiteX8" fmla="*/ 125456 w 129443"/>
                  <a:gd name="connsiteY8" fmla="*/ 95090 h 138033"/>
                  <a:gd name="connsiteX9" fmla="*/ 65335 w 129443"/>
                  <a:gd name="connsiteY9" fmla="*/ 138034 h 138033"/>
                  <a:gd name="connsiteX10" fmla="*/ 0 w 129443"/>
                  <a:gd name="connsiteY10" fmla="*/ 69324 h 138033"/>
                  <a:gd name="connsiteX11" fmla="*/ 64415 w 129443"/>
                  <a:gd name="connsiteY11" fmla="*/ 0 h 138033"/>
                  <a:gd name="connsiteX12" fmla="*/ 129444 w 129443"/>
                  <a:gd name="connsiteY12" fmla="*/ 72698 h 138033"/>
                  <a:gd name="connsiteX13" fmla="*/ 96009 w 129443"/>
                  <a:gd name="connsiteY13" fmla="*/ 53987 h 138033"/>
                  <a:gd name="connsiteX14" fmla="*/ 64722 w 129443"/>
                  <a:gd name="connsiteY14" fmla="*/ 21472 h 138033"/>
                  <a:gd name="connsiteX15" fmla="*/ 31901 w 129443"/>
                  <a:gd name="connsiteY15" fmla="*/ 53987 h 138033"/>
                  <a:gd name="connsiteX16" fmla="*/ 96009 w 129443"/>
                  <a:gd name="connsiteY16" fmla="*/ 53987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9443" h="138033">
                    <a:moveTo>
                      <a:pt x="129444" y="72698"/>
                    </a:moveTo>
                    <a:cubicBezTo>
                      <a:pt x="129444" y="73618"/>
                      <a:pt x="128524" y="74845"/>
                      <a:pt x="127297" y="74845"/>
                    </a:cubicBezTo>
                    <a:lnTo>
                      <a:pt x="30981" y="74845"/>
                    </a:lnTo>
                    <a:cubicBezTo>
                      <a:pt x="32208" y="103065"/>
                      <a:pt x="43864" y="116255"/>
                      <a:pt x="65949" y="116255"/>
                    </a:cubicBezTo>
                    <a:cubicBezTo>
                      <a:pt x="80979" y="116255"/>
                      <a:pt x="91102" y="109200"/>
                      <a:pt x="95396" y="95090"/>
                    </a:cubicBezTo>
                    <a:lnTo>
                      <a:pt x="95396" y="95090"/>
                    </a:lnTo>
                    <a:cubicBezTo>
                      <a:pt x="95703" y="93863"/>
                      <a:pt x="96930" y="92943"/>
                      <a:pt x="97850" y="92943"/>
                    </a:cubicBezTo>
                    <a:lnTo>
                      <a:pt x="123616" y="92943"/>
                    </a:lnTo>
                    <a:cubicBezTo>
                      <a:pt x="124536" y="92943"/>
                      <a:pt x="125763" y="93863"/>
                      <a:pt x="125456" y="95090"/>
                    </a:cubicBezTo>
                    <a:cubicBezTo>
                      <a:pt x="120548" y="119016"/>
                      <a:pt x="99077" y="138034"/>
                      <a:pt x="65335" y="138034"/>
                    </a:cubicBezTo>
                    <a:cubicBezTo>
                      <a:pt x="22699" y="138034"/>
                      <a:pt x="0" y="109507"/>
                      <a:pt x="0" y="69324"/>
                    </a:cubicBezTo>
                    <a:cubicBezTo>
                      <a:pt x="0" y="27607"/>
                      <a:pt x="24232" y="0"/>
                      <a:pt x="64415" y="0"/>
                    </a:cubicBezTo>
                    <a:cubicBezTo>
                      <a:pt x="105518" y="0"/>
                      <a:pt x="128524" y="27607"/>
                      <a:pt x="129444" y="72698"/>
                    </a:cubicBezTo>
                    <a:close/>
                    <a:moveTo>
                      <a:pt x="96009" y="53987"/>
                    </a:moveTo>
                    <a:cubicBezTo>
                      <a:pt x="94782" y="36809"/>
                      <a:pt x="84967" y="21472"/>
                      <a:pt x="64722" y="21472"/>
                    </a:cubicBezTo>
                    <a:cubicBezTo>
                      <a:pt x="46318" y="21472"/>
                      <a:pt x="35275" y="32821"/>
                      <a:pt x="31901" y="53987"/>
                    </a:cubicBezTo>
                    <a:lnTo>
                      <a:pt x="96009" y="5398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4393E9C-00AC-3C45-4C44-2E22785611D3}"/>
                  </a:ext>
                </a:extLst>
              </p:cNvPr>
              <p:cNvSpPr/>
              <p:nvPr/>
            </p:nvSpPr>
            <p:spPr>
              <a:xfrm>
                <a:off x="11317129" y="6534549"/>
                <a:ext cx="126990" cy="184679"/>
              </a:xfrm>
              <a:custGeom>
                <a:avLst/>
                <a:gdLst>
                  <a:gd name="connsiteX0" fmla="*/ 126990 w 126990"/>
                  <a:gd name="connsiteY0" fmla="*/ 4294 h 184679"/>
                  <a:gd name="connsiteX1" fmla="*/ 124843 w 126990"/>
                  <a:gd name="connsiteY1" fmla="*/ 2147 h 184679"/>
                  <a:gd name="connsiteX2" fmla="*/ 97850 w 126990"/>
                  <a:gd name="connsiteY2" fmla="*/ 2147 h 184679"/>
                  <a:gd name="connsiteX3" fmla="*/ 95703 w 126990"/>
                  <a:gd name="connsiteY3" fmla="*/ 4294 h 184679"/>
                  <a:gd name="connsiteX4" fmla="*/ 96316 w 126990"/>
                  <a:gd name="connsiteY4" fmla="*/ 19018 h 184679"/>
                  <a:gd name="connsiteX5" fmla="*/ 56747 w 126990"/>
                  <a:gd name="connsiteY5" fmla="*/ 0 h 184679"/>
                  <a:gd name="connsiteX6" fmla="*/ 0 w 126990"/>
                  <a:gd name="connsiteY6" fmla="*/ 67483 h 184679"/>
                  <a:gd name="connsiteX7" fmla="*/ 57974 w 126990"/>
                  <a:gd name="connsiteY7" fmla="*/ 133433 h 184679"/>
                  <a:gd name="connsiteX8" fmla="*/ 97543 w 126990"/>
                  <a:gd name="connsiteY8" fmla="*/ 112574 h 184679"/>
                  <a:gd name="connsiteX9" fmla="*/ 97543 w 126990"/>
                  <a:gd name="connsiteY9" fmla="*/ 127605 h 184679"/>
                  <a:gd name="connsiteX10" fmla="*/ 65336 w 126990"/>
                  <a:gd name="connsiteY10" fmla="*/ 163187 h 184679"/>
                  <a:gd name="connsiteX11" fmla="*/ 35889 w 126990"/>
                  <a:gd name="connsiteY11" fmla="*/ 145702 h 184679"/>
                  <a:gd name="connsiteX12" fmla="*/ 33435 w 126990"/>
                  <a:gd name="connsiteY12" fmla="*/ 143555 h 184679"/>
                  <a:gd name="connsiteX13" fmla="*/ 6748 w 126990"/>
                  <a:gd name="connsiteY13" fmla="*/ 143555 h 184679"/>
                  <a:gd name="connsiteX14" fmla="*/ 4601 w 126990"/>
                  <a:gd name="connsiteY14" fmla="*/ 145702 h 184679"/>
                  <a:gd name="connsiteX15" fmla="*/ 64109 w 126990"/>
                  <a:gd name="connsiteY15" fmla="*/ 184658 h 184679"/>
                  <a:gd name="connsiteX16" fmla="*/ 125763 w 126990"/>
                  <a:gd name="connsiteY16" fmla="*/ 127911 h 184679"/>
                  <a:gd name="connsiteX17" fmla="*/ 125456 w 126990"/>
                  <a:gd name="connsiteY17" fmla="*/ 63189 h 184679"/>
                  <a:gd name="connsiteX18" fmla="*/ 126990 w 126990"/>
                  <a:gd name="connsiteY18" fmla="*/ 4294 h 184679"/>
                  <a:gd name="connsiteX19" fmla="*/ 65029 w 126990"/>
                  <a:gd name="connsiteY19" fmla="*/ 112267 h 184679"/>
                  <a:gd name="connsiteX20" fmla="*/ 31594 w 126990"/>
                  <a:gd name="connsiteY20" fmla="*/ 66256 h 184679"/>
                  <a:gd name="connsiteX21" fmla="*/ 65029 w 126990"/>
                  <a:gd name="connsiteY21" fmla="*/ 21779 h 184679"/>
                  <a:gd name="connsiteX22" fmla="*/ 97236 w 126990"/>
                  <a:gd name="connsiteY22" fmla="*/ 68710 h 184679"/>
                  <a:gd name="connsiteX23" fmla="*/ 65029 w 126990"/>
                  <a:gd name="connsiteY23" fmla="*/ 112267 h 184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6990" h="184679">
                    <a:moveTo>
                      <a:pt x="126990" y="4294"/>
                    </a:moveTo>
                    <a:cubicBezTo>
                      <a:pt x="126990" y="3374"/>
                      <a:pt x="126070" y="2147"/>
                      <a:pt x="124843" y="2147"/>
                    </a:cubicBezTo>
                    <a:lnTo>
                      <a:pt x="97850" y="2147"/>
                    </a:lnTo>
                    <a:cubicBezTo>
                      <a:pt x="96930" y="2147"/>
                      <a:pt x="95703" y="3067"/>
                      <a:pt x="95703" y="4294"/>
                    </a:cubicBezTo>
                    <a:lnTo>
                      <a:pt x="96316" y="19018"/>
                    </a:lnTo>
                    <a:cubicBezTo>
                      <a:pt x="87727" y="6748"/>
                      <a:pt x="74231" y="0"/>
                      <a:pt x="56747" y="0"/>
                    </a:cubicBezTo>
                    <a:cubicBezTo>
                      <a:pt x="21165" y="0"/>
                      <a:pt x="0" y="30367"/>
                      <a:pt x="0" y="67483"/>
                    </a:cubicBezTo>
                    <a:cubicBezTo>
                      <a:pt x="0" y="104906"/>
                      <a:pt x="19631" y="133433"/>
                      <a:pt x="57974" y="133433"/>
                    </a:cubicBezTo>
                    <a:cubicBezTo>
                      <a:pt x="75458" y="133433"/>
                      <a:pt x="88648" y="125764"/>
                      <a:pt x="97543" y="112574"/>
                    </a:cubicBezTo>
                    <a:lnTo>
                      <a:pt x="97543" y="127605"/>
                    </a:lnTo>
                    <a:cubicBezTo>
                      <a:pt x="97543" y="152451"/>
                      <a:pt x="84353" y="163187"/>
                      <a:pt x="65336" y="163187"/>
                    </a:cubicBezTo>
                    <a:cubicBezTo>
                      <a:pt x="49385" y="163187"/>
                      <a:pt x="38956" y="157358"/>
                      <a:pt x="35889" y="145702"/>
                    </a:cubicBezTo>
                    <a:cubicBezTo>
                      <a:pt x="35582" y="144475"/>
                      <a:pt x="34662" y="143555"/>
                      <a:pt x="33435" y="143555"/>
                    </a:cubicBezTo>
                    <a:lnTo>
                      <a:pt x="6748" y="143555"/>
                    </a:lnTo>
                    <a:cubicBezTo>
                      <a:pt x="5828" y="143555"/>
                      <a:pt x="4601" y="144475"/>
                      <a:pt x="4601" y="145702"/>
                    </a:cubicBezTo>
                    <a:cubicBezTo>
                      <a:pt x="8282" y="172389"/>
                      <a:pt x="32514" y="185272"/>
                      <a:pt x="64109" y="184658"/>
                    </a:cubicBezTo>
                    <a:cubicBezTo>
                      <a:pt x="104598" y="184658"/>
                      <a:pt x="126070" y="163493"/>
                      <a:pt x="125763" y="127911"/>
                    </a:cubicBezTo>
                    <a:lnTo>
                      <a:pt x="125456" y="63189"/>
                    </a:lnTo>
                    <a:lnTo>
                      <a:pt x="126990" y="4294"/>
                    </a:lnTo>
                    <a:close/>
                    <a:moveTo>
                      <a:pt x="65029" y="112267"/>
                    </a:moveTo>
                    <a:cubicBezTo>
                      <a:pt x="43250" y="112574"/>
                      <a:pt x="31594" y="96317"/>
                      <a:pt x="31594" y="66256"/>
                    </a:cubicBezTo>
                    <a:cubicBezTo>
                      <a:pt x="31594" y="38036"/>
                      <a:pt x="42943" y="21165"/>
                      <a:pt x="65029" y="21779"/>
                    </a:cubicBezTo>
                    <a:cubicBezTo>
                      <a:pt x="86194" y="22085"/>
                      <a:pt x="97543" y="38649"/>
                      <a:pt x="97236" y="68710"/>
                    </a:cubicBezTo>
                    <a:cubicBezTo>
                      <a:pt x="96930" y="97851"/>
                      <a:pt x="85274" y="112267"/>
                      <a:pt x="65029" y="112267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E83C80E6-A59A-2B9A-FC54-089636598AA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725550" y="525572"/>
            <a:ext cx="6079528" cy="6079528"/>
          </a:xfrm>
          <a:prstGeom prst="rect">
            <a:avLst/>
          </a:prstGeom>
        </p:spPr>
      </p:pic>
      <p:sp>
        <p:nvSpPr>
          <p:cNvPr id="18" name="Slide Number Static">
            <a:extLst>
              <a:ext uri="{FF2B5EF4-FFF2-40B4-BE49-F238E27FC236}">
                <a16:creationId xmlns:a16="http://schemas.microsoft.com/office/drawing/2014/main" id="{3B444DDE-CDF5-23C1-E37E-6AA0D6139D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619217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 slide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CF9CCF-B679-854A-57E8-1AF385995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4983431" cy="3230114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BC662B2-6BFD-3ECB-9D17-EE6911CDB175}"/>
              </a:ext>
            </a:extLst>
          </p:cNvPr>
          <p:cNvSpPr/>
          <p:nvPr/>
        </p:nvSpPr>
        <p:spPr>
          <a:xfrm>
            <a:off x="10432800" y="6195600"/>
            <a:ext cx="1555167" cy="817773"/>
          </a:xfrm>
          <a:custGeom>
            <a:avLst/>
            <a:gdLst>
              <a:gd name="connsiteX0" fmla="*/ 0 w 1555167"/>
              <a:gd name="connsiteY0" fmla="*/ 0 h 817773"/>
              <a:gd name="connsiteX1" fmla="*/ 1555168 w 1555167"/>
              <a:gd name="connsiteY1" fmla="*/ 0 h 817773"/>
              <a:gd name="connsiteX2" fmla="*/ 1555168 w 1555167"/>
              <a:gd name="connsiteY2" fmla="*/ 817773 h 817773"/>
              <a:gd name="connsiteX3" fmla="*/ 0 w 1555167"/>
              <a:gd name="connsiteY3" fmla="*/ 817773 h 81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5167" h="817773">
                <a:moveTo>
                  <a:pt x="0" y="0"/>
                </a:moveTo>
                <a:lnTo>
                  <a:pt x="1555168" y="0"/>
                </a:lnTo>
                <a:lnTo>
                  <a:pt x="1555168" y="817773"/>
                </a:lnTo>
                <a:lnTo>
                  <a:pt x="0" y="817773"/>
                </a:lnTo>
                <a:close/>
              </a:path>
            </a:pathLst>
          </a:custGeom>
          <a:solidFill>
            <a:srgbClr val="FFFFFF">
              <a:alpha val="0"/>
            </a:srgbClr>
          </a:solidFill>
          <a:ln w="306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C2A6EA-6AED-555A-3E26-423B06CBBADF}"/>
              </a:ext>
            </a:extLst>
          </p:cNvPr>
          <p:cNvGrpSpPr/>
          <p:nvPr userDrawn="1"/>
        </p:nvGrpSpPr>
        <p:grpSpPr>
          <a:xfrm>
            <a:off x="10735212" y="6498097"/>
            <a:ext cx="980720" cy="221131"/>
            <a:chOff x="10735212" y="6498097"/>
            <a:chExt cx="980720" cy="221131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F655E331-FFBC-0DBF-185C-C940DEAA8064}"/>
                </a:ext>
              </a:extLst>
            </p:cNvPr>
            <p:cNvSpPr/>
            <p:nvPr/>
          </p:nvSpPr>
          <p:spPr>
            <a:xfrm rot="20400074">
              <a:off x="10735212" y="6498097"/>
              <a:ext cx="212570" cy="212571"/>
            </a:xfrm>
            <a:custGeom>
              <a:avLst/>
              <a:gdLst>
                <a:gd name="connsiteX0" fmla="*/ 0 w 212570"/>
                <a:gd name="connsiteY0" fmla="*/ 0 h 212571"/>
                <a:gd name="connsiteX1" fmla="*/ 212570 w 212570"/>
                <a:gd name="connsiteY1" fmla="*/ 0 h 212571"/>
                <a:gd name="connsiteX2" fmla="*/ 212570 w 212570"/>
                <a:gd name="connsiteY2" fmla="*/ 212572 h 212571"/>
                <a:gd name="connsiteX3" fmla="*/ 0 w 212570"/>
                <a:gd name="connsiteY3" fmla="*/ 212572 h 21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570" h="212571">
                  <a:moveTo>
                    <a:pt x="0" y="0"/>
                  </a:moveTo>
                  <a:lnTo>
                    <a:pt x="212570" y="0"/>
                  </a:lnTo>
                  <a:lnTo>
                    <a:pt x="212570" y="212572"/>
                  </a:lnTo>
                  <a:lnTo>
                    <a:pt x="0" y="212572"/>
                  </a:lnTo>
                  <a:close/>
                </a:path>
              </a:pathLst>
            </a:custGeom>
            <a:solidFill>
              <a:schemeClr val="tx1"/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6F638C19-342F-E9B3-BFE2-28C15597D1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1044131" y="6533629"/>
              <a:ext cx="671801" cy="185599"/>
              <a:chOff x="11044131" y="6533629"/>
              <a:chExt cx="671801" cy="185599"/>
            </a:xfrm>
            <a:solidFill>
              <a:schemeClr val="tx1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362E93B0-30F7-97B2-7670-A16FBB5A1CA7}"/>
                  </a:ext>
                </a:extLst>
              </p:cNvPr>
              <p:cNvSpPr/>
              <p:nvPr/>
            </p:nvSpPr>
            <p:spPr>
              <a:xfrm>
                <a:off x="11044131" y="6534242"/>
                <a:ext cx="126990" cy="137113"/>
              </a:xfrm>
              <a:custGeom>
                <a:avLst/>
                <a:gdLst>
                  <a:gd name="connsiteX0" fmla="*/ 97850 w 126990"/>
                  <a:gd name="connsiteY0" fmla="*/ 134660 h 137113"/>
                  <a:gd name="connsiteX1" fmla="*/ 95703 w 126990"/>
                  <a:gd name="connsiteY1" fmla="*/ 132512 h 137113"/>
                  <a:gd name="connsiteX2" fmla="*/ 96316 w 126990"/>
                  <a:gd name="connsiteY2" fmla="*/ 116255 h 137113"/>
                  <a:gd name="connsiteX3" fmla="*/ 55827 w 126990"/>
                  <a:gd name="connsiteY3" fmla="*/ 137114 h 137113"/>
                  <a:gd name="connsiteX4" fmla="*/ 0 w 126990"/>
                  <a:gd name="connsiteY4" fmla="*/ 69017 h 137113"/>
                  <a:gd name="connsiteX5" fmla="*/ 56440 w 126990"/>
                  <a:gd name="connsiteY5" fmla="*/ 0 h 137113"/>
                  <a:gd name="connsiteX6" fmla="*/ 96316 w 126990"/>
                  <a:gd name="connsiteY6" fmla="*/ 19631 h 137113"/>
                  <a:gd name="connsiteX7" fmla="*/ 95396 w 126990"/>
                  <a:gd name="connsiteY7" fmla="*/ 4908 h 137113"/>
                  <a:gd name="connsiteX8" fmla="*/ 97543 w 126990"/>
                  <a:gd name="connsiteY8" fmla="*/ 2761 h 137113"/>
                  <a:gd name="connsiteX9" fmla="*/ 124843 w 126990"/>
                  <a:gd name="connsiteY9" fmla="*/ 2761 h 137113"/>
                  <a:gd name="connsiteX10" fmla="*/ 126990 w 126990"/>
                  <a:gd name="connsiteY10" fmla="*/ 4908 h 137113"/>
                  <a:gd name="connsiteX11" fmla="*/ 126070 w 126990"/>
                  <a:gd name="connsiteY11" fmla="*/ 68403 h 137113"/>
                  <a:gd name="connsiteX12" fmla="*/ 126990 w 126990"/>
                  <a:gd name="connsiteY12" fmla="*/ 132819 h 137113"/>
                  <a:gd name="connsiteX13" fmla="*/ 124843 w 126990"/>
                  <a:gd name="connsiteY13" fmla="*/ 134966 h 137113"/>
                  <a:gd name="connsiteX14" fmla="*/ 97850 w 126990"/>
                  <a:gd name="connsiteY14" fmla="*/ 134966 h 137113"/>
                  <a:gd name="connsiteX15" fmla="*/ 64108 w 126990"/>
                  <a:gd name="connsiteY15" fmla="*/ 115335 h 137113"/>
                  <a:gd name="connsiteX16" fmla="*/ 97236 w 126990"/>
                  <a:gd name="connsiteY16" fmla="*/ 69324 h 137113"/>
                  <a:gd name="connsiteX17" fmla="*/ 65029 w 126990"/>
                  <a:gd name="connsiteY17" fmla="*/ 21779 h 137113"/>
                  <a:gd name="connsiteX18" fmla="*/ 31594 w 126990"/>
                  <a:gd name="connsiteY18" fmla="*/ 66870 h 137113"/>
                  <a:gd name="connsiteX19" fmla="*/ 64108 w 126990"/>
                  <a:gd name="connsiteY19" fmla="*/ 115335 h 137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990" h="137113">
                    <a:moveTo>
                      <a:pt x="97850" y="134660"/>
                    </a:moveTo>
                    <a:cubicBezTo>
                      <a:pt x="96930" y="134660"/>
                      <a:pt x="95703" y="133739"/>
                      <a:pt x="95703" y="132512"/>
                    </a:cubicBezTo>
                    <a:lnTo>
                      <a:pt x="96316" y="116255"/>
                    </a:lnTo>
                    <a:cubicBezTo>
                      <a:pt x="87421" y="129445"/>
                      <a:pt x="73617" y="137114"/>
                      <a:pt x="55827" y="137114"/>
                    </a:cubicBezTo>
                    <a:cubicBezTo>
                      <a:pt x="19325" y="137114"/>
                      <a:pt x="0" y="107360"/>
                      <a:pt x="0" y="69017"/>
                    </a:cubicBezTo>
                    <a:cubicBezTo>
                      <a:pt x="0" y="30674"/>
                      <a:pt x="21165" y="0"/>
                      <a:pt x="56440" y="0"/>
                    </a:cubicBezTo>
                    <a:cubicBezTo>
                      <a:pt x="73924" y="0"/>
                      <a:pt x="87421" y="6748"/>
                      <a:pt x="96316" y="19631"/>
                    </a:cubicBezTo>
                    <a:lnTo>
                      <a:pt x="95396" y="4908"/>
                    </a:lnTo>
                    <a:cubicBezTo>
                      <a:pt x="95396" y="3988"/>
                      <a:pt x="96316" y="2761"/>
                      <a:pt x="97543" y="2761"/>
                    </a:cubicBezTo>
                    <a:lnTo>
                      <a:pt x="124843" y="2761"/>
                    </a:lnTo>
                    <a:cubicBezTo>
                      <a:pt x="125763" y="2761"/>
                      <a:pt x="126990" y="3681"/>
                      <a:pt x="126990" y="4908"/>
                    </a:cubicBezTo>
                    <a:lnTo>
                      <a:pt x="126070" y="68403"/>
                    </a:lnTo>
                    <a:lnTo>
                      <a:pt x="126990" y="132819"/>
                    </a:lnTo>
                    <a:cubicBezTo>
                      <a:pt x="126990" y="133739"/>
                      <a:pt x="126070" y="134966"/>
                      <a:pt x="124843" y="134966"/>
                    </a:cubicBezTo>
                    <a:lnTo>
                      <a:pt x="97850" y="134966"/>
                    </a:lnTo>
                    <a:close/>
                    <a:moveTo>
                      <a:pt x="64108" y="115335"/>
                    </a:moveTo>
                    <a:cubicBezTo>
                      <a:pt x="84967" y="115335"/>
                      <a:pt x="96930" y="99998"/>
                      <a:pt x="97236" y="69324"/>
                    </a:cubicBezTo>
                    <a:cubicBezTo>
                      <a:pt x="97543" y="38956"/>
                      <a:pt x="85580" y="21779"/>
                      <a:pt x="65029" y="21779"/>
                    </a:cubicBezTo>
                    <a:cubicBezTo>
                      <a:pt x="42330" y="21472"/>
                      <a:pt x="31594" y="38649"/>
                      <a:pt x="31594" y="66870"/>
                    </a:cubicBezTo>
                    <a:cubicBezTo>
                      <a:pt x="31287" y="97544"/>
                      <a:pt x="42330" y="115335"/>
                      <a:pt x="64108" y="11533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15F38D3A-B53E-12A7-EA5B-CADB8E01CEA2}"/>
                  </a:ext>
                </a:extLst>
              </p:cNvPr>
              <p:cNvSpPr/>
              <p:nvPr/>
            </p:nvSpPr>
            <p:spPr>
              <a:xfrm>
                <a:off x="11454548" y="6533935"/>
                <a:ext cx="130060" cy="138033"/>
              </a:xfrm>
              <a:custGeom>
                <a:avLst/>
                <a:gdLst>
                  <a:gd name="connsiteX0" fmla="*/ 65335 w 130060"/>
                  <a:gd name="connsiteY0" fmla="*/ 138034 h 138033"/>
                  <a:gd name="connsiteX1" fmla="*/ 0 w 130060"/>
                  <a:gd name="connsiteY1" fmla="*/ 69324 h 138033"/>
                  <a:gd name="connsiteX2" fmla="*/ 65335 w 130060"/>
                  <a:gd name="connsiteY2" fmla="*/ 0 h 138033"/>
                  <a:gd name="connsiteX3" fmla="*/ 130057 w 130060"/>
                  <a:gd name="connsiteY3" fmla="*/ 68710 h 138033"/>
                  <a:gd name="connsiteX4" fmla="*/ 65335 w 130060"/>
                  <a:gd name="connsiteY4" fmla="*/ 138034 h 138033"/>
                  <a:gd name="connsiteX5" fmla="*/ 65335 w 130060"/>
                  <a:gd name="connsiteY5" fmla="*/ 116255 h 138033"/>
                  <a:gd name="connsiteX6" fmla="*/ 98463 w 130060"/>
                  <a:gd name="connsiteY6" fmla="*/ 69324 h 138033"/>
                  <a:gd name="connsiteX7" fmla="*/ 65029 w 130060"/>
                  <a:gd name="connsiteY7" fmla="*/ 21779 h 138033"/>
                  <a:gd name="connsiteX8" fmla="*/ 31594 w 130060"/>
                  <a:gd name="connsiteY8" fmla="*/ 69630 h 138033"/>
                  <a:gd name="connsiteX9" fmla="*/ 65335 w 130060"/>
                  <a:gd name="connsiteY9" fmla="*/ 116255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0060" h="138033">
                    <a:moveTo>
                      <a:pt x="65335" y="138034"/>
                    </a:moveTo>
                    <a:cubicBezTo>
                      <a:pt x="23619" y="138034"/>
                      <a:pt x="0" y="111040"/>
                      <a:pt x="0" y="69324"/>
                    </a:cubicBezTo>
                    <a:cubicBezTo>
                      <a:pt x="0" y="27607"/>
                      <a:pt x="23619" y="0"/>
                      <a:pt x="65335" y="0"/>
                    </a:cubicBezTo>
                    <a:cubicBezTo>
                      <a:pt x="106745" y="0"/>
                      <a:pt x="130057" y="26993"/>
                      <a:pt x="130057" y="68710"/>
                    </a:cubicBezTo>
                    <a:cubicBezTo>
                      <a:pt x="130364" y="110427"/>
                      <a:pt x="107052" y="138034"/>
                      <a:pt x="65335" y="138034"/>
                    </a:cubicBezTo>
                    <a:close/>
                    <a:moveTo>
                      <a:pt x="65335" y="116255"/>
                    </a:moveTo>
                    <a:cubicBezTo>
                      <a:pt x="87727" y="116255"/>
                      <a:pt x="98463" y="100918"/>
                      <a:pt x="98463" y="69324"/>
                    </a:cubicBezTo>
                    <a:cubicBezTo>
                      <a:pt x="98463" y="38036"/>
                      <a:pt x="87421" y="21779"/>
                      <a:pt x="65029" y="21779"/>
                    </a:cubicBezTo>
                    <a:cubicBezTo>
                      <a:pt x="42330" y="22085"/>
                      <a:pt x="31594" y="38343"/>
                      <a:pt x="31594" y="69630"/>
                    </a:cubicBezTo>
                    <a:cubicBezTo>
                      <a:pt x="31594" y="100611"/>
                      <a:pt x="42943" y="116255"/>
                      <a:pt x="65335" y="116255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8187FE85-88D6-0B4A-B43E-C5133FDB2DFC}"/>
                  </a:ext>
                </a:extLst>
              </p:cNvPr>
              <p:cNvSpPr/>
              <p:nvPr/>
            </p:nvSpPr>
            <p:spPr>
              <a:xfrm>
                <a:off x="11596875" y="6533629"/>
                <a:ext cx="118708" cy="135273"/>
              </a:xfrm>
              <a:custGeom>
                <a:avLst/>
                <a:gdLst>
                  <a:gd name="connsiteX0" fmla="*/ 2147 w 118708"/>
                  <a:gd name="connsiteY0" fmla="*/ 135273 h 135273"/>
                  <a:gd name="connsiteX1" fmla="*/ 0 w 118708"/>
                  <a:gd name="connsiteY1" fmla="*/ 133126 h 135273"/>
                  <a:gd name="connsiteX2" fmla="*/ 920 w 118708"/>
                  <a:gd name="connsiteY2" fmla="*/ 73005 h 135273"/>
                  <a:gd name="connsiteX3" fmla="*/ 614 w 118708"/>
                  <a:gd name="connsiteY3" fmla="*/ 5215 h 135273"/>
                  <a:gd name="connsiteX4" fmla="*/ 2761 w 118708"/>
                  <a:gd name="connsiteY4" fmla="*/ 3067 h 135273"/>
                  <a:gd name="connsiteX5" fmla="*/ 28527 w 118708"/>
                  <a:gd name="connsiteY5" fmla="*/ 3067 h 135273"/>
                  <a:gd name="connsiteX6" fmla="*/ 30674 w 118708"/>
                  <a:gd name="connsiteY6" fmla="*/ 5215 h 135273"/>
                  <a:gd name="connsiteX7" fmla="*/ 29754 w 118708"/>
                  <a:gd name="connsiteY7" fmla="*/ 22392 h 135273"/>
                  <a:gd name="connsiteX8" fmla="*/ 73004 w 118708"/>
                  <a:gd name="connsiteY8" fmla="*/ 0 h 135273"/>
                  <a:gd name="connsiteX9" fmla="*/ 118095 w 118708"/>
                  <a:gd name="connsiteY9" fmla="*/ 51839 h 135273"/>
                  <a:gd name="connsiteX10" fmla="*/ 118095 w 118708"/>
                  <a:gd name="connsiteY10" fmla="*/ 79139 h 135273"/>
                  <a:gd name="connsiteX11" fmla="*/ 118708 w 118708"/>
                  <a:gd name="connsiteY11" fmla="*/ 133126 h 135273"/>
                  <a:gd name="connsiteX12" fmla="*/ 116561 w 118708"/>
                  <a:gd name="connsiteY12" fmla="*/ 135273 h 135273"/>
                  <a:gd name="connsiteX13" fmla="*/ 89261 w 118708"/>
                  <a:gd name="connsiteY13" fmla="*/ 135273 h 135273"/>
                  <a:gd name="connsiteX14" fmla="*/ 87114 w 118708"/>
                  <a:gd name="connsiteY14" fmla="*/ 133126 h 135273"/>
                  <a:gd name="connsiteX15" fmla="*/ 87727 w 118708"/>
                  <a:gd name="connsiteY15" fmla="*/ 79139 h 135273"/>
                  <a:gd name="connsiteX16" fmla="*/ 87727 w 118708"/>
                  <a:gd name="connsiteY16" fmla="*/ 52760 h 135273"/>
                  <a:gd name="connsiteX17" fmla="*/ 63495 w 118708"/>
                  <a:gd name="connsiteY17" fmla="*/ 24233 h 135273"/>
                  <a:gd name="connsiteX18" fmla="*/ 30981 w 118708"/>
                  <a:gd name="connsiteY18" fmla="*/ 64722 h 135273"/>
                  <a:gd name="connsiteX19" fmla="*/ 30981 w 118708"/>
                  <a:gd name="connsiteY19" fmla="*/ 79139 h 135273"/>
                  <a:gd name="connsiteX20" fmla="*/ 31594 w 118708"/>
                  <a:gd name="connsiteY20" fmla="*/ 133126 h 135273"/>
                  <a:gd name="connsiteX21" fmla="*/ 29447 w 118708"/>
                  <a:gd name="connsiteY21" fmla="*/ 135273 h 135273"/>
                  <a:gd name="connsiteX22" fmla="*/ 2147 w 118708"/>
                  <a:gd name="connsiteY22" fmla="*/ 135273 h 135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8708" h="135273">
                    <a:moveTo>
                      <a:pt x="2147" y="135273"/>
                    </a:moveTo>
                    <a:cubicBezTo>
                      <a:pt x="1227" y="135273"/>
                      <a:pt x="0" y="134353"/>
                      <a:pt x="0" y="133126"/>
                    </a:cubicBezTo>
                    <a:lnTo>
                      <a:pt x="920" y="73005"/>
                    </a:lnTo>
                    <a:lnTo>
                      <a:pt x="614" y="5215"/>
                    </a:lnTo>
                    <a:cubicBezTo>
                      <a:pt x="614" y="4294"/>
                      <a:pt x="1534" y="3067"/>
                      <a:pt x="2761" y="3067"/>
                    </a:cubicBezTo>
                    <a:lnTo>
                      <a:pt x="28527" y="3067"/>
                    </a:lnTo>
                    <a:cubicBezTo>
                      <a:pt x="29447" y="3067"/>
                      <a:pt x="30674" y="3988"/>
                      <a:pt x="30674" y="5215"/>
                    </a:cubicBezTo>
                    <a:lnTo>
                      <a:pt x="29754" y="22392"/>
                    </a:lnTo>
                    <a:cubicBezTo>
                      <a:pt x="38342" y="10122"/>
                      <a:pt x="53373" y="0"/>
                      <a:pt x="73004" y="0"/>
                    </a:cubicBezTo>
                    <a:cubicBezTo>
                      <a:pt x="100304" y="0"/>
                      <a:pt x="118095" y="18404"/>
                      <a:pt x="118095" y="51839"/>
                    </a:cubicBezTo>
                    <a:lnTo>
                      <a:pt x="118095" y="79139"/>
                    </a:lnTo>
                    <a:lnTo>
                      <a:pt x="118708" y="133126"/>
                    </a:lnTo>
                    <a:cubicBezTo>
                      <a:pt x="118708" y="134046"/>
                      <a:pt x="117788" y="135273"/>
                      <a:pt x="116561" y="135273"/>
                    </a:cubicBezTo>
                    <a:lnTo>
                      <a:pt x="89261" y="135273"/>
                    </a:lnTo>
                    <a:cubicBezTo>
                      <a:pt x="88341" y="135273"/>
                      <a:pt x="87114" y="134353"/>
                      <a:pt x="87114" y="133126"/>
                    </a:cubicBezTo>
                    <a:lnTo>
                      <a:pt x="87727" y="79139"/>
                    </a:lnTo>
                    <a:lnTo>
                      <a:pt x="87727" y="52760"/>
                    </a:lnTo>
                    <a:cubicBezTo>
                      <a:pt x="87727" y="34048"/>
                      <a:pt x="77605" y="24233"/>
                      <a:pt x="63495" y="24233"/>
                    </a:cubicBezTo>
                    <a:cubicBezTo>
                      <a:pt x="48158" y="24233"/>
                      <a:pt x="33435" y="37422"/>
                      <a:pt x="30981" y="64722"/>
                    </a:cubicBezTo>
                    <a:lnTo>
                      <a:pt x="30981" y="79139"/>
                    </a:lnTo>
                    <a:lnTo>
                      <a:pt x="31594" y="133126"/>
                    </a:lnTo>
                    <a:cubicBezTo>
                      <a:pt x="31594" y="134046"/>
                      <a:pt x="30674" y="135273"/>
                      <a:pt x="29447" y="135273"/>
                    </a:cubicBezTo>
                    <a:lnTo>
                      <a:pt x="2147" y="135273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EC12B66F-F2BB-813A-30E5-AD23E62E2E5F}"/>
                  </a:ext>
                </a:extLst>
              </p:cNvPr>
              <p:cNvSpPr/>
              <p:nvPr/>
            </p:nvSpPr>
            <p:spPr>
              <a:xfrm>
                <a:off x="11181243" y="6533629"/>
                <a:ext cx="129443" cy="138033"/>
              </a:xfrm>
              <a:custGeom>
                <a:avLst/>
                <a:gdLst>
                  <a:gd name="connsiteX0" fmla="*/ 129444 w 129443"/>
                  <a:gd name="connsiteY0" fmla="*/ 72698 h 138033"/>
                  <a:gd name="connsiteX1" fmla="*/ 127297 w 129443"/>
                  <a:gd name="connsiteY1" fmla="*/ 74845 h 138033"/>
                  <a:gd name="connsiteX2" fmla="*/ 30981 w 129443"/>
                  <a:gd name="connsiteY2" fmla="*/ 74845 h 138033"/>
                  <a:gd name="connsiteX3" fmla="*/ 65949 w 129443"/>
                  <a:gd name="connsiteY3" fmla="*/ 116255 h 138033"/>
                  <a:gd name="connsiteX4" fmla="*/ 95396 w 129443"/>
                  <a:gd name="connsiteY4" fmla="*/ 95090 h 138033"/>
                  <a:gd name="connsiteX5" fmla="*/ 95396 w 129443"/>
                  <a:gd name="connsiteY5" fmla="*/ 95090 h 138033"/>
                  <a:gd name="connsiteX6" fmla="*/ 97850 w 129443"/>
                  <a:gd name="connsiteY6" fmla="*/ 92943 h 138033"/>
                  <a:gd name="connsiteX7" fmla="*/ 123616 w 129443"/>
                  <a:gd name="connsiteY7" fmla="*/ 92943 h 138033"/>
                  <a:gd name="connsiteX8" fmla="*/ 125456 w 129443"/>
                  <a:gd name="connsiteY8" fmla="*/ 95090 h 138033"/>
                  <a:gd name="connsiteX9" fmla="*/ 65335 w 129443"/>
                  <a:gd name="connsiteY9" fmla="*/ 138034 h 138033"/>
                  <a:gd name="connsiteX10" fmla="*/ 0 w 129443"/>
                  <a:gd name="connsiteY10" fmla="*/ 69324 h 138033"/>
                  <a:gd name="connsiteX11" fmla="*/ 64415 w 129443"/>
                  <a:gd name="connsiteY11" fmla="*/ 0 h 138033"/>
                  <a:gd name="connsiteX12" fmla="*/ 129444 w 129443"/>
                  <a:gd name="connsiteY12" fmla="*/ 72698 h 138033"/>
                  <a:gd name="connsiteX13" fmla="*/ 96009 w 129443"/>
                  <a:gd name="connsiteY13" fmla="*/ 53987 h 138033"/>
                  <a:gd name="connsiteX14" fmla="*/ 64722 w 129443"/>
                  <a:gd name="connsiteY14" fmla="*/ 21472 h 138033"/>
                  <a:gd name="connsiteX15" fmla="*/ 31901 w 129443"/>
                  <a:gd name="connsiteY15" fmla="*/ 53987 h 138033"/>
                  <a:gd name="connsiteX16" fmla="*/ 96009 w 129443"/>
                  <a:gd name="connsiteY16" fmla="*/ 53987 h 13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9443" h="138033">
                    <a:moveTo>
                      <a:pt x="129444" y="72698"/>
                    </a:moveTo>
                    <a:cubicBezTo>
                      <a:pt x="129444" y="73618"/>
                      <a:pt x="128524" y="74845"/>
                      <a:pt x="127297" y="74845"/>
                    </a:cubicBezTo>
                    <a:lnTo>
                      <a:pt x="30981" y="74845"/>
                    </a:lnTo>
                    <a:cubicBezTo>
                      <a:pt x="32208" y="103065"/>
                      <a:pt x="43864" y="116255"/>
                      <a:pt x="65949" y="116255"/>
                    </a:cubicBezTo>
                    <a:cubicBezTo>
                      <a:pt x="80979" y="116255"/>
                      <a:pt x="91102" y="109200"/>
                      <a:pt x="95396" y="95090"/>
                    </a:cubicBezTo>
                    <a:lnTo>
                      <a:pt x="95396" y="95090"/>
                    </a:lnTo>
                    <a:cubicBezTo>
                      <a:pt x="95703" y="93863"/>
                      <a:pt x="96930" y="92943"/>
                      <a:pt x="97850" y="92943"/>
                    </a:cubicBezTo>
                    <a:lnTo>
                      <a:pt x="123616" y="92943"/>
                    </a:lnTo>
                    <a:cubicBezTo>
                      <a:pt x="124536" y="92943"/>
                      <a:pt x="125763" y="93863"/>
                      <a:pt x="125456" y="95090"/>
                    </a:cubicBezTo>
                    <a:cubicBezTo>
                      <a:pt x="120548" y="119016"/>
                      <a:pt x="99077" y="138034"/>
                      <a:pt x="65335" y="138034"/>
                    </a:cubicBezTo>
                    <a:cubicBezTo>
                      <a:pt x="22699" y="138034"/>
                      <a:pt x="0" y="109507"/>
                      <a:pt x="0" y="69324"/>
                    </a:cubicBezTo>
                    <a:cubicBezTo>
                      <a:pt x="0" y="27607"/>
                      <a:pt x="24232" y="0"/>
                      <a:pt x="64415" y="0"/>
                    </a:cubicBezTo>
                    <a:cubicBezTo>
                      <a:pt x="105518" y="0"/>
                      <a:pt x="128524" y="27607"/>
                      <a:pt x="129444" y="72698"/>
                    </a:cubicBezTo>
                    <a:close/>
                    <a:moveTo>
                      <a:pt x="96009" y="53987"/>
                    </a:moveTo>
                    <a:cubicBezTo>
                      <a:pt x="94782" y="36809"/>
                      <a:pt x="84967" y="21472"/>
                      <a:pt x="64722" y="21472"/>
                    </a:cubicBezTo>
                    <a:cubicBezTo>
                      <a:pt x="46318" y="21472"/>
                      <a:pt x="35275" y="32821"/>
                      <a:pt x="31901" y="53987"/>
                    </a:cubicBezTo>
                    <a:lnTo>
                      <a:pt x="96009" y="5398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4393E9C-00AC-3C45-4C44-2E22785611D3}"/>
                  </a:ext>
                </a:extLst>
              </p:cNvPr>
              <p:cNvSpPr/>
              <p:nvPr/>
            </p:nvSpPr>
            <p:spPr>
              <a:xfrm>
                <a:off x="11317129" y="6534549"/>
                <a:ext cx="126990" cy="184679"/>
              </a:xfrm>
              <a:custGeom>
                <a:avLst/>
                <a:gdLst>
                  <a:gd name="connsiteX0" fmla="*/ 126990 w 126990"/>
                  <a:gd name="connsiteY0" fmla="*/ 4294 h 184679"/>
                  <a:gd name="connsiteX1" fmla="*/ 124843 w 126990"/>
                  <a:gd name="connsiteY1" fmla="*/ 2147 h 184679"/>
                  <a:gd name="connsiteX2" fmla="*/ 97850 w 126990"/>
                  <a:gd name="connsiteY2" fmla="*/ 2147 h 184679"/>
                  <a:gd name="connsiteX3" fmla="*/ 95703 w 126990"/>
                  <a:gd name="connsiteY3" fmla="*/ 4294 h 184679"/>
                  <a:gd name="connsiteX4" fmla="*/ 96316 w 126990"/>
                  <a:gd name="connsiteY4" fmla="*/ 19018 h 184679"/>
                  <a:gd name="connsiteX5" fmla="*/ 56747 w 126990"/>
                  <a:gd name="connsiteY5" fmla="*/ 0 h 184679"/>
                  <a:gd name="connsiteX6" fmla="*/ 0 w 126990"/>
                  <a:gd name="connsiteY6" fmla="*/ 67483 h 184679"/>
                  <a:gd name="connsiteX7" fmla="*/ 57974 w 126990"/>
                  <a:gd name="connsiteY7" fmla="*/ 133433 h 184679"/>
                  <a:gd name="connsiteX8" fmla="*/ 97543 w 126990"/>
                  <a:gd name="connsiteY8" fmla="*/ 112574 h 184679"/>
                  <a:gd name="connsiteX9" fmla="*/ 97543 w 126990"/>
                  <a:gd name="connsiteY9" fmla="*/ 127605 h 184679"/>
                  <a:gd name="connsiteX10" fmla="*/ 65336 w 126990"/>
                  <a:gd name="connsiteY10" fmla="*/ 163187 h 184679"/>
                  <a:gd name="connsiteX11" fmla="*/ 35889 w 126990"/>
                  <a:gd name="connsiteY11" fmla="*/ 145702 h 184679"/>
                  <a:gd name="connsiteX12" fmla="*/ 33435 w 126990"/>
                  <a:gd name="connsiteY12" fmla="*/ 143555 h 184679"/>
                  <a:gd name="connsiteX13" fmla="*/ 6748 w 126990"/>
                  <a:gd name="connsiteY13" fmla="*/ 143555 h 184679"/>
                  <a:gd name="connsiteX14" fmla="*/ 4601 w 126990"/>
                  <a:gd name="connsiteY14" fmla="*/ 145702 h 184679"/>
                  <a:gd name="connsiteX15" fmla="*/ 64109 w 126990"/>
                  <a:gd name="connsiteY15" fmla="*/ 184658 h 184679"/>
                  <a:gd name="connsiteX16" fmla="*/ 125763 w 126990"/>
                  <a:gd name="connsiteY16" fmla="*/ 127911 h 184679"/>
                  <a:gd name="connsiteX17" fmla="*/ 125456 w 126990"/>
                  <a:gd name="connsiteY17" fmla="*/ 63189 h 184679"/>
                  <a:gd name="connsiteX18" fmla="*/ 126990 w 126990"/>
                  <a:gd name="connsiteY18" fmla="*/ 4294 h 184679"/>
                  <a:gd name="connsiteX19" fmla="*/ 65029 w 126990"/>
                  <a:gd name="connsiteY19" fmla="*/ 112267 h 184679"/>
                  <a:gd name="connsiteX20" fmla="*/ 31594 w 126990"/>
                  <a:gd name="connsiteY20" fmla="*/ 66256 h 184679"/>
                  <a:gd name="connsiteX21" fmla="*/ 65029 w 126990"/>
                  <a:gd name="connsiteY21" fmla="*/ 21779 h 184679"/>
                  <a:gd name="connsiteX22" fmla="*/ 97236 w 126990"/>
                  <a:gd name="connsiteY22" fmla="*/ 68710 h 184679"/>
                  <a:gd name="connsiteX23" fmla="*/ 65029 w 126990"/>
                  <a:gd name="connsiteY23" fmla="*/ 112267 h 184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6990" h="184679">
                    <a:moveTo>
                      <a:pt x="126990" y="4294"/>
                    </a:moveTo>
                    <a:cubicBezTo>
                      <a:pt x="126990" y="3374"/>
                      <a:pt x="126070" y="2147"/>
                      <a:pt x="124843" y="2147"/>
                    </a:cubicBezTo>
                    <a:lnTo>
                      <a:pt x="97850" y="2147"/>
                    </a:lnTo>
                    <a:cubicBezTo>
                      <a:pt x="96930" y="2147"/>
                      <a:pt x="95703" y="3067"/>
                      <a:pt x="95703" y="4294"/>
                    </a:cubicBezTo>
                    <a:lnTo>
                      <a:pt x="96316" y="19018"/>
                    </a:lnTo>
                    <a:cubicBezTo>
                      <a:pt x="87727" y="6748"/>
                      <a:pt x="74231" y="0"/>
                      <a:pt x="56747" y="0"/>
                    </a:cubicBezTo>
                    <a:cubicBezTo>
                      <a:pt x="21165" y="0"/>
                      <a:pt x="0" y="30367"/>
                      <a:pt x="0" y="67483"/>
                    </a:cubicBezTo>
                    <a:cubicBezTo>
                      <a:pt x="0" y="104906"/>
                      <a:pt x="19631" y="133433"/>
                      <a:pt x="57974" y="133433"/>
                    </a:cubicBezTo>
                    <a:cubicBezTo>
                      <a:pt x="75458" y="133433"/>
                      <a:pt x="88648" y="125764"/>
                      <a:pt x="97543" y="112574"/>
                    </a:cubicBezTo>
                    <a:lnTo>
                      <a:pt x="97543" y="127605"/>
                    </a:lnTo>
                    <a:cubicBezTo>
                      <a:pt x="97543" y="152451"/>
                      <a:pt x="84353" y="163187"/>
                      <a:pt x="65336" y="163187"/>
                    </a:cubicBezTo>
                    <a:cubicBezTo>
                      <a:pt x="49385" y="163187"/>
                      <a:pt x="38956" y="157358"/>
                      <a:pt x="35889" y="145702"/>
                    </a:cubicBezTo>
                    <a:cubicBezTo>
                      <a:pt x="35582" y="144475"/>
                      <a:pt x="34662" y="143555"/>
                      <a:pt x="33435" y="143555"/>
                    </a:cubicBezTo>
                    <a:lnTo>
                      <a:pt x="6748" y="143555"/>
                    </a:lnTo>
                    <a:cubicBezTo>
                      <a:pt x="5828" y="143555"/>
                      <a:pt x="4601" y="144475"/>
                      <a:pt x="4601" y="145702"/>
                    </a:cubicBezTo>
                    <a:cubicBezTo>
                      <a:pt x="8282" y="172389"/>
                      <a:pt x="32514" y="185272"/>
                      <a:pt x="64109" y="184658"/>
                    </a:cubicBezTo>
                    <a:cubicBezTo>
                      <a:pt x="104598" y="184658"/>
                      <a:pt x="126070" y="163493"/>
                      <a:pt x="125763" y="127911"/>
                    </a:cubicBezTo>
                    <a:lnTo>
                      <a:pt x="125456" y="63189"/>
                    </a:lnTo>
                    <a:lnTo>
                      <a:pt x="126990" y="4294"/>
                    </a:lnTo>
                    <a:close/>
                    <a:moveTo>
                      <a:pt x="65029" y="112267"/>
                    </a:moveTo>
                    <a:cubicBezTo>
                      <a:pt x="43250" y="112574"/>
                      <a:pt x="31594" y="96317"/>
                      <a:pt x="31594" y="66256"/>
                    </a:cubicBezTo>
                    <a:cubicBezTo>
                      <a:pt x="31594" y="38036"/>
                      <a:pt x="42943" y="21165"/>
                      <a:pt x="65029" y="21779"/>
                    </a:cubicBezTo>
                    <a:cubicBezTo>
                      <a:pt x="86194" y="22085"/>
                      <a:pt x="97543" y="38649"/>
                      <a:pt x="97236" y="68710"/>
                    </a:cubicBezTo>
                    <a:cubicBezTo>
                      <a:pt x="96930" y="97851"/>
                      <a:pt x="85274" y="112267"/>
                      <a:pt x="65029" y="112267"/>
                    </a:cubicBez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6AA29360-C2A5-B529-E3A7-D8676344CE4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759483" y="0"/>
            <a:ext cx="3432517" cy="686503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5E77EA5-BF5A-50C2-82F3-C1C4823BE1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933414" y="875584"/>
            <a:ext cx="7258586" cy="5106831"/>
          </a:xfrm>
          <a:prstGeom prst="rect">
            <a:avLst/>
          </a:prstGeom>
        </p:spPr>
      </p:pic>
      <p:sp>
        <p:nvSpPr>
          <p:cNvPr id="7" name="Slide Number Static">
            <a:extLst>
              <a:ext uri="{FF2B5EF4-FFF2-40B4-BE49-F238E27FC236}">
                <a16:creationId xmlns:a16="http://schemas.microsoft.com/office/drawing/2014/main" id="{1908DB6B-EA02-0036-4A58-497709796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4156955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pter slide G">
    <p:bg>
      <p:bgPr>
        <a:solidFill>
          <a:srgbClr val="E7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phic 51">
            <a:extLst>
              <a:ext uri="{FF2B5EF4-FFF2-40B4-BE49-F238E27FC236}">
                <a16:creationId xmlns:a16="http://schemas.microsoft.com/office/drawing/2014/main" id="{1A2B3138-3EF9-1DB8-AA8B-41623F2A66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4070" y="0"/>
            <a:ext cx="5078438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A0E266-F964-65E1-891C-CDA4DA0AD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A9D98A-37CA-8C93-55F2-9BCBDDE6EADB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C04BA471-F584-A735-72E7-5FC178393303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" name="Logo">
              <a:extLst>
                <a:ext uri="{FF2B5EF4-FFF2-40B4-BE49-F238E27FC236}">
                  <a16:creationId xmlns:a16="http://schemas.microsoft.com/office/drawing/2014/main" id="{95E113AE-2F66-84CB-E048-AFB79B333A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44D4FDD-6B9F-9931-E9E5-506B38B45F71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2" name="Logo">
                <a:extLst>
                  <a:ext uri="{FF2B5EF4-FFF2-40B4-BE49-F238E27FC236}">
                    <a16:creationId xmlns:a16="http://schemas.microsoft.com/office/drawing/2014/main" id="{07DB8141-7150-3A77-335F-69E0AA9A84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066810C2-BC02-F42B-60E0-FA3F3111C744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6808531A-0D2A-8529-D8B6-C1F4B7B30344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1D49FDCD-1F1E-6CEC-1E29-978D6CEBA894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0624DC68-3E0E-C632-E315-56C7EE121B1C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F2C9FC2C-0D12-D8F9-1045-45077749AF8E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D3F51CB1-9CC9-189F-8DE9-51D55EEC97C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213654" y="744193"/>
            <a:ext cx="7632090" cy="5369613"/>
          </a:xfrm>
          <a:prstGeom prst="rect">
            <a:avLst/>
          </a:prstGeom>
        </p:spPr>
      </p:pic>
      <p:sp>
        <p:nvSpPr>
          <p:cNvPr id="6" name="Slide Number Static">
            <a:extLst>
              <a:ext uri="{FF2B5EF4-FFF2-40B4-BE49-F238E27FC236}">
                <a16:creationId xmlns:a16="http://schemas.microsoft.com/office/drawing/2014/main" id="{423B8B34-1B6B-9825-4A0E-7456DCB42C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465651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hapter slide G">
    <p:bg>
      <p:bgPr>
        <a:solidFill>
          <a:srgbClr val="63B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phic 51">
            <a:extLst>
              <a:ext uri="{FF2B5EF4-FFF2-40B4-BE49-F238E27FC236}">
                <a16:creationId xmlns:a16="http://schemas.microsoft.com/office/drawing/2014/main" id="{1A2B3138-3EF9-1DB8-AA8B-41623F2A66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4070" y="0"/>
            <a:ext cx="5078438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A0E266-F964-65E1-891C-CDA4DA0AD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A9D98A-37CA-8C93-55F2-9BCBDDE6EADB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C04BA471-F584-A735-72E7-5FC178393303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" name="Logo">
              <a:extLst>
                <a:ext uri="{FF2B5EF4-FFF2-40B4-BE49-F238E27FC236}">
                  <a16:creationId xmlns:a16="http://schemas.microsoft.com/office/drawing/2014/main" id="{95E113AE-2F66-84CB-E048-AFB79B333A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44D4FDD-6B9F-9931-E9E5-506B38B45F71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2" name="Logo">
                <a:extLst>
                  <a:ext uri="{FF2B5EF4-FFF2-40B4-BE49-F238E27FC236}">
                    <a16:creationId xmlns:a16="http://schemas.microsoft.com/office/drawing/2014/main" id="{07DB8141-7150-3A77-335F-69E0AA9A84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066810C2-BC02-F42B-60E0-FA3F3111C744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6808531A-0D2A-8529-D8B6-C1F4B7B30344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1D49FDCD-1F1E-6CEC-1E29-978D6CEBA894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0624DC68-3E0E-C632-E315-56C7EE121B1C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F2C9FC2C-0D12-D8F9-1045-45077749AF8E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D3F51CB1-9CC9-189F-8DE9-51D55EEC97C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213654" y="744193"/>
            <a:ext cx="7632090" cy="5369612"/>
          </a:xfrm>
          <a:prstGeom prst="rect">
            <a:avLst/>
          </a:prstGeom>
        </p:spPr>
      </p:pic>
      <p:sp>
        <p:nvSpPr>
          <p:cNvPr id="6" name="Slide Number Static">
            <a:extLst>
              <a:ext uri="{FF2B5EF4-FFF2-40B4-BE49-F238E27FC236}">
                <a16:creationId xmlns:a16="http://schemas.microsoft.com/office/drawing/2014/main" id="{6A9748C1-25C7-39EA-0A4E-3E0D72AAE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947316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pter slide G">
    <p:bg>
      <p:bgPr>
        <a:solidFill>
          <a:srgbClr val="FA6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phic 51">
            <a:extLst>
              <a:ext uri="{FF2B5EF4-FFF2-40B4-BE49-F238E27FC236}">
                <a16:creationId xmlns:a16="http://schemas.microsoft.com/office/drawing/2014/main" id="{1A2B3138-3EF9-1DB8-AA8B-41623F2A66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0800000">
            <a:off x="-14070" y="0"/>
            <a:ext cx="5078438" cy="6865034"/>
          </a:xfrm>
          <a:prstGeom prst="rect">
            <a:avLst/>
          </a:prstGeom>
        </p:spPr>
      </p:pic>
      <p:sp>
        <p:nvSpPr>
          <p:cNvPr id="23" name="Shape" hidden="1">
            <a:extLst>
              <a:ext uri="{FF2B5EF4-FFF2-40B4-BE49-F238E27FC236}">
                <a16:creationId xmlns:a16="http://schemas.microsoft.com/office/drawing/2014/main" id="{1AB32EF4-631A-1566-764E-879662A9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652001" y="0"/>
            <a:ext cx="6539997" cy="6858000"/>
          </a:xfrm>
          <a:custGeom>
            <a:avLst/>
            <a:gdLst>
              <a:gd name="connsiteX0" fmla="*/ 4463799 w 6662996"/>
              <a:gd name="connsiteY0" fmla="*/ 0 h 6459787"/>
              <a:gd name="connsiteX1" fmla="*/ 6662996 w 6662996"/>
              <a:gd name="connsiteY1" fmla="*/ 0 h 6459787"/>
              <a:gd name="connsiteX2" fmla="*/ 6662996 w 6662996"/>
              <a:gd name="connsiteY2" fmla="*/ 6459787 h 6459787"/>
              <a:gd name="connsiteX3" fmla="*/ 4463799 w 6662996"/>
              <a:gd name="connsiteY3" fmla="*/ 6459787 h 6459787"/>
              <a:gd name="connsiteX4" fmla="*/ 1233841 w 6662996"/>
              <a:gd name="connsiteY4" fmla="*/ 5225967 h 6459787"/>
              <a:gd name="connsiteX5" fmla="*/ 0 w 6662996"/>
              <a:gd name="connsiteY5" fmla="*/ 3229894 h 6459787"/>
              <a:gd name="connsiteX6" fmla="*/ 1233841 w 6662996"/>
              <a:gd name="connsiteY6" fmla="*/ 1233820 h 645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2996" h="6459787">
                <a:moveTo>
                  <a:pt x="4463799" y="0"/>
                </a:moveTo>
                <a:lnTo>
                  <a:pt x="6662996" y="0"/>
                </a:lnTo>
                <a:lnTo>
                  <a:pt x="6662996" y="6459787"/>
                </a:lnTo>
                <a:lnTo>
                  <a:pt x="4463799" y="6459787"/>
                </a:lnTo>
                <a:lnTo>
                  <a:pt x="1233841" y="5225967"/>
                </a:lnTo>
                <a:lnTo>
                  <a:pt x="0" y="3229894"/>
                </a:lnTo>
                <a:lnTo>
                  <a:pt x="1233841" y="1233820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203200" tIns="201600" rIns="201600" bIns="20160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A0E266-F964-65E1-891C-CDA4DA0AD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963" y="1989000"/>
            <a:ext cx="4321174" cy="2880001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A9D98A-37CA-8C93-55F2-9BCBDDE6EADB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C04BA471-F584-A735-72E7-5FC178393303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" name="Logo">
              <a:extLst>
                <a:ext uri="{FF2B5EF4-FFF2-40B4-BE49-F238E27FC236}">
                  <a16:creationId xmlns:a16="http://schemas.microsoft.com/office/drawing/2014/main" id="{95E113AE-2F66-84CB-E048-AFB79B333A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44D4FDD-6B9F-9931-E9E5-506B38B45F71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2" name="Logo">
                <a:extLst>
                  <a:ext uri="{FF2B5EF4-FFF2-40B4-BE49-F238E27FC236}">
                    <a16:creationId xmlns:a16="http://schemas.microsoft.com/office/drawing/2014/main" id="{07DB8141-7150-3A77-335F-69E0AA9A84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066810C2-BC02-F42B-60E0-FA3F3111C744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6808531A-0D2A-8529-D8B6-C1F4B7B30344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1D49FDCD-1F1E-6CEC-1E29-978D6CEBA894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0624DC68-3E0E-C632-E315-56C7EE121B1C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F2C9FC2C-0D12-D8F9-1045-45077749AF8E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D3F51CB1-9CC9-189F-8DE9-51D55EEC97C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13654" y="744193"/>
            <a:ext cx="7632091" cy="5369613"/>
          </a:xfrm>
          <a:prstGeom prst="rect">
            <a:avLst/>
          </a:prstGeom>
        </p:spPr>
      </p:pic>
      <p:sp>
        <p:nvSpPr>
          <p:cNvPr id="53" name="Slide Number Static">
            <a:extLst>
              <a:ext uri="{FF2B5EF4-FFF2-40B4-BE49-F238E27FC236}">
                <a16:creationId xmlns:a16="http://schemas.microsoft.com/office/drawing/2014/main" id="{08C5605D-607D-EC63-AF6D-C9CF711299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036203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5382" userDrawn="1">
          <p15:clr>
            <a:srgbClr val="FBAE40"/>
          </p15:clr>
        </p15:guide>
        <p15:guide id="5" pos="3069" userDrawn="1">
          <p15:clr>
            <a:srgbClr val="FBAE40"/>
          </p15:clr>
        </p15:guide>
        <p15:guide id="6" pos="2298" userDrawn="1">
          <p15:clr>
            <a:srgbClr val="FBAE40"/>
          </p15:clr>
        </p15:guide>
        <p15:guide id="7" orient="horz" pos="1729" userDrawn="1">
          <p15:clr>
            <a:srgbClr val="FBAE40"/>
          </p15:clr>
        </p15:guide>
        <p15:guide id="8" orient="horz" pos="2591" userDrawn="1">
          <p15:clr>
            <a:srgbClr val="FBAE40"/>
          </p15:clr>
        </p15:guide>
        <p15:guide id="9" pos="370" userDrawn="1">
          <p15:clr>
            <a:srgbClr val="FBAE40"/>
          </p15:clr>
        </p15:guide>
        <p15:guide id="10" pos="7333" userDrawn="1">
          <p15:clr>
            <a:srgbClr val="FBAE40"/>
          </p15:clr>
        </p15:guide>
        <p15:guide id="11" orient="horz" pos="368" userDrawn="1">
          <p15:clr>
            <a:srgbClr val="FBAE40"/>
          </p15:clr>
        </p15:guide>
        <p15:guide id="12" orient="horz" pos="3952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56C73C-25DD-7097-39E4-2D20265F6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175C6DB-678A-BCBB-8C16-E865FC85D4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233915"/>
            <a:ext cx="11053763" cy="50519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91C39A56-741F-B8F4-B176-CC0D1AF4E3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302ACDC-9250-A1C0-0A6F-9B134B93CF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8" name="footnotes">
            <a:extLst>
              <a:ext uri="{FF2B5EF4-FFF2-40B4-BE49-F238E27FC236}">
                <a16:creationId xmlns:a16="http://schemas.microsoft.com/office/drawing/2014/main" id="{58CD325F-C945-B496-80B5-4FE33BBCEC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673745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70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5" orient="horz" pos="368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  <p15:guide id="7" pos="3069" userDrawn="1">
          <p15:clr>
            <a:srgbClr val="FBAE40"/>
          </p15:clr>
        </p15:guide>
        <p15:guide id="8" pos="2298" userDrawn="1">
          <p15:clr>
            <a:srgbClr val="FBAE40"/>
          </p15:clr>
        </p15:guide>
        <p15:guide id="9" pos="4611" userDrawn="1">
          <p15:clr>
            <a:srgbClr val="FBAE40"/>
          </p15:clr>
        </p15:guide>
        <p15:guide id="10" pos="5382" userDrawn="1">
          <p15:clr>
            <a:srgbClr val="FBAE40"/>
          </p15:clr>
        </p15:guide>
        <p15:guide id="11" orient="horz" pos="1729" userDrawn="1">
          <p15:clr>
            <a:srgbClr val="FBAE40"/>
          </p15:clr>
        </p15:guide>
        <p15:guide id="12" orient="horz" pos="259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194F66D-A539-E559-86B4-73A25EC278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798983"/>
            <a:ext cx="11053763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DE4BC9-EFD2-644B-17DA-E56AC986A9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2CA3DD6-C439-D3E0-433D-E68B7C8D8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8B6C9CE9-29B1-29BD-1F90-32E4D0C395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EB856692-F994-B347-D828-4FA1D13F2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8631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70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5" orient="horz" pos="368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  <p15:guide id="7" pos="3069" userDrawn="1">
          <p15:clr>
            <a:srgbClr val="FBAE40"/>
          </p15:clr>
        </p15:guide>
        <p15:guide id="8" pos="2298" userDrawn="1">
          <p15:clr>
            <a:srgbClr val="FBAE40"/>
          </p15:clr>
        </p15:guide>
        <p15:guide id="9" pos="4611" userDrawn="1">
          <p15:clr>
            <a:srgbClr val="FBAE40"/>
          </p15:clr>
        </p15:guide>
        <p15:guide id="10" pos="5382" userDrawn="1">
          <p15:clr>
            <a:srgbClr val="FBAE40"/>
          </p15:clr>
        </p15:guide>
        <p15:guide id="11" orient="horz" pos="1729" userDrawn="1">
          <p15:clr>
            <a:srgbClr val="FBAE40"/>
          </p15:clr>
        </p15:guide>
        <p15:guide id="12" orient="horz" pos="259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ong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9DA44C5-759C-86D6-2BFE-0A72E0BD5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30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DA44C5-759C-86D6-2BFE-0A72E0BD523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C83E6D63-4A9D-B171-5573-BE44572473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884570"/>
            <a:ext cx="9252153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heading</a:t>
            </a:r>
            <a:br>
              <a:rPr lang="en-GB"/>
            </a:br>
            <a:r>
              <a:rPr lang="en-GB"/>
              <a:t>over two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51E15A0-B0B9-BB14-1BAD-869D72DEF4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867027"/>
            <a:ext cx="9252154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C76498E-8211-F629-88E0-5705E5D49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75C03A7-86C6-3D97-5D27-E68A93E5EC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1884640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D66D60A-0804-85B3-684C-E6FC08F335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4882891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54E86508-6842-7CF8-F807-9339665FFE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5208027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F10FA55-7696-06A3-45A6-76306671F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A7D1EB7-0189-4782-CF7E-955F22753D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805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333" userDrawn="1">
          <p15:clr>
            <a:srgbClr val="FBAE40"/>
          </p15:clr>
        </p15:guide>
        <p15:guide id="4" pos="370" userDrawn="1">
          <p15:clr>
            <a:srgbClr val="FBAE40"/>
          </p15:clr>
        </p15:guide>
        <p15:guide id="5" orient="horz" pos="368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0835F2-D108-1FEE-FE4D-C4F53B6E0D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D3E9C5F-B0BC-EDDB-EA49-5F66661E0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669774"/>
            <a:ext cx="11053763" cy="44383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BDD5564F-1724-C85B-2CBC-0E0A311183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E87D00BD-1C50-8C43-DB87-859043E715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523475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70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5" orient="horz" pos="368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  <p15:guide id="7" pos="3069" userDrawn="1">
          <p15:clr>
            <a:srgbClr val="FBAE40"/>
          </p15:clr>
        </p15:guide>
        <p15:guide id="8" pos="2298" userDrawn="1">
          <p15:clr>
            <a:srgbClr val="FBAE40"/>
          </p15:clr>
        </p15:guide>
        <p15:guide id="9" pos="4611" userDrawn="1">
          <p15:clr>
            <a:srgbClr val="FBAE40"/>
          </p15:clr>
        </p15:guide>
        <p15:guide id="10" pos="5382" userDrawn="1">
          <p15:clr>
            <a:srgbClr val="FBAE40"/>
          </p15:clr>
        </p15:guide>
        <p15:guide id="11" orient="horz" pos="1729" userDrawn="1">
          <p15:clr>
            <a:srgbClr val="FBAE40"/>
          </p15:clr>
        </p15:guide>
        <p15:guide id="12" orient="horz" pos="259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D37C0E-4290-3035-25B7-8C17D74F6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0835F2-D108-1FEE-FE4D-C4F53B6E0D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D3E9C5F-B0BC-EDDB-EA49-5F66661E0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2126974"/>
            <a:ext cx="11053763" cy="41468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F14210FC-AD88-1825-867D-BA953FEF03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509057"/>
            <a:ext cx="11053762" cy="35848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5D6949-7E33-F0EC-FDA3-808FFFC412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6" name="footnotes">
            <a:extLst>
              <a:ext uri="{FF2B5EF4-FFF2-40B4-BE49-F238E27FC236}">
                <a16:creationId xmlns:a16="http://schemas.microsoft.com/office/drawing/2014/main" id="{7B787E87-306D-4576-1145-3A52DF7AB6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00978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70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5" orient="horz" pos="368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  <p15:guide id="7" pos="3069" userDrawn="1">
          <p15:clr>
            <a:srgbClr val="FBAE40"/>
          </p15:clr>
        </p15:guide>
        <p15:guide id="8" pos="2298" userDrawn="1">
          <p15:clr>
            <a:srgbClr val="FBAE40"/>
          </p15:clr>
        </p15:guide>
        <p15:guide id="9" pos="4611" userDrawn="1">
          <p15:clr>
            <a:srgbClr val="FBAE40"/>
          </p15:clr>
        </p15:guide>
        <p15:guide id="10" pos="5382" userDrawn="1">
          <p15:clr>
            <a:srgbClr val="FBAE40"/>
          </p15:clr>
        </p15:guide>
        <p15:guide id="11" orient="horz" pos="1729" userDrawn="1">
          <p15:clr>
            <a:srgbClr val="FBAE40"/>
          </p15:clr>
        </p15:guide>
        <p15:guide id="12" orient="horz" pos="2591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F96ADCF-7224-423F-C403-4AC51AA1E6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0F67AD-9F14-2E45-2577-8148586493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233915"/>
            <a:ext cx="11053763" cy="50519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EF6640B-C90C-1896-2811-058596EB33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8C3E9274-5A26-418F-F676-381FA45E97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B0A42442-6925-8259-46CC-41A76FF6F6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706384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221883"/>
            <a:ext cx="5328000" cy="48016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1221883"/>
            <a:ext cx="5328000" cy="48016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FD3DCE4-6ED4-376D-F6D0-D9D88A562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F0AFDB5-AB87-1184-7559-A856E865F0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80C48EF2-A5C4-546C-D22C-59A643794C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8660633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CF0AFDB5-AB87-1184-7559-A856E865F0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80C48EF2-A5C4-546C-D22C-59A643794C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D532F8-51D8-AC62-7EA5-382E727FF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2593014-77AA-BA33-9A3A-9094EA3F8F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759351"/>
            <a:ext cx="5328000" cy="426414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3DAE10F-FE46-4FE9-AE1E-088C8766D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1759351"/>
            <a:ext cx="5328000" cy="426414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3906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CF0AFDB5-AB87-1184-7559-A856E865F0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80C48EF2-A5C4-546C-D22C-59A643794C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D532F8-51D8-AC62-7EA5-382E727FF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7600"/>
            <a:ext cx="11053762" cy="83709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long master title style heading that runs </a:t>
            </a:r>
            <a:br>
              <a:rPr lang="en-GB"/>
            </a:br>
            <a:r>
              <a:rPr lang="en-GB"/>
              <a:t>over two long lines of text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4D125B6-513A-00DF-032C-49AFF7E919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1509057"/>
            <a:ext cx="11053762" cy="35848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E080D80-25B0-E28E-D9DB-C7D524FEA0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2152891"/>
            <a:ext cx="5328000" cy="387060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C85B42F-E2F1-DF6A-8E7B-6F9BC27D35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2152891"/>
            <a:ext cx="5328000" cy="387060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4568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1EFABDC-EEF4-54B3-BBDC-B0C3063AA4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21B1B1B-D06A-743E-D382-CE0E7B09FF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EBF21F3-9EB5-DBBE-F145-91E0BB28BF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7AD331A4-6D2E-134F-3DAA-A26EC28759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6ECF512-2C37-0E38-86BB-547C8ED77F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851949"/>
            <a:ext cx="5328000" cy="417154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15B3E884-E9AB-F1B7-5386-D2081177AB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588" y="1851949"/>
            <a:ext cx="5328000" cy="417154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4807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414800"/>
            <a:ext cx="3600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9606" y="1414800"/>
            <a:ext cx="3600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BB2D415-F289-7C5C-4281-0729398A39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51839" y="1414800"/>
            <a:ext cx="3600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92FBEA2-54D2-04FD-ABA0-07B95299F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F63CD66-2D96-1D3E-66CE-7E04A3524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3DE2B8B9-BF0D-000B-702B-6B902F57FD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814551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3492626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6000" y="1774800"/>
            <a:ext cx="3600000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BB2D415-F289-7C5C-4281-0729398A39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12000" y="1774800"/>
            <a:ext cx="3529137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95424E0-B605-7197-53B0-7FED7B78E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D828480B-3079-3502-7688-107C922A0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9FAC8F72-E47D-A78D-4890-0295D00E6C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2EFCE538-91A7-7C94-1A2B-75731223E1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502294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think-cell data - do not delete" hidden="1">
            <a:extLst>
              <a:ext uri="{FF2B5EF4-FFF2-40B4-BE49-F238E27FC236}">
                <a16:creationId xmlns:a16="http://schemas.microsoft.com/office/drawing/2014/main" id="{E8818429-C388-B7D5-0265-DF9D9C1030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41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818429-C388-B7D5-0265-DF9D9C1030A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97EE82-108F-E33E-FCA1-952163EFB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970725-E095-1266-38E5-68F19D3A7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08000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BB2D415-F289-7C5C-4281-0729398A39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36000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1B02355-7378-0F0C-8543-00D8A317FC3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193137" y="1414800"/>
            <a:ext cx="2448000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3B100FFB-7FFB-4C36-A763-9A3750B6D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D556B803-93C1-3322-44FE-360A376295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8" name="footnotes">
            <a:extLst>
              <a:ext uri="{FF2B5EF4-FFF2-40B4-BE49-F238E27FC236}">
                <a16:creationId xmlns:a16="http://schemas.microsoft.com/office/drawing/2014/main" id="{CB765EEC-BBD0-19F0-ACC1-CD4CDC8DD7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964817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82A25633-5587-7E69-32AC-BB94856215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90781" y="-1"/>
            <a:ext cx="3324477" cy="6865567"/>
          </a:xfrm>
          <a:prstGeom prst="rect">
            <a:avLst/>
          </a:prstGeom>
        </p:spPr>
      </p:pic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5DCC880C-AA17-DC67-FACE-EF362931E7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21A907D-FCCD-7731-894A-AD523A240F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1D18EAE-179B-9CD3-BF39-4E8E80B1C3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B304E1-BD23-0C90-293D-4DB64525C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7F99191-1444-7AB5-122A-B43964FD0E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0823776-4915-2D63-94B1-1834FA6481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4B241EB1-9163-BFCA-5FC0-E2AD6A2DDA9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960"/>
          <a:stretch>
            <a:fillRect/>
          </a:stretch>
        </p:blipFill>
        <p:spPr>
          <a:xfrm>
            <a:off x="6204309" y="1219048"/>
            <a:ext cx="5987691" cy="447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814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1E6F775-1596-5E4A-C305-9630A2C286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9013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E6F775-1596-5E4A-C305-9630A2C28693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48D36B1-CEAC-1FE8-726A-F8349C5DC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7BE29A2-04F0-3CD0-D87C-F300204613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08000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1BE7BADC-7417-23C8-95D2-9FB0EAE7436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36000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D30D986C-07EE-5B64-9820-9197A23DD406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193137" y="1729408"/>
            <a:ext cx="2448000" cy="436539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B213669-30D9-5054-8CAF-4E5FFFB23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197FBEB-0F5D-D9AD-5EF0-955ECCD1F4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43169357-1A71-2EA3-2712-971EA6D8C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6DCA46BB-B983-E0EB-8EDD-BBBC6E2DD7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81044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414800"/>
            <a:ext cx="3492625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04000" y="1414800"/>
            <a:ext cx="7237137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4000" y="1774800"/>
            <a:ext cx="7237137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3D9D5BF3-05F7-FDED-026F-9040F5BA3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35087132-7EF3-DA3B-0B41-030603DA4C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2" name="footnotes">
            <a:extLst>
              <a:ext uri="{FF2B5EF4-FFF2-40B4-BE49-F238E27FC236}">
                <a16:creationId xmlns:a16="http://schemas.microsoft.com/office/drawing/2014/main" id="{D78F07F5-63D9-F989-730C-458F46BC45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824682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414800"/>
            <a:ext cx="7200625" cy="468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2000" y="1414800"/>
            <a:ext cx="3529137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graph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12000" y="1774800"/>
            <a:ext cx="3529137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706202F-109C-92AB-A6ED-D164FE91E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84561F6-2928-14C1-7565-A9EE3132E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5AC2E84F-F925-4BE0-EAEB-13D8EE50D2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346310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3492625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04000" y="1772266"/>
            <a:ext cx="7237136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4000" y="2134800"/>
            <a:ext cx="7237136" cy="396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BE8C48A-4FE1-C190-6509-AA54CB6C53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4120737-547B-E930-E5ED-F294898E2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E7CB0CA-37D4-F603-6D68-8DD17AE31E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35835FBE-250E-F956-F5E0-E9B5CCAE46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631879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and Graph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3D2CC6A-3B0B-B5CF-9B23-ED6BB3DB97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7200626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35513A0-29A9-7D3B-9CDD-6733A2B1A2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2000" y="1772266"/>
            <a:ext cx="3529137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graph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0D2CA8A-2E63-60D9-815D-424F0324B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12000" y="2134800"/>
            <a:ext cx="3529137" cy="396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19ED9D3-3DA3-17AD-428E-F5D7CF3A25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9AC5D0-FECB-2242-C1FA-EED4968A6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1869BFB-418E-02F1-1419-4B0525653D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2D01DDB3-32DD-20BD-3B76-18932C62E5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751230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3A29B69-A7BD-9EF5-96BC-5E438D5C3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12B42E0-54E9-E01A-0EE4-A99B8F44AB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458765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3A29B69-A7BD-9EF5-96BC-5E438D5C3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12B42E0-54E9-E01A-0EE4-A99B8F44AB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2" name="footnotes">
            <a:extLst>
              <a:ext uri="{FF2B5EF4-FFF2-40B4-BE49-F238E27FC236}">
                <a16:creationId xmlns:a16="http://schemas.microsoft.com/office/drawing/2014/main" id="{630405B1-BBFB-B2A8-A9C5-40865D49CA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7777" y="6102000"/>
            <a:ext cx="642299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A5A5914-D6C0-65EE-1717-87240787C0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999" y="6483508"/>
            <a:ext cx="1984061" cy="24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03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631B3F4D-4C9A-2DC8-3938-FB857DF958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F9573AC-F553-93C7-B8EF-A148F6A69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1533274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94764602-3AE2-09B2-9F3D-0240FDC68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8696B370-41D4-484F-585E-BD4D4BCCD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264291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6F07CCF-C28B-BF58-53B3-FDDCA9C9C74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831038" y="1497035"/>
            <a:ext cx="6858002" cy="386392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D0595C4-9F0E-3E52-55DB-F3DC8646CD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4131" y="976127"/>
            <a:ext cx="4788097" cy="478809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C4195AD6-98B1-8868-AF25-A69B7C397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3649167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5DCC880C-AA17-DC67-FACE-EF362931E7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21A907D-FCCD-7731-894A-AD523A240F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1D18EAE-179B-9CD3-BF39-4E8E80B1C3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B304E1-BD23-0C90-293D-4DB64525C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7F99191-1444-7AB5-122A-B43964FD0E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0823776-4915-2D63-94B1-1834FA6481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F2916C8-3543-DC6C-DD0F-2649896098C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88947" y="1109976"/>
            <a:ext cx="4638048" cy="463804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856DCAB-6304-135A-FD68-BEBD58DE9C7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15472"/>
          <a:stretch>
            <a:fillRect/>
          </a:stretch>
        </p:blipFill>
        <p:spPr>
          <a:xfrm>
            <a:off x="5384074" y="1079055"/>
            <a:ext cx="6796801" cy="565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273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6F07CCF-C28B-BF58-53B3-FDDCA9C9C74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831038" y="1497035"/>
            <a:ext cx="6858002" cy="386392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D0595C4-9F0E-3E52-55DB-F3DC8646CD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4131" y="976127"/>
            <a:ext cx="4788097" cy="478809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4" name="Subtitle 2">
            <a:extLst>
              <a:ext uri="{FF2B5EF4-FFF2-40B4-BE49-F238E27FC236}">
                <a16:creationId xmlns:a16="http://schemas.microsoft.com/office/drawing/2014/main" id="{01BB8D5C-D5CD-F71C-6064-2D004A9197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BE359F3-0083-E6B2-5012-6F8907013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3981068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4C1BCCE-5AD0-2205-9226-0A53EC7355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493035" y="1142470"/>
            <a:ext cx="6858002" cy="4573061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91" name="Title Placeholder 1">
            <a:extLst>
              <a:ext uri="{FF2B5EF4-FFF2-40B4-BE49-F238E27FC236}">
                <a16:creationId xmlns:a16="http://schemas.microsoft.com/office/drawing/2014/main" id="{2647542F-6D8E-EAF8-0D31-EB4BC77C08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20C5F2-4619-2D33-4134-DA87B3EA14A5}"/>
              </a:ext>
            </a:extLst>
          </p:cNvPr>
          <p:cNvGrpSpPr/>
          <p:nvPr userDrawn="1"/>
        </p:nvGrpSpPr>
        <p:grpSpPr>
          <a:xfrm flipH="1">
            <a:off x="6581458" y="967568"/>
            <a:ext cx="6150870" cy="4953078"/>
            <a:chOff x="-13480067" y="1704817"/>
            <a:chExt cx="5092469" cy="4100785"/>
          </a:xfrm>
        </p:grpSpPr>
        <p:grpSp>
          <p:nvGrpSpPr>
            <p:cNvPr id="17" name="Graphic 6">
              <a:extLst>
                <a:ext uri="{FF2B5EF4-FFF2-40B4-BE49-F238E27FC236}">
                  <a16:creationId xmlns:a16="http://schemas.microsoft.com/office/drawing/2014/main" id="{5377DAA0-F3D8-ECA3-F514-10B249281B2A}"/>
                </a:ext>
              </a:extLst>
            </p:cNvPr>
            <p:cNvGrpSpPr/>
            <p:nvPr userDrawn="1"/>
          </p:nvGrpSpPr>
          <p:grpSpPr>
            <a:xfrm>
              <a:off x="-13480067" y="1704817"/>
              <a:ext cx="6848491" cy="4096335"/>
              <a:chOff x="-13480067" y="1704817"/>
              <a:chExt cx="6848491" cy="4096335"/>
            </a:xfrm>
          </p:grpSpPr>
          <p:grpSp>
            <p:nvGrpSpPr>
              <p:cNvPr id="123" name="Graphic 6">
                <a:extLst>
                  <a:ext uri="{FF2B5EF4-FFF2-40B4-BE49-F238E27FC236}">
                    <a16:creationId xmlns:a16="http://schemas.microsoft.com/office/drawing/2014/main" id="{E519C433-DA07-6F9C-D7F8-31E976385FB7}"/>
                  </a:ext>
                </a:extLst>
              </p:cNvPr>
              <p:cNvGrpSpPr/>
              <p:nvPr/>
            </p:nvGrpSpPr>
            <p:grpSpPr>
              <a:xfrm>
                <a:off x="-11320983" y="2416072"/>
                <a:ext cx="2648676" cy="3385079"/>
                <a:chOff x="-11320983" y="2416072"/>
                <a:chExt cx="2648676" cy="3385079"/>
              </a:xfrm>
            </p:grpSpPr>
            <p:sp>
              <p:nvSpPr>
                <p:cNvPr id="144" name="Freeform 143">
                  <a:extLst>
                    <a:ext uri="{FF2B5EF4-FFF2-40B4-BE49-F238E27FC236}">
                      <a16:creationId xmlns:a16="http://schemas.microsoft.com/office/drawing/2014/main" id="{A7DD97BA-829F-5890-3171-F9CB2D2C1746}"/>
                    </a:ext>
                  </a:extLst>
                </p:cNvPr>
                <p:cNvSpPr/>
                <p:nvPr/>
              </p:nvSpPr>
              <p:spPr>
                <a:xfrm>
                  <a:off x="-11054367" y="2416072"/>
                  <a:ext cx="548029" cy="562749"/>
                </a:xfrm>
                <a:custGeom>
                  <a:avLst/>
                  <a:gdLst>
                    <a:gd name="connsiteX0" fmla="*/ 498848 w 548029"/>
                    <a:gd name="connsiteY0" fmla="*/ 203144 h 562749"/>
                    <a:gd name="connsiteX1" fmla="*/ 468109 w 548029"/>
                    <a:gd name="connsiteY1" fmla="*/ 58950 h 562749"/>
                    <a:gd name="connsiteX2" fmla="*/ 364477 w 548029"/>
                    <a:gd name="connsiteY2" fmla="*/ 7075 h 562749"/>
                    <a:gd name="connsiteX3" fmla="*/ 335495 w 548029"/>
                    <a:gd name="connsiteY3" fmla="*/ 1800 h 562749"/>
                    <a:gd name="connsiteX4" fmla="*/ 277531 w 548029"/>
                    <a:gd name="connsiteY4" fmla="*/ 3559 h 562749"/>
                    <a:gd name="connsiteX5" fmla="*/ 164237 w 548029"/>
                    <a:gd name="connsiteY5" fmla="*/ 77414 h 562749"/>
                    <a:gd name="connsiteX6" fmla="*/ 6 w 548029"/>
                    <a:gd name="connsiteY6" fmla="*/ 562749 h 562749"/>
                    <a:gd name="connsiteX7" fmla="*/ 289826 w 548029"/>
                    <a:gd name="connsiteY7" fmla="*/ 562749 h 562749"/>
                    <a:gd name="connsiteX8" fmla="*/ 272261 w 548029"/>
                    <a:gd name="connsiteY8" fmla="*/ 490652 h 562749"/>
                    <a:gd name="connsiteX9" fmla="*/ 403120 w 548029"/>
                    <a:gd name="connsiteY9" fmla="*/ 492411 h 562749"/>
                    <a:gd name="connsiteX10" fmla="*/ 548030 w 548029"/>
                    <a:gd name="connsiteY10" fmla="*/ 524063 h 562749"/>
                    <a:gd name="connsiteX11" fmla="*/ 498848 w 548029"/>
                    <a:gd name="connsiteY11" fmla="*/ 203144 h 562749"/>
                    <a:gd name="connsiteX12" fmla="*/ 498848 w 548029"/>
                    <a:gd name="connsiteY12" fmla="*/ 203144 h 562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48029" h="562749">
                      <a:moveTo>
                        <a:pt x="498848" y="203144"/>
                      </a:moveTo>
                      <a:cubicBezTo>
                        <a:pt x="504996" y="163579"/>
                        <a:pt x="507630" y="93240"/>
                        <a:pt x="468109" y="58950"/>
                      </a:cubicBezTo>
                      <a:cubicBezTo>
                        <a:pt x="426832" y="22902"/>
                        <a:pt x="384676" y="10592"/>
                        <a:pt x="364477" y="7075"/>
                      </a:cubicBezTo>
                      <a:cubicBezTo>
                        <a:pt x="354816" y="4438"/>
                        <a:pt x="345155" y="2679"/>
                        <a:pt x="335495" y="1800"/>
                      </a:cubicBezTo>
                      <a:cubicBezTo>
                        <a:pt x="317052" y="-838"/>
                        <a:pt x="296852" y="-838"/>
                        <a:pt x="277531" y="3559"/>
                      </a:cubicBezTo>
                      <a:cubicBezTo>
                        <a:pt x="231862" y="11472"/>
                        <a:pt x="190585" y="36090"/>
                        <a:pt x="164237" y="77414"/>
                      </a:cubicBezTo>
                      <a:cubicBezTo>
                        <a:pt x="91343" y="189955"/>
                        <a:pt x="-872" y="451087"/>
                        <a:pt x="6" y="562749"/>
                      </a:cubicBezTo>
                      <a:lnTo>
                        <a:pt x="289826" y="562749"/>
                      </a:lnTo>
                      <a:cubicBezTo>
                        <a:pt x="278409" y="546923"/>
                        <a:pt x="274018" y="521425"/>
                        <a:pt x="272261" y="490652"/>
                      </a:cubicBezTo>
                      <a:cubicBezTo>
                        <a:pt x="337251" y="494169"/>
                        <a:pt x="397850" y="490652"/>
                        <a:pt x="403120" y="492411"/>
                      </a:cubicBezTo>
                      <a:cubicBezTo>
                        <a:pt x="456692" y="501203"/>
                        <a:pt x="544517" y="537252"/>
                        <a:pt x="548030" y="524063"/>
                      </a:cubicBezTo>
                      <a:cubicBezTo>
                        <a:pt x="505874" y="412401"/>
                        <a:pt x="512900" y="300739"/>
                        <a:pt x="498848" y="203144"/>
                      </a:cubicBezTo>
                      <a:lnTo>
                        <a:pt x="498848" y="203144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5" name="Freeform 144">
                  <a:extLst>
                    <a:ext uri="{FF2B5EF4-FFF2-40B4-BE49-F238E27FC236}">
                      <a16:creationId xmlns:a16="http://schemas.microsoft.com/office/drawing/2014/main" id="{5516B7E1-2031-EECC-87C3-5A2CAAC93914}"/>
                    </a:ext>
                  </a:extLst>
                </p:cNvPr>
                <p:cNvSpPr/>
                <p:nvPr/>
              </p:nvSpPr>
              <p:spPr>
                <a:xfrm>
                  <a:off x="-10853243" y="2453042"/>
                  <a:ext cx="330414" cy="535451"/>
                </a:xfrm>
                <a:custGeom>
                  <a:avLst/>
                  <a:gdLst>
                    <a:gd name="connsiteX0" fmla="*/ 328463 w 330414"/>
                    <a:gd name="connsiteY0" fmla="*/ 203982 h 535451"/>
                    <a:gd name="connsiteX1" fmla="*/ 328463 w 330414"/>
                    <a:gd name="connsiteY1" fmla="*/ 189035 h 535451"/>
                    <a:gd name="connsiteX2" fmla="*/ 288942 w 330414"/>
                    <a:gd name="connsiteY2" fmla="*/ 144194 h 535451"/>
                    <a:gd name="connsiteX3" fmla="*/ 287185 w 330414"/>
                    <a:gd name="connsiteY3" fmla="*/ 138918 h 535451"/>
                    <a:gd name="connsiteX4" fmla="*/ 229221 w 330414"/>
                    <a:gd name="connsiteY4" fmla="*/ 22860 h 535451"/>
                    <a:gd name="connsiteX5" fmla="*/ 193213 w 330414"/>
                    <a:gd name="connsiteY5" fmla="*/ 0 h 535451"/>
                    <a:gd name="connsiteX6" fmla="*/ 188822 w 330414"/>
                    <a:gd name="connsiteY6" fmla="*/ 1759 h 535451"/>
                    <a:gd name="connsiteX7" fmla="*/ 143153 w 330414"/>
                    <a:gd name="connsiteY7" fmla="*/ 187276 h 535451"/>
                    <a:gd name="connsiteX8" fmla="*/ 90459 w 330414"/>
                    <a:gd name="connsiteY8" fmla="*/ 154745 h 535451"/>
                    <a:gd name="connsiteX9" fmla="*/ 87824 w 330414"/>
                    <a:gd name="connsiteY9" fmla="*/ 243547 h 535451"/>
                    <a:gd name="connsiteX10" fmla="*/ 92215 w 330414"/>
                    <a:gd name="connsiteY10" fmla="*/ 248822 h 535451"/>
                    <a:gd name="connsiteX11" fmla="*/ 0 w 330414"/>
                    <a:gd name="connsiteY11" fmla="*/ 451925 h 535451"/>
                    <a:gd name="connsiteX12" fmla="*/ 191457 w 330414"/>
                    <a:gd name="connsiteY12" fmla="*/ 535452 h 535451"/>
                    <a:gd name="connsiteX13" fmla="*/ 223074 w 330414"/>
                    <a:gd name="connsiteY13" fmla="*/ 326195 h 535451"/>
                    <a:gd name="connsiteX14" fmla="*/ 234491 w 330414"/>
                    <a:gd name="connsiteY14" fmla="*/ 327074 h 535451"/>
                    <a:gd name="connsiteX15" fmla="*/ 295090 w 330414"/>
                    <a:gd name="connsiteY15" fmla="*/ 330591 h 535451"/>
                    <a:gd name="connsiteX16" fmla="*/ 316167 w 330414"/>
                    <a:gd name="connsiteY16" fmla="*/ 283112 h 535451"/>
                    <a:gd name="connsiteX17" fmla="*/ 327584 w 330414"/>
                    <a:gd name="connsiteY17" fmla="*/ 272562 h 535451"/>
                    <a:gd name="connsiteX18" fmla="*/ 307385 w 330414"/>
                    <a:gd name="connsiteY18" fmla="*/ 255856 h 535451"/>
                    <a:gd name="connsiteX19" fmla="*/ 326706 w 330414"/>
                    <a:gd name="connsiteY19" fmla="*/ 233875 h 535451"/>
                    <a:gd name="connsiteX20" fmla="*/ 317046 w 330414"/>
                    <a:gd name="connsiteY20" fmla="*/ 220687 h 535451"/>
                    <a:gd name="connsiteX21" fmla="*/ 317924 w 330414"/>
                    <a:gd name="connsiteY21" fmla="*/ 211015 h 535451"/>
                    <a:gd name="connsiteX22" fmla="*/ 328463 w 330414"/>
                    <a:gd name="connsiteY22" fmla="*/ 202223 h 535451"/>
                    <a:gd name="connsiteX23" fmla="*/ 328463 w 330414"/>
                    <a:gd name="connsiteY23" fmla="*/ 202223 h 535451"/>
                    <a:gd name="connsiteX24" fmla="*/ 328463 w 330414"/>
                    <a:gd name="connsiteY24" fmla="*/ 203982 h 535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0414" h="535451">
                      <a:moveTo>
                        <a:pt x="328463" y="203982"/>
                      </a:moveTo>
                      <a:cubicBezTo>
                        <a:pt x="328463" y="203982"/>
                        <a:pt x="332854" y="196068"/>
                        <a:pt x="328463" y="189035"/>
                      </a:cubicBezTo>
                      <a:lnTo>
                        <a:pt x="288942" y="144194"/>
                      </a:lnTo>
                      <a:cubicBezTo>
                        <a:pt x="288063" y="142435"/>
                        <a:pt x="287185" y="140677"/>
                        <a:pt x="287185" y="138918"/>
                      </a:cubicBezTo>
                      <a:cubicBezTo>
                        <a:pt x="281916" y="63305"/>
                        <a:pt x="229221" y="22860"/>
                        <a:pt x="229221" y="22860"/>
                      </a:cubicBezTo>
                      <a:cubicBezTo>
                        <a:pt x="214291" y="11430"/>
                        <a:pt x="200239" y="3517"/>
                        <a:pt x="193213" y="0"/>
                      </a:cubicBezTo>
                      <a:cubicBezTo>
                        <a:pt x="191457" y="0"/>
                        <a:pt x="190578" y="0"/>
                        <a:pt x="188822" y="1759"/>
                      </a:cubicBezTo>
                      <a:cubicBezTo>
                        <a:pt x="156327" y="80889"/>
                        <a:pt x="143153" y="187276"/>
                        <a:pt x="143153" y="187276"/>
                      </a:cubicBezTo>
                      <a:cubicBezTo>
                        <a:pt x="143153" y="187276"/>
                        <a:pt x="123832" y="136281"/>
                        <a:pt x="90459" y="154745"/>
                      </a:cubicBezTo>
                      <a:cubicBezTo>
                        <a:pt x="65868" y="167933"/>
                        <a:pt x="62355" y="210136"/>
                        <a:pt x="87824" y="243547"/>
                      </a:cubicBezTo>
                      <a:cubicBezTo>
                        <a:pt x="89581" y="245305"/>
                        <a:pt x="91337" y="247064"/>
                        <a:pt x="92215" y="248822"/>
                      </a:cubicBezTo>
                      <a:cubicBezTo>
                        <a:pt x="86068" y="286629"/>
                        <a:pt x="64112" y="383345"/>
                        <a:pt x="0" y="451925"/>
                      </a:cubicBezTo>
                      <a:cubicBezTo>
                        <a:pt x="23712" y="506437"/>
                        <a:pt x="104511" y="523142"/>
                        <a:pt x="191457" y="535452"/>
                      </a:cubicBezTo>
                      <a:cubicBezTo>
                        <a:pt x="191457" y="535452"/>
                        <a:pt x="214291" y="389499"/>
                        <a:pt x="223074" y="326195"/>
                      </a:cubicBezTo>
                      <a:cubicBezTo>
                        <a:pt x="230099" y="326195"/>
                        <a:pt x="234491" y="327074"/>
                        <a:pt x="234491" y="327074"/>
                      </a:cubicBezTo>
                      <a:cubicBezTo>
                        <a:pt x="254690" y="329712"/>
                        <a:pt x="275768" y="331470"/>
                        <a:pt x="295090" y="330591"/>
                      </a:cubicBezTo>
                      <a:cubicBezTo>
                        <a:pt x="295090" y="330591"/>
                        <a:pt x="338123" y="328832"/>
                        <a:pt x="316167" y="283112"/>
                      </a:cubicBezTo>
                      <a:lnTo>
                        <a:pt x="327584" y="272562"/>
                      </a:lnTo>
                      <a:cubicBezTo>
                        <a:pt x="327584" y="272562"/>
                        <a:pt x="331097" y="262011"/>
                        <a:pt x="307385" y="255856"/>
                      </a:cubicBezTo>
                      <a:cubicBezTo>
                        <a:pt x="307385" y="255856"/>
                        <a:pt x="332854" y="246185"/>
                        <a:pt x="326706" y="233875"/>
                      </a:cubicBezTo>
                      <a:lnTo>
                        <a:pt x="317046" y="220687"/>
                      </a:lnTo>
                      <a:cubicBezTo>
                        <a:pt x="315289" y="218049"/>
                        <a:pt x="315289" y="213653"/>
                        <a:pt x="317924" y="211015"/>
                      </a:cubicBezTo>
                      <a:lnTo>
                        <a:pt x="328463" y="202223"/>
                      </a:lnTo>
                      <a:lnTo>
                        <a:pt x="328463" y="202223"/>
                      </a:lnTo>
                      <a:lnTo>
                        <a:pt x="328463" y="203982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" name="Freeform 145">
                  <a:extLst>
                    <a:ext uri="{FF2B5EF4-FFF2-40B4-BE49-F238E27FC236}">
                      <a16:creationId xmlns:a16="http://schemas.microsoft.com/office/drawing/2014/main" id="{AEDEED06-6102-0C72-E5A3-14E07B52088E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" name="Freeform 146">
                  <a:extLst>
                    <a:ext uri="{FF2B5EF4-FFF2-40B4-BE49-F238E27FC236}">
                      <a16:creationId xmlns:a16="http://schemas.microsoft.com/office/drawing/2014/main" id="{FCECBBA3-05AC-1003-0608-5FE238D5D56B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8" name="Freeform 147">
                  <a:extLst>
                    <a:ext uri="{FF2B5EF4-FFF2-40B4-BE49-F238E27FC236}">
                      <a16:creationId xmlns:a16="http://schemas.microsoft.com/office/drawing/2014/main" id="{EAEEDD23-9D7A-C05C-D491-CDE0530A86CF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9" name="Freeform 148">
                  <a:extLst>
                    <a:ext uri="{FF2B5EF4-FFF2-40B4-BE49-F238E27FC236}">
                      <a16:creationId xmlns:a16="http://schemas.microsoft.com/office/drawing/2014/main" id="{30597AAE-B971-869D-E30B-F7A6079F527B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0" name="Freeform 149">
                  <a:extLst>
                    <a:ext uri="{FF2B5EF4-FFF2-40B4-BE49-F238E27FC236}">
                      <a16:creationId xmlns:a16="http://schemas.microsoft.com/office/drawing/2014/main" id="{44A8AA10-3120-19D6-D5BC-A5AD067B8584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1" name="Freeform 150">
                  <a:extLst>
                    <a:ext uri="{FF2B5EF4-FFF2-40B4-BE49-F238E27FC236}">
                      <a16:creationId xmlns:a16="http://schemas.microsoft.com/office/drawing/2014/main" id="{24A2BB92-9F5F-74D6-1DA2-2141A8F101DB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eform 151">
                  <a:extLst>
                    <a:ext uri="{FF2B5EF4-FFF2-40B4-BE49-F238E27FC236}">
                      <a16:creationId xmlns:a16="http://schemas.microsoft.com/office/drawing/2014/main" id="{3D10DF6D-C7BE-72BF-A378-F9A041751EF8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eform 152">
                  <a:extLst>
                    <a:ext uri="{FF2B5EF4-FFF2-40B4-BE49-F238E27FC236}">
                      <a16:creationId xmlns:a16="http://schemas.microsoft.com/office/drawing/2014/main" id="{88756DCF-8FB0-5021-94FB-43FD0BA7333B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eform 153">
                  <a:extLst>
                    <a:ext uri="{FF2B5EF4-FFF2-40B4-BE49-F238E27FC236}">
                      <a16:creationId xmlns:a16="http://schemas.microsoft.com/office/drawing/2014/main" id="{937346ED-FAA5-5484-BEA8-D3E5F8702E5E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eform 154">
                  <a:extLst>
                    <a:ext uri="{FF2B5EF4-FFF2-40B4-BE49-F238E27FC236}">
                      <a16:creationId xmlns:a16="http://schemas.microsoft.com/office/drawing/2014/main" id="{3C49A5D5-D686-8448-F95D-0CCBA8AE7BA8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eform 155">
                  <a:extLst>
                    <a:ext uri="{FF2B5EF4-FFF2-40B4-BE49-F238E27FC236}">
                      <a16:creationId xmlns:a16="http://schemas.microsoft.com/office/drawing/2014/main" id="{A761F9DE-E273-9901-CBCB-5B5FCE82C576}"/>
                    </a:ext>
                  </a:extLst>
                </p:cNvPr>
                <p:cNvSpPr/>
                <p:nvPr/>
              </p:nvSpPr>
              <p:spPr>
                <a:xfrm>
                  <a:off x="-10164051" y="2785601"/>
                  <a:ext cx="173697" cy="310719"/>
                </a:xfrm>
                <a:custGeom>
                  <a:avLst/>
                  <a:gdLst>
                    <a:gd name="connsiteX0" fmla="*/ 170607 w 173697"/>
                    <a:gd name="connsiteY0" fmla="*/ 68370 h 310719"/>
                    <a:gd name="connsiteX1" fmla="*/ 155677 w 173697"/>
                    <a:gd name="connsiteY1" fmla="*/ 77162 h 310719"/>
                    <a:gd name="connsiteX2" fmla="*/ 137234 w 173697"/>
                    <a:gd name="connsiteY2" fmla="*/ 135192 h 310719"/>
                    <a:gd name="connsiteX3" fmla="*/ 139869 w 173697"/>
                    <a:gd name="connsiteY3" fmla="*/ 28805 h 310719"/>
                    <a:gd name="connsiteX4" fmla="*/ 124061 w 173697"/>
                    <a:gd name="connsiteY4" fmla="*/ 42873 h 310719"/>
                    <a:gd name="connsiteX5" fmla="*/ 115278 w 173697"/>
                    <a:gd name="connsiteY5" fmla="*/ 100902 h 310719"/>
                    <a:gd name="connsiteX6" fmla="*/ 110887 w 173697"/>
                    <a:gd name="connsiteY6" fmla="*/ 119366 h 310719"/>
                    <a:gd name="connsiteX7" fmla="*/ 101226 w 173697"/>
                    <a:gd name="connsiteY7" fmla="*/ 2428 h 310719"/>
                    <a:gd name="connsiteX8" fmla="*/ 84540 w 173697"/>
                    <a:gd name="connsiteY8" fmla="*/ 34080 h 310719"/>
                    <a:gd name="connsiteX9" fmla="*/ 84540 w 173697"/>
                    <a:gd name="connsiteY9" fmla="*/ 100902 h 310719"/>
                    <a:gd name="connsiteX10" fmla="*/ 81905 w 173697"/>
                    <a:gd name="connsiteY10" fmla="*/ 105298 h 310719"/>
                    <a:gd name="connsiteX11" fmla="*/ 65218 w 173697"/>
                    <a:gd name="connsiteY11" fmla="*/ 25288 h 310719"/>
                    <a:gd name="connsiteX12" fmla="*/ 49410 w 173697"/>
                    <a:gd name="connsiteY12" fmla="*/ 25288 h 310719"/>
                    <a:gd name="connsiteX13" fmla="*/ 47654 w 173697"/>
                    <a:gd name="connsiteY13" fmla="*/ 133433 h 310719"/>
                    <a:gd name="connsiteX14" fmla="*/ 37993 w 173697"/>
                    <a:gd name="connsiteY14" fmla="*/ 156293 h 310719"/>
                    <a:gd name="connsiteX15" fmla="*/ 29210 w 173697"/>
                    <a:gd name="connsiteY15" fmla="*/ 119366 h 310719"/>
                    <a:gd name="connsiteX16" fmla="*/ 3741 w 173697"/>
                    <a:gd name="connsiteY16" fmla="*/ 84196 h 310719"/>
                    <a:gd name="connsiteX17" fmla="*/ 228 w 173697"/>
                    <a:gd name="connsiteY17" fmla="*/ 88592 h 310719"/>
                    <a:gd name="connsiteX18" fmla="*/ 1985 w 173697"/>
                    <a:gd name="connsiteY18" fmla="*/ 151897 h 310719"/>
                    <a:gd name="connsiteX19" fmla="*/ 1985 w 173697"/>
                    <a:gd name="connsiteY19" fmla="*/ 151897 h 310719"/>
                    <a:gd name="connsiteX20" fmla="*/ 7254 w 173697"/>
                    <a:gd name="connsiteY20" fmla="*/ 185308 h 310719"/>
                    <a:gd name="connsiteX21" fmla="*/ 35358 w 173697"/>
                    <a:gd name="connsiteY21" fmla="*/ 294332 h 310719"/>
                    <a:gd name="connsiteX22" fmla="*/ 37993 w 173697"/>
                    <a:gd name="connsiteY22" fmla="*/ 296970 h 310719"/>
                    <a:gd name="connsiteX23" fmla="*/ 108252 w 173697"/>
                    <a:gd name="connsiteY23" fmla="*/ 310159 h 310719"/>
                    <a:gd name="connsiteX24" fmla="*/ 132843 w 173697"/>
                    <a:gd name="connsiteY24" fmla="*/ 251250 h 310719"/>
                    <a:gd name="connsiteX25" fmla="*/ 155677 w 173697"/>
                    <a:gd name="connsiteY25" fmla="*/ 182670 h 310719"/>
                    <a:gd name="connsiteX26" fmla="*/ 161825 w 173697"/>
                    <a:gd name="connsiteY26" fmla="*/ 159810 h 310719"/>
                    <a:gd name="connsiteX27" fmla="*/ 169729 w 173697"/>
                    <a:gd name="connsiteY27" fmla="*/ 70129 h 310719"/>
                    <a:gd name="connsiteX28" fmla="*/ 169729 w 173697"/>
                    <a:gd name="connsiteY28" fmla="*/ 70129 h 310719"/>
                    <a:gd name="connsiteX29" fmla="*/ 169729 w 173697"/>
                    <a:gd name="connsiteY29" fmla="*/ 68370 h 310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3697" h="310719">
                      <a:moveTo>
                        <a:pt x="170607" y="68370"/>
                      </a:moveTo>
                      <a:cubicBezTo>
                        <a:pt x="158312" y="56940"/>
                        <a:pt x="155677" y="77162"/>
                        <a:pt x="155677" y="77162"/>
                      </a:cubicBezTo>
                      <a:cubicBezTo>
                        <a:pt x="155677" y="77162"/>
                        <a:pt x="145138" y="125520"/>
                        <a:pt x="137234" y="135192"/>
                      </a:cubicBezTo>
                      <a:cubicBezTo>
                        <a:pt x="138112" y="129037"/>
                        <a:pt x="155677" y="56061"/>
                        <a:pt x="139869" y="28805"/>
                      </a:cubicBezTo>
                      <a:cubicBezTo>
                        <a:pt x="139869" y="28805"/>
                        <a:pt x="124061" y="13858"/>
                        <a:pt x="124061" y="42873"/>
                      </a:cubicBezTo>
                      <a:cubicBezTo>
                        <a:pt x="124061" y="71887"/>
                        <a:pt x="115278" y="100902"/>
                        <a:pt x="115278" y="100902"/>
                      </a:cubicBezTo>
                      <a:lnTo>
                        <a:pt x="110887" y="119366"/>
                      </a:lnTo>
                      <a:cubicBezTo>
                        <a:pt x="110887" y="119366"/>
                        <a:pt x="118791" y="15616"/>
                        <a:pt x="101226" y="2428"/>
                      </a:cubicBezTo>
                      <a:cubicBezTo>
                        <a:pt x="83662" y="-10761"/>
                        <a:pt x="84540" y="34080"/>
                        <a:pt x="84540" y="34080"/>
                      </a:cubicBezTo>
                      <a:cubicBezTo>
                        <a:pt x="84540" y="34080"/>
                        <a:pt x="87174" y="86834"/>
                        <a:pt x="84540" y="100902"/>
                      </a:cubicBezTo>
                      <a:lnTo>
                        <a:pt x="81905" y="105298"/>
                      </a:lnTo>
                      <a:cubicBezTo>
                        <a:pt x="81905" y="105298"/>
                        <a:pt x="76635" y="40235"/>
                        <a:pt x="65218" y="25288"/>
                      </a:cubicBezTo>
                      <a:cubicBezTo>
                        <a:pt x="54679" y="10341"/>
                        <a:pt x="49410" y="13858"/>
                        <a:pt x="49410" y="25288"/>
                      </a:cubicBezTo>
                      <a:cubicBezTo>
                        <a:pt x="49410" y="36718"/>
                        <a:pt x="52923" y="120245"/>
                        <a:pt x="47654" y="133433"/>
                      </a:cubicBezTo>
                      <a:cubicBezTo>
                        <a:pt x="46775" y="136071"/>
                        <a:pt x="42384" y="148380"/>
                        <a:pt x="37993" y="156293"/>
                      </a:cubicBezTo>
                      <a:cubicBezTo>
                        <a:pt x="33602" y="144863"/>
                        <a:pt x="30089" y="128158"/>
                        <a:pt x="29210" y="119366"/>
                      </a:cubicBezTo>
                      <a:cubicBezTo>
                        <a:pt x="29210" y="92109"/>
                        <a:pt x="12524" y="85955"/>
                        <a:pt x="3741" y="84196"/>
                      </a:cubicBezTo>
                      <a:cubicBezTo>
                        <a:pt x="1107" y="84196"/>
                        <a:pt x="-650" y="85955"/>
                        <a:pt x="228" y="88592"/>
                      </a:cubicBezTo>
                      <a:cubicBezTo>
                        <a:pt x="6376" y="107056"/>
                        <a:pt x="3741" y="129916"/>
                        <a:pt x="1985" y="151897"/>
                      </a:cubicBezTo>
                      <a:lnTo>
                        <a:pt x="1985" y="151897"/>
                      </a:lnTo>
                      <a:cubicBezTo>
                        <a:pt x="1985" y="153656"/>
                        <a:pt x="1985" y="171240"/>
                        <a:pt x="7254" y="185308"/>
                      </a:cubicBezTo>
                      <a:cubicBezTo>
                        <a:pt x="11646" y="198496"/>
                        <a:pt x="32723" y="281144"/>
                        <a:pt x="35358" y="294332"/>
                      </a:cubicBezTo>
                      <a:cubicBezTo>
                        <a:pt x="35358" y="295212"/>
                        <a:pt x="36236" y="296091"/>
                        <a:pt x="37993" y="296970"/>
                      </a:cubicBezTo>
                      <a:cubicBezTo>
                        <a:pt x="48532" y="299608"/>
                        <a:pt x="102983" y="313676"/>
                        <a:pt x="108252" y="310159"/>
                      </a:cubicBezTo>
                      <a:cubicBezTo>
                        <a:pt x="117913" y="304004"/>
                        <a:pt x="122304" y="275869"/>
                        <a:pt x="132843" y="251250"/>
                      </a:cubicBezTo>
                      <a:cubicBezTo>
                        <a:pt x="150408" y="205530"/>
                        <a:pt x="154799" y="183549"/>
                        <a:pt x="155677" y="182670"/>
                      </a:cubicBezTo>
                      <a:lnTo>
                        <a:pt x="161825" y="159810"/>
                      </a:lnTo>
                      <a:cubicBezTo>
                        <a:pt x="161825" y="157173"/>
                        <a:pt x="182025" y="81559"/>
                        <a:pt x="169729" y="70129"/>
                      </a:cubicBezTo>
                      <a:lnTo>
                        <a:pt x="169729" y="70129"/>
                      </a:lnTo>
                      <a:lnTo>
                        <a:pt x="169729" y="68370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eform 156">
                  <a:extLst>
                    <a:ext uri="{FF2B5EF4-FFF2-40B4-BE49-F238E27FC236}">
                      <a16:creationId xmlns:a16="http://schemas.microsoft.com/office/drawing/2014/main" id="{0E9A899F-AE2B-666B-552C-BA9AEFF2A62E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eform 157">
                  <a:extLst>
                    <a:ext uri="{FF2B5EF4-FFF2-40B4-BE49-F238E27FC236}">
                      <a16:creationId xmlns:a16="http://schemas.microsoft.com/office/drawing/2014/main" id="{8BA98A7B-31AD-1360-7752-72FB4C17CB42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A1AD1015-9A5E-47A7-E2DE-A1A0A53D9F89}"/>
                    </a:ext>
                  </a:extLst>
                </p:cNvPr>
                <p:cNvSpPr/>
                <p:nvPr/>
              </p:nvSpPr>
              <p:spPr>
                <a:xfrm>
                  <a:off x="-11320983" y="2913759"/>
                  <a:ext cx="1280114" cy="783067"/>
                </a:xfrm>
                <a:custGeom>
                  <a:avLst/>
                  <a:gdLst>
                    <a:gd name="connsiteX0" fmla="*/ 376403 w 1280114"/>
                    <a:gd name="connsiteY0" fmla="*/ 725365 h 783067"/>
                    <a:gd name="connsiteX1" fmla="*/ 861193 w 1280114"/>
                    <a:gd name="connsiteY1" fmla="*/ 701626 h 783067"/>
                    <a:gd name="connsiteX2" fmla="*/ 848897 w 1280114"/>
                    <a:gd name="connsiteY2" fmla="*/ 524022 h 783067"/>
                    <a:gd name="connsiteX3" fmla="*/ 956921 w 1280114"/>
                    <a:gd name="connsiteY3" fmla="*/ 707781 h 783067"/>
                    <a:gd name="connsiteX4" fmla="*/ 1126422 w 1280114"/>
                    <a:gd name="connsiteY4" fmla="*/ 610186 h 783067"/>
                    <a:gd name="connsiteX5" fmla="*/ 1280115 w 1280114"/>
                    <a:gd name="connsiteY5" fmla="*/ 168812 h 783067"/>
                    <a:gd name="connsiteX6" fmla="*/ 1184386 w 1280114"/>
                    <a:gd name="connsiteY6" fmla="*/ 145952 h 783067"/>
                    <a:gd name="connsiteX7" fmla="*/ 1184386 w 1280114"/>
                    <a:gd name="connsiteY7" fmla="*/ 145952 h 783067"/>
                    <a:gd name="connsiteX8" fmla="*/ 1021033 w 1280114"/>
                    <a:gd name="connsiteY8" fmla="*/ 406205 h 783067"/>
                    <a:gd name="connsiteX9" fmla="*/ 989416 w 1280114"/>
                    <a:gd name="connsiteY9" fmla="*/ 291905 h 783067"/>
                    <a:gd name="connsiteX10" fmla="*/ 933209 w 1280114"/>
                    <a:gd name="connsiteY10" fmla="*/ 124851 h 783067"/>
                    <a:gd name="connsiteX11" fmla="*/ 858558 w 1280114"/>
                    <a:gd name="connsiteY11" fmla="*/ 50995 h 783067"/>
                    <a:gd name="connsiteX12" fmla="*/ 807620 w 1280114"/>
                    <a:gd name="connsiteY12" fmla="*/ 30773 h 783067"/>
                    <a:gd name="connsiteX13" fmla="*/ 670614 w 1280114"/>
                    <a:gd name="connsiteY13" fmla="*/ 0 h 783067"/>
                    <a:gd name="connsiteX14" fmla="*/ 457201 w 1280114"/>
                    <a:gd name="connsiteY14" fmla="*/ 0 h 783067"/>
                    <a:gd name="connsiteX15" fmla="*/ 307900 w 1280114"/>
                    <a:gd name="connsiteY15" fmla="*/ 54512 h 783067"/>
                    <a:gd name="connsiteX16" fmla="*/ 204267 w 1280114"/>
                    <a:gd name="connsiteY16" fmla="*/ 139798 h 783067"/>
                    <a:gd name="connsiteX17" fmla="*/ 1393 w 1280114"/>
                    <a:gd name="connsiteY17" fmla="*/ 654148 h 783067"/>
                    <a:gd name="connsiteX18" fmla="*/ 572251 w 1280114"/>
                    <a:gd name="connsiteY18" fmla="*/ 640080 h 783067"/>
                    <a:gd name="connsiteX19" fmla="*/ 536243 w 1280114"/>
                    <a:gd name="connsiteY19" fmla="*/ 545123 h 783067"/>
                    <a:gd name="connsiteX20" fmla="*/ 244667 w 1280114"/>
                    <a:gd name="connsiteY20" fmla="*/ 589964 h 783067"/>
                    <a:gd name="connsiteX21" fmla="*/ 328978 w 1280114"/>
                    <a:gd name="connsiteY21" fmla="*/ 436098 h 783067"/>
                    <a:gd name="connsiteX22" fmla="*/ 339517 w 1280114"/>
                    <a:gd name="connsiteY22" fmla="*/ 552157 h 783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80114" h="783067">
                      <a:moveTo>
                        <a:pt x="376403" y="725365"/>
                      </a:moveTo>
                      <a:lnTo>
                        <a:pt x="861193" y="701626"/>
                      </a:lnTo>
                      <a:lnTo>
                        <a:pt x="848897" y="524022"/>
                      </a:lnTo>
                      <a:cubicBezTo>
                        <a:pt x="867341" y="559191"/>
                        <a:pt x="905105" y="648872"/>
                        <a:pt x="956921" y="707781"/>
                      </a:cubicBezTo>
                      <a:cubicBezTo>
                        <a:pt x="1024546" y="785153"/>
                        <a:pt x="1107101" y="643597"/>
                        <a:pt x="1126422" y="610186"/>
                      </a:cubicBezTo>
                      <a:cubicBezTo>
                        <a:pt x="1209855" y="465113"/>
                        <a:pt x="1280115" y="168812"/>
                        <a:pt x="1280115" y="168812"/>
                      </a:cubicBezTo>
                      <a:lnTo>
                        <a:pt x="1184386" y="145952"/>
                      </a:lnTo>
                      <a:lnTo>
                        <a:pt x="1184386" y="145952"/>
                      </a:lnTo>
                      <a:lnTo>
                        <a:pt x="1021033" y="406205"/>
                      </a:lnTo>
                      <a:cubicBezTo>
                        <a:pt x="1011372" y="368398"/>
                        <a:pt x="1000833" y="329712"/>
                        <a:pt x="989416" y="291905"/>
                      </a:cubicBezTo>
                      <a:cubicBezTo>
                        <a:pt x="972730" y="226842"/>
                        <a:pt x="953408" y="166175"/>
                        <a:pt x="933209" y="124851"/>
                      </a:cubicBezTo>
                      <a:cubicBezTo>
                        <a:pt x="913887" y="85285"/>
                        <a:pt x="885784" y="65063"/>
                        <a:pt x="858558" y="50995"/>
                      </a:cubicBezTo>
                      <a:cubicBezTo>
                        <a:pt x="831333" y="36928"/>
                        <a:pt x="824307" y="35169"/>
                        <a:pt x="807620" y="30773"/>
                      </a:cubicBezTo>
                      <a:lnTo>
                        <a:pt x="670614" y="0"/>
                      </a:lnTo>
                      <a:cubicBezTo>
                        <a:pt x="657441" y="70338"/>
                        <a:pt x="516922" y="53633"/>
                        <a:pt x="457201" y="0"/>
                      </a:cubicBezTo>
                      <a:lnTo>
                        <a:pt x="307900" y="54512"/>
                      </a:lnTo>
                      <a:cubicBezTo>
                        <a:pt x="275405" y="58908"/>
                        <a:pt x="237641" y="79131"/>
                        <a:pt x="204267" y="139798"/>
                      </a:cubicBezTo>
                      <a:cubicBezTo>
                        <a:pt x="47940" y="427306"/>
                        <a:pt x="-10024" y="596118"/>
                        <a:pt x="1393" y="654148"/>
                      </a:cubicBezTo>
                      <a:cubicBezTo>
                        <a:pt x="57601" y="952207"/>
                        <a:pt x="572251" y="640080"/>
                        <a:pt x="572251" y="640080"/>
                      </a:cubicBezTo>
                      <a:lnTo>
                        <a:pt x="536243" y="545123"/>
                      </a:lnTo>
                      <a:cubicBezTo>
                        <a:pt x="536243" y="545123"/>
                        <a:pt x="250814" y="601394"/>
                        <a:pt x="244667" y="589964"/>
                      </a:cubicBezTo>
                      <a:lnTo>
                        <a:pt x="328978" y="436098"/>
                      </a:lnTo>
                      <a:cubicBezTo>
                        <a:pt x="328978" y="441374"/>
                        <a:pt x="333369" y="493248"/>
                        <a:pt x="339517" y="552157"/>
                      </a:cubicBezTo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40BF9C5B-F936-23C5-5D62-3B1D49350B2A}"/>
                    </a:ext>
                  </a:extLst>
                </p:cNvPr>
                <p:cNvSpPr/>
                <p:nvPr/>
              </p:nvSpPr>
              <p:spPr>
                <a:xfrm>
                  <a:off x="-10720884" y="2450565"/>
                  <a:ext cx="89252" cy="179202"/>
                </a:xfrm>
                <a:custGeom>
                  <a:avLst/>
                  <a:gdLst>
                    <a:gd name="connsiteX0" fmla="*/ 18698 w 89252"/>
                    <a:gd name="connsiteY0" fmla="*/ 178323 h 179202"/>
                    <a:gd name="connsiteX1" fmla="*/ 88080 w 89252"/>
                    <a:gd name="connsiteY1" fmla="*/ 20941 h 179202"/>
                    <a:gd name="connsiteX2" fmla="*/ 27481 w 89252"/>
                    <a:gd name="connsiteY2" fmla="*/ 719 h 179202"/>
                    <a:gd name="connsiteX3" fmla="*/ 18698 w 89252"/>
                    <a:gd name="connsiteY3" fmla="*/ 179202 h 179202"/>
                    <a:gd name="connsiteX4" fmla="*/ 18698 w 89252"/>
                    <a:gd name="connsiteY4" fmla="*/ 179202 h 17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252" h="179202">
                      <a:moveTo>
                        <a:pt x="18698" y="178323"/>
                      </a:moveTo>
                      <a:cubicBezTo>
                        <a:pt x="23968" y="120294"/>
                        <a:pt x="99497" y="83366"/>
                        <a:pt x="88080" y="20941"/>
                      </a:cubicBezTo>
                      <a:cubicBezTo>
                        <a:pt x="88080" y="20941"/>
                        <a:pt x="83688" y="-4557"/>
                        <a:pt x="27481" y="719"/>
                      </a:cubicBezTo>
                      <a:cubicBezTo>
                        <a:pt x="-28727" y="5994"/>
                        <a:pt x="18698" y="179202"/>
                        <a:pt x="18698" y="179202"/>
                      </a:cubicBezTo>
                      <a:lnTo>
                        <a:pt x="18698" y="179202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13399ABA-5C8E-C725-7125-E9610AC48C65}"/>
                    </a:ext>
                  </a:extLst>
                </p:cNvPr>
                <p:cNvSpPr/>
                <p:nvPr/>
              </p:nvSpPr>
              <p:spPr>
                <a:xfrm>
                  <a:off x="-11045578" y="2762531"/>
                  <a:ext cx="272255" cy="216290"/>
                </a:xfrm>
                <a:custGeom>
                  <a:avLst/>
                  <a:gdLst>
                    <a:gd name="connsiteX0" fmla="*/ 272255 w 272255"/>
                    <a:gd name="connsiteY0" fmla="*/ 879 h 216290"/>
                    <a:gd name="connsiteX1" fmla="*/ 259960 w 272255"/>
                    <a:gd name="connsiteY1" fmla="*/ 216291 h 216290"/>
                    <a:gd name="connsiteX2" fmla="*/ 0 w 272255"/>
                    <a:gd name="connsiteY2" fmla="*/ 216291 h 216290"/>
                    <a:gd name="connsiteX3" fmla="*/ 62355 w 272255"/>
                    <a:gd name="connsiteY3" fmla="*/ 0 h 216290"/>
                    <a:gd name="connsiteX4" fmla="*/ 272255 w 272255"/>
                    <a:gd name="connsiteY4" fmla="*/ 0 h 216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2255" h="216290">
                      <a:moveTo>
                        <a:pt x="272255" y="879"/>
                      </a:moveTo>
                      <a:cubicBezTo>
                        <a:pt x="272255" y="879"/>
                        <a:pt x="221317" y="162658"/>
                        <a:pt x="259960" y="216291"/>
                      </a:cubicBezTo>
                      <a:lnTo>
                        <a:pt x="0" y="216291"/>
                      </a:lnTo>
                      <a:lnTo>
                        <a:pt x="62355" y="0"/>
                      </a:lnTo>
                      <a:lnTo>
                        <a:pt x="272255" y="0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43585CA-6298-6618-A006-928516E43C83}"/>
                  </a:ext>
                </a:extLst>
              </p:cNvPr>
              <p:cNvSpPr/>
              <p:nvPr/>
            </p:nvSpPr>
            <p:spPr>
              <a:xfrm>
                <a:off x="-10873775" y="3549442"/>
                <a:ext cx="180674" cy="261131"/>
              </a:xfrm>
              <a:custGeom>
                <a:avLst/>
                <a:gdLst>
                  <a:gd name="connsiteX0" fmla="*/ 180372 w 180674"/>
                  <a:gd name="connsiteY0" fmla="*/ 220687 h 261131"/>
                  <a:gd name="connsiteX1" fmla="*/ 149633 w 180674"/>
                  <a:gd name="connsiteY1" fmla="*/ 182001 h 261131"/>
                  <a:gd name="connsiteX2" fmla="*/ 93426 w 180674"/>
                  <a:gd name="connsiteY2" fmla="*/ 149469 h 261131"/>
                  <a:gd name="connsiteX3" fmla="*/ 122408 w 180674"/>
                  <a:gd name="connsiteY3" fmla="*/ 0 h 261131"/>
                  <a:gd name="connsiteX4" fmla="*/ 37218 w 180674"/>
                  <a:gd name="connsiteY4" fmla="*/ 0 h 261131"/>
                  <a:gd name="connsiteX5" fmla="*/ 18775 w 180674"/>
                  <a:gd name="connsiteY5" fmla="*/ 135401 h 261131"/>
                  <a:gd name="connsiteX6" fmla="*/ 3845 w 180674"/>
                  <a:gd name="connsiteY6" fmla="*/ 186397 h 261131"/>
                  <a:gd name="connsiteX7" fmla="*/ 86400 w 180674"/>
                  <a:gd name="connsiteY7" fmla="*/ 232117 h 261131"/>
                  <a:gd name="connsiteX8" fmla="*/ 136460 w 180674"/>
                  <a:gd name="connsiteY8" fmla="*/ 249701 h 261131"/>
                  <a:gd name="connsiteX9" fmla="*/ 166320 w 180674"/>
                  <a:gd name="connsiteY9" fmla="*/ 261131 h 261131"/>
                  <a:gd name="connsiteX10" fmla="*/ 179494 w 180674"/>
                  <a:gd name="connsiteY10" fmla="*/ 220687 h 261131"/>
                  <a:gd name="connsiteX11" fmla="*/ 180372 w 180674"/>
                  <a:gd name="connsiteY11" fmla="*/ 220687 h 26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0674" h="261131">
                    <a:moveTo>
                      <a:pt x="180372" y="220687"/>
                    </a:moveTo>
                    <a:cubicBezTo>
                      <a:pt x="183007" y="188155"/>
                      <a:pt x="168076" y="188155"/>
                      <a:pt x="149633" y="182001"/>
                    </a:cubicBezTo>
                    <a:cubicBezTo>
                      <a:pt x="123286" y="172329"/>
                      <a:pt x="93426" y="149469"/>
                      <a:pt x="93426" y="149469"/>
                    </a:cubicBezTo>
                    <a:lnTo>
                      <a:pt x="122408" y="0"/>
                    </a:lnTo>
                    <a:lnTo>
                      <a:pt x="37218" y="0"/>
                    </a:lnTo>
                    <a:lnTo>
                      <a:pt x="18775" y="135401"/>
                    </a:lnTo>
                    <a:cubicBezTo>
                      <a:pt x="18775" y="135401"/>
                      <a:pt x="-10207" y="163537"/>
                      <a:pt x="3845" y="186397"/>
                    </a:cubicBezTo>
                    <a:cubicBezTo>
                      <a:pt x="17019" y="209257"/>
                      <a:pt x="53905" y="201344"/>
                      <a:pt x="86400" y="232117"/>
                    </a:cubicBezTo>
                    <a:cubicBezTo>
                      <a:pt x="103087" y="247943"/>
                      <a:pt x="112747" y="246185"/>
                      <a:pt x="136460" y="249701"/>
                    </a:cubicBezTo>
                    <a:cubicBezTo>
                      <a:pt x="143486" y="250581"/>
                      <a:pt x="146999" y="261131"/>
                      <a:pt x="166320" y="261131"/>
                    </a:cubicBezTo>
                    <a:cubicBezTo>
                      <a:pt x="185641" y="261131"/>
                      <a:pt x="178616" y="235634"/>
                      <a:pt x="179494" y="220687"/>
                    </a:cubicBezTo>
                    <a:lnTo>
                      <a:pt x="180372" y="220687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79FC0A1C-479D-3663-1D4B-B1A65106FE73}"/>
                  </a:ext>
                </a:extLst>
              </p:cNvPr>
              <p:cNvSpPr/>
              <p:nvPr/>
            </p:nvSpPr>
            <p:spPr>
              <a:xfrm>
                <a:off x="-11018818" y="3375937"/>
                <a:ext cx="366021" cy="167529"/>
              </a:xfrm>
              <a:custGeom>
                <a:avLst/>
                <a:gdLst>
                  <a:gd name="connsiteX0" fmla="*/ 3979 w 366021"/>
                  <a:gd name="connsiteY0" fmla="*/ 97012 h 167529"/>
                  <a:gd name="connsiteX1" fmla="*/ 206853 w 366021"/>
                  <a:gd name="connsiteY1" fmla="*/ 125148 h 167529"/>
                  <a:gd name="connsiteX2" fmla="*/ 364058 w 366021"/>
                  <a:gd name="connsiteY2" fmla="*/ 154162 h 167529"/>
                  <a:gd name="connsiteX3" fmla="*/ 311364 w 366021"/>
                  <a:gd name="connsiteY3" fmla="*/ 52171 h 167529"/>
                  <a:gd name="connsiteX4" fmla="*/ 154158 w 366021"/>
                  <a:gd name="connsiteY4" fmla="*/ 297 h 167529"/>
                  <a:gd name="connsiteX5" fmla="*/ 3101 w 366021"/>
                  <a:gd name="connsiteY5" fmla="*/ 96133 h 167529"/>
                  <a:gd name="connsiteX6" fmla="*/ 3101 w 366021"/>
                  <a:gd name="connsiteY6" fmla="*/ 96133 h 16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021" h="167529">
                    <a:moveTo>
                      <a:pt x="3979" y="97012"/>
                    </a:moveTo>
                    <a:cubicBezTo>
                      <a:pt x="21544" y="145370"/>
                      <a:pt x="206853" y="125148"/>
                      <a:pt x="206853" y="125148"/>
                    </a:cubicBezTo>
                    <a:cubicBezTo>
                      <a:pt x="206853" y="125148"/>
                      <a:pt x="357910" y="196365"/>
                      <a:pt x="364058" y="154162"/>
                    </a:cubicBezTo>
                    <a:cubicBezTo>
                      <a:pt x="371084" y="111959"/>
                      <a:pt x="360545" y="62722"/>
                      <a:pt x="311364" y="52171"/>
                    </a:cubicBezTo>
                    <a:cubicBezTo>
                      <a:pt x="262182" y="41621"/>
                      <a:pt x="211244" y="-4099"/>
                      <a:pt x="154158" y="297"/>
                    </a:cubicBezTo>
                    <a:cubicBezTo>
                      <a:pt x="43500" y="11727"/>
                      <a:pt x="-14464" y="47775"/>
                      <a:pt x="3101" y="96133"/>
                    </a:cubicBezTo>
                    <a:lnTo>
                      <a:pt x="3101" y="9613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 125">
                <a:extLst>
                  <a:ext uri="{FF2B5EF4-FFF2-40B4-BE49-F238E27FC236}">
                    <a16:creationId xmlns:a16="http://schemas.microsoft.com/office/drawing/2014/main" id="{D44360BF-FE6C-5E99-8609-806F51C4CEEA}"/>
                  </a:ext>
                </a:extLst>
              </p:cNvPr>
              <p:cNvSpPr/>
              <p:nvPr/>
            </p:nvSpPr>
            <p:spPr>
              <a:xfrm>
                <a:off x="-11008880" y="3582853"/>
                <a:ext cx="212722" cy="304647"/>
              </a:xfrm>
              <a:custGeom>
                <a:avLst/>
                <a:gdLst>
                  <a:gd name="connsiteX0" fmla="*/ 147733 w 212722"/>
                  <a:gd name="connsiteY0" fmla="*/ 229479 h 304647"/>
                  <a:gd name="connsiteX1" fmla="*/ 105577 w 212722"/>
                  <a:gd name="connsiteY1" fmla="*/ 181121 h 304647"/>
                  <a:gd name="connsiteX2" fmla="*/ 212723 w 212722"/>
                  <a:gd name="connsiteY2" fmla="*/ 0 h 304647"/>
                  <a:gd name="connsiteX3" fmla="*/ 89769 w 212722"/>
                  <a:gd name="connsiteY3" fmla="*/ 3517 h 304647"/>
                  <a:gd name="connsiteX4" fmla="*/ 31805 w 212722"/>
                  <a:gd name="connsiteY4" fmla="*/ 146831 h 304647"/>
                  <a:gd name="connsiteX5" fmla="*/ 1066 w 212722"/>
                  <a:gd name="connsiteY5" fmla="*/ 197827 h 304647"/>
                  <a:gd name="connsiteX6" fmla="*/ 48491 w 212722"/>
                  <a:gd name="connsiteY6" fmla="*/ 252339 h 304647"/>
                  <a:gd name="connsiteX7" fmla="*/ 90647 w 212722"/>
                  <a:gd name="connsiteY7" fmla="*/ 293663 h 304647"/>
                  <a:gd name="connsiteX8" fmla="*/ 113481 w 212722"/>
                  <a:gd name="connsiteY8" fmla="*/ 290146 h 304647"/>
                  <a:gd name="connsiteX9" fmla="*/ 134559 w 212722"/>
                  <a:gd name="connsiteY9" fmla="*/ 290146 h 304647"/>
                  <a:gd name="connsiteX10" fmla="*/ 156515 w 212722"/>
                  <a:gd name="connsiteY10" fmla="*/ 286629 h 304647"/>
                  <a:gd name="connsiteX11" fmla="*/ 169689 w 212722"/>
                  <a:gd name="connsiteY11" fmla="*/ 275199 h 304647"/>
                  <a:gd name="connsiteX12" fmla="*/ 146854 w 212722"/>
                  <a:gd name="connsiteY12" fmla="*/ 227721 h 304647"/>
                  <a:gd name="connsiteX13" fmla="*/ 146854 w 212722"/>
                  <a:gd name="connsiteY13" fmla="*/ 229479 h 30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2722" h="304647">
                    <a:moveTo>
                      <a:pt x="147733" y="229479"/>
                    </a:moveTo>
                    <a:cubicBezTo>
                      <a:pt x="124898" y="213653"/>
                      <a:pt x="105577" y="181121"/>
                      <a:pt x="105577" y="181121"/>
                    </a:cubicBezTo>
                    <a:cubicBezTo>
                      <a:pt x="120507" y="123971"/>
                      <a:pt x="212723" y="0"/>
                      <a:pt x="212723" y="0"/>
                    </a:cubicBezTo>
                    <a:lnTo>
                      <a:pt x="89769" y="3517"/>
                    </a:lnTo>
                    <a:lnTo>
                      <a:pt x="31805" y="146831"/>
                    </a:lnTo>
                    <a:cubicBezTo>
                      <a:pt x="31805" y="146831"/>
                      <a:pt x="-6838" y="172329"/>
                      <a:pt x="1066" y="197827"/>
                    </a:cubicBezTo>
                    <a:cubicBezTo>
                      <a:pt x="8970" y="223325"/>
                      <a:pt x="22144" y="215412"/>
                      <a:pt x="48491" y="252339"/>
                    </a:cubicBezTo>
                    <a:cubicBezTo>
                      <a:pt x="62543" y="273441"/>
                      <a:pt x="67813" y="288388"/>
                      <a:pt x="90647" y="293663"/>
                    </a:cubicBezTo>
                    <a:cubicBezTo>
                      <a:pt x="100307" y="311248"/>
                      <a:pt x="117872" y="305972"/>
                      <a:pt x="113481" y="290146"/>
                    </a:cubicBezTo>
                    <a:cubicBezTo>
                      <a:pt x="116994" y="303335"/>
                      <a:pt x="139828" y="305972"/>
                      <a:pt x="134559" y="290146"/>
                    </a:cubicBezTo>
                    <a:cubicBezTo>
                      <a:pt x="138072" y="302455"/>
                      <a:pt x="158271" y="294542"/>
                      <a:pt x="156515" y="286629"/>
                    </a:cubicBezTo>
                    <a:cubicBezTo>
                      <a:pt x="161784" y="294542"/>
                      <a:pt x="181106" y="286629"/>
                      <a:pt x="169689" y="275199"/>
                    </a:cubicBezTo>
                    <a:cubicBezTo>
                      <a:pt x="197792" y="262011"/>
                      <a:pt x="179349" y="248822"/>
                      <a:pt x="146854" y="227721"/>
                    </a:cubicBezTo>
                    <a:lnTo>
                      <a:pt x="146854" y="22947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17C3D3B6-C908-7FDF-151F-A52475C28790}"/>
                  </a:ext>
                </a:extLst>
              </p:cNvPr>
              <p:cNvSpPr/>
              <p:nvPr/>
            </p:nvSpPr>
            <p:spPr>
              <a:xfrm>
                <a:off x="-10950752" y="2820159"/>
                <a:ext cx="273395" cy="309206"/>
              </a:xfrm>
              <a:custGeom>
                <a:avLst/>
                <a:gdLst>
                  <a:gd name="connsiteX0" fmla="*/ 158986 w 273395"/>
                  <a:gd name="connsiteY0" fmla="*/ 250103 h 309206"/>
                  <a:gd name="connsiteX1" fmla="*/ 218707 w 273395"/>
                  <a:gd name="connsiteY1" fmla="*/ 260653 h 309206"/>
                  <a:gd name="connsiteX2" fmla="*/ 241541 w 273395"/>
                  <a:gd name="connsiteY2" fmla="*/ 232518 h 309206"/>
                  <a:gd name="connsiteX3" fmla="*/ 249445 w 273395"/>
                  <a:gd name="connsiteY3" fmla="*/ 211417 h 309206"/>
                  <a:gd name="connsiteX4" fmla="*/ 239784 w 273395"/>
                  <a:gd name="connsiteY4" fmla="*/ 207900 h 309206"/>
                  <a:gd name="connsiteX5" fmla="*/ 258228 w 273395"/>
                  <a:gd name="connsiteY5" fmla="*/ 211417 h 309206"/>
                  <a:gd name="connsiteX6" fmla="*/ 256471 w 273395"/>
                  <a:gd name="connsiteY6" fmla="*/ 185919 h 309206"/>
                  <a:gd name="connsiteX7" fmla="*/ 267888 w 273395"/>
                  <a:gd name="connsiteY7" fmla="*/ 181523 h 309206"/>
                  <a:gd name="connsiteX8" fmla="*/ 270523 w 273395"/>
                  <a:gd name="connsiteY8" fmla="*/ 162180 h 309206"/>
                  <a:gd name="connsiteX9" fmla="*/ 255593 w 273395"/>
                  <a:gd name="connsiteY9" fmla="*/ 135803 h 309206"/>
                  <a:gd name="connsiteX10" fmla="*/ 263497 w 273395"/>
                  <a:gd name="connsiteY10" fmla="*/ 112064 h 309206"/>
                  <a:gd name="connsiteX11" fmla="*/ 91361 w 273395"/>
                  <a:gd name="connsiteY11" fmla="*/ 401 h 309206"/>
                  <a:gd name="connsiteX12" fmla="*/ 24 w 273395"/>
                  <a:gd name="connsiteY12" fmla="*/ 131407 h 309206"/>
                  <a:gd name="connsiteX13" fmla="*/ 38667 w 273395"/>
                  <a:gd name="connsiteY13" fmla="*/ 233397 h 309206"/>
                  <a:gd name="connsiteX14" fmla="*/ 7928 w 273395"/>
                  <a:gd name="connsiteY14" fmla="*/ 300219 h 309206"/>
                  <a:gd name="connsiteX15" fmla="*/ 154595 w 273395"/>
                  <a:gd name="connsiteY15" fmla="*/ 300219 h 309206"/>
                  <a:gd name="connsiteX16" fmla="*/ 158108 w 273395"/>
                  <a:gd name="connsiteY16" fmla="*/ 250982 h 30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3395" h="309206">
                    <a:moveTo>
                      <a:pt x="158986" y="250103"/>
                    </a:moveTo>
                    <a:cubicBezTo>
                      <a:pt x="195872" y="258895"/>
                      <a:pt x="205533" y="260653"/>
                      <a:pt x="218707" y="260653"/>
                    </a:cubicBezTo>
                    <a:cubicBezTo>
                      <a:pt x="231880" y="260653"/>
                      <a:pt x="236271" y="243948"/>
                      <a:pt x="241541" y="232518"/>
                    </a:cubicBezTo>
                    <a:cubicBezTo>
                      <a:pt x="254715" y="231639"/>
                      <a:pt x="258228" y="214934"/>
                      <a:pt x="249445" y="211417"/>
                    </a:cubicBezTo>
                    <a:cubicBezTo>
                      <a:pt x="240663" y="207900"/>
                      <a:pt x="244176" y="210537"/>
                      <a:pt x="239784" y="207900"/>
                    </a:cubicBezTo>
                    <a:cubicBezTo>
                      <a:pt x="248567" y="211417"/>
                      <a:pt x="252958" y="214054"/>
                      <a:pt x="258228" y="211417"/>
                    </a:cubicBezTo>
                    <a:cubicBezTo>
                      <a:pt x="263497" y="202624"/>
                      <a:pt x="256471" y="191194"/>
                      <a:pt x="256471" y="185919"/>
                    </a:cubicBezTo>
                    <a:cubicBezTo>
                      <a:pt x="256471" y="185919"/>
                      <a:pt x="260862" y="184160"/>
                      <a:pt x="267888" y="181523"/>
                    </a:cubicBezTo>
                    <a:cubicBezTo>
                      <a:pt x="273158" y="178885"/>
                      <a:pt x="275792" y="170093"/>
                      <a:pt x="270523" y="162180"/>
                    </a:cubicBezTo>
                    <a:cubicBezTo>
                      <a:pt x="265254" y="154267"/>
                      <a:pt x="258228" y="147233"/>
                      <a:pt x="255593" y="135803"/>
                    </a:cubicBezTo>
                    <a:cubicBezTo>
                      <a:pt x="259984" y="126131"/>
                      <a:pt x="263497" y="112064"/>
                      <a:pt x="263497" y="112064"/>
                    </a:cubicBezTo>
                    <a:cubicBezTo>
                      <a:pt x="292479" y="-12787"/>
                      <a:pt x="91361" y="401"/>
                      <a:pt x="91361" y="401"/>
                    </a:cubicBezTo>
                    <a:cubicBezTo>
                      <a:pt x="21980" y="10952"/>
                      <a:pt x="-854" y="80411"/>
                      <a:pt x="24" y="131407"/>
                    </a:cubicBezTo>
                    <a:cubicBezTo>
                      <a:pt x="903" y="182402"/>
                      <a:pt x="38667" y="233397"/>
                      <a:pt x="38667" y="233397"/>
                    </a:cubicBezTo>
                    <a:cubicBezTo>
                      <a:pt x="38667" y="233397"/>
                      <a:pt x="14954" y="279997"/>
                      <a:pt x="7928" y="300219"/>
                    </a:cubicBezTo>
                    <a:cubicBezTo>
                      <a:pt x="903" y="320441"/>
                      <a:pt x="154595" y="300219"/>
                      <a:pt x="154595" y="300219"/>
                    </a:cubicBezTo>
                    <a:lnTo>
                      <a:pt x="158108" y="250982"/>
                    </a:lnTo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eform 127">
                <a:extLst>
                  <a:ext uri="{FF2B5EF4-FFF2-40B4-BE49-F238E27FC236}">
                    <a16:creationId xmlns:a16="http://schemas.microsoft.com/office/drawing/2014/main" id="{C3FC893E-75BA-EF1A-E3F1-A6156C3EEE38}"/>
                  </a:ext>
                </a:extLst>
              </p:cNvPr>
              <p:cNvSpPr/>
              <p:nvPr/>
            </p:nvSpPr>
            <p:spPr>
              <a:xfrm>
                <a:off x="-10796157" y="3405134"/>
                <a:ext cx="209436" cy="177361"/>
              </a:xfrm>
              <a:custGeom>
                <a:avLst/>
                <a:gdLst>
                  <a:gd name="connsiteX0" fmla="*/ 75529 w 209436"/>
                  <a:gd name="connsiteY0" fmla="*/ 33525 h 177361"/>
                  <a:gd name="connsiteX1" fmla="*/ 0 w 209436"/>
                  <a:gd name="connsiteY1" fmla="*/ 107380 h 177361"/>
                  <a:gd name="connsiteX2" fmla="*/ 11417 w 209436"/>
                  <a:gd name="connsiteY2" fmla="*/ 168047 h 177361"/>
                  <a:gd name="connsiteX3" fmla="*/ 155449 w 209436"/>
                  <a:gd name="connsiteY3" fmla="*/ 172444 h 177361"/>
                  <a:gd name="connsiteX4" fmla="*/ 196726 w 209436"/>
                  <a:gd name="connsiteY4" fmla="*/ 152221 h 177361"/>
                  <a:gd name="connsiteX5" fmla="*/ 196726 w 209436"/>
                  <a:gd name="connsiteY5" fmla="*/ 124965 h 177361"/>
                  <a:gd name="connsiteX6" fmla="*/ 167744 w 209436"/>
                  <a:gd name="connsiteY6" fmla="*/ 138154 h 177361"/>
                  <a:gd name="connsiteX7" fmla="*/ 196726 w 209436"/>
                  <a:gd name="connsiteY7" fmla="*/ 124965 h 177361"/>
                  <a:gd name="connsiteX8" fmla="*/ 202874 w 209436"/>
                  <a:gd name="connsiteY8" fmla="*/ 91554 h 177361"/>
                  <a:gd name="connsiteX9" fmla="*/ 165109 w 209436"/>
                  <a:gd name="connsiteY9" fmla="*/ 110018 h 177361"/>
                  <a:gd name="connsiteX10" fmla="*/ 202874 w 209436"/>
                  <a:gd name="connsiteY10" fmla="*/ 90675 h 177361"/>
                  <a:gd name="connsiteX11" fmla="*/ 194970 w 209436"/>
                  <a:gd name="connsiteY11" fmla="*/ 51110 h 177361"/>
                  <a:gd name="connsiteX12" fmla="*/ 160718 w 209436"/>
                  <a:gd name="connsiteY12" fmla="*/ 81883 h 177361"/>
                  <a:gd name="connsiteX13" fmla="*/ 187944 w 209436"/>
                  <a:gd name="connsiteY13" fmla="*/ 68694 h 177361"/>
                  <a:gd name="connsiteX14" fmla="*/ 185309 w 209436"/>
                  <a:gd name="connsiteY14" fmla="*/ 30887 h 177361"/>
                  <a:gd name="connsiteX15" fmla="*/ 136128 w 209436"/>
                  <a:gd name="connsiteY15" fmla="*/ 30008 h 177361"/>
                  <a:gd name="connsiteX16" fmla="*/ 159840 w 209436"/>
                  <a:gd name="connsiteY16" fmla="*/ 48472 h 177361"/>
                  <a:gd name="connsiteX17" fmla="*/ 140519 w 209436"/>
                  <a:gd name="connsiteY17" fmla="*/ 55506 h 177361"/>
                  <a:gd name="connsiteX18" fmla="*/ 108024 w 209436"/>
                  <a:gd name="connsiteY18" fmla="*/ 56385 h 177361"/>
                  <a:gd name="connsiteX19" fmla="*/ 144032 w 209436"/>
                  <a:gd name="connsiteY19" fmla="*/ 4510 h 177361"/>
                  <a:gd name="connsiteX20" fmla="*/ 75529 w 209436"/>
                  <a:gd name="connsiteY20" fmla="*/ 33525 h 17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09436" h="177361">
                    <a:moveTo>
                      <a:pt x="75529" y="33525"/>
                    </a:moveTo>
                    <a:cubicBezTo>
                      <a:pt x="64112" y="43197"/>
                      <a:pt x="0" y="107380"/>
                      <a:pt x="0" y="107380"/>
                    </a:cubicBezTo>
                    <a:cubicBezTo>
                      <a:pt x="0" y="107380"/>
                      <a:pt x="7904" y="151342"/>
                      <a:pt x="11417" y="168047"/>
                    </a:cubicBezTo>
                    <a:cubicBezTo>
                      <a:pt x="20199" y="174202"/>
                      <a:pt x="120319" y="182994"/>
                      <a:pt x="155449" y="172444"/>
                    </a:cubicBezTo>
                    <a:cubicBezTo>
                      <a:pt x="187066" y="162772"/>
                      <a:pt x="190578" y="159255"/>
                      <a:pt x="196726" y="152221"/>
                    </a:cubicBezTo>
                    <a:cubicBezTo>
                      <a:pt x="202874" y="145187"/>
                      <a:pt x="206387" y="118810"/>
                      <a:pt x="196726" y="124965"/>
                    </a:cubicBezTo>
                    <a:cubicBezTo>
                      <a:pt x="186187" y="136395"/>
                      <a:pt x="167744" y="138154"/>
                      <a:pt x="167744" y="138154"/>
                    </a:cubicBezTo>
                    <a:cubicBezTo>
                      <a:pt x="167744" y="138154"/>
                      <a:pt x="178283" y="138154"/>
                      <a:pt x="196726" y="124965"/>
                    </a:cubicBezTo>
                    <a:cubicBezTo>
                      <a:pt x="209900" y="114414"/>
                      <a:pt x="214291" y="98588"/>
                      <a:pt x="202874" y="91554"/>
                    </a:cubicBezTo>
                    <a:cubicBezTo>
                      <a:pt x="183553" y="110897"/>
                      <a:pt x="165109" y="110018"/>
                      <a:pt x="165109" y="110018"/>
                    </a:cubicBezTo>
                    <a:cubicBezTo>
                      <a:pt x="165109" y="110018"/>
                      <a:pt x="193213" y="104743"/>
                      <a:pt x="202874" y="90675"/>
                    </a:cubicBezTo>
                    <a:cubicBezTo>
                      <a:pt x="215169" y="73090"/>
                      <a:pt x="194970" y="44955"/>
                      <a:pt x="194970" y="51110"/>
                    </a:cubicBezTo>
                    <a:cubicBezTo>
                      <a:pt x="194970" y="65177"/>
                      <a:pt x="187066" y="72211"/>
                      <a:pt x="160718" y="81883"/>
                    </a:cubicBezTo>
                    <a:cubicBezTo>
                      <a:pt x="160718" y="81883"/>
                      <a:pt x="176527" y="81883"/>
                      <a:pt x="187944" y="68694"/>
                    </a:cubicBezTo>
                    <a:cubicBezTo>
                      <a:pt x="199361" y="55506"/>
                      <a:pt x="196726" y="40559"/>
                      <a:pt x="185309" y="30887"/>
                    </a:cubicBezTo>
                    <a:cubicBezTo>
                      <a:pt x="174770" y="21216"/>
                      <a:pt x="137884" y="23854"/>
                      <a:pt x="136128" y="30008"/>
                    </a:cubicBezTo>
                    <a:cubicBezTo>
                      <a:pt x="122076" y="69574"/>
                      <a:pt x="163353" y="45834"/>
                      <a:pt x="159840" y="48472"/>
                    </a:cubicBezTo>
                    <a:cubicBezTo>
                      <a:pt x="149301" y="54627"/>
                      <a:pt x="147545" y="53747"/>
                      <a:pt x="140519" y="55506"/>
                    </a:cubicBezTo>
                    <a:cubicBezTo>
                      <a:pt x="133493" y="57264"/>
                      <a:pt x="117684" y="57264"/>
                      <a:pt x="108024" y="56385"/>
                    </a:cubicBezTo>
                    <a:cubicBezTo>
                      <a:pt x="105389" y="53747"/>
                      <a:pt x="156327" y="22974"/>
                      <a:pt x="144032" y="4510"/>
                    </a:cubicBezTo>
                    <a:cubicBezTo>
                      <a:pt x="131736" y="-13953"/>
                      <a:pt x="79920" y="30008"/>
                      <a:pt x="75529" y="33525"/>
                    </a:cubicBez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eform 128">
                <a:extLst>
                  <a:ext uri="{FF2B5EF4-FFF2-40B4-BE49-F238E27FC236}">
                    <a16:creationId xmlns:a16="http://schemas.microsoft.com/office/drawing/2014/main" id="{01245F6C-C982-0D0A-6D1A-8B9AAC25FF6F}"/>
                  </a:ext>
                </a:extLst>
              </p:cNvPr>
              <p:cNvSpPr/>
              <p:nvPr/>
            </p:nvSpPr>
            <p:spPr>
              <a:xfrm>
                <a:off x="-10852365" y="3844864"/>
                <a:ext cx="13173" cy="14947"/>
              </a:xfrm>
              <a:custGeom>
                <a:avLst/>
                <a:gdLst>
                  <a:gd name="connsiteX0" fmla="*/ 0 w 13173"/>
                  <a:gd name="connsiteY0" fmla="*/ 0 h 14947"/>
                  <a:gd name="connsiteX1" fmla="*/ 13174 w 13173"/>
                  <a:gd name="connsiteY1" fmla="*/ 14947 h 14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73" h="14947">
                    <a:moveTo>
                      <a:pt x="0" y="0"/>
                    </a:moveTo>
                    <a:cubicBezTo>
                      <a:pt x="0" y="0"/>
                      <a:pt x="9660" y="7034"/>
                      <a:pt x="13174" y="14947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6C453514-BCFC-F300-9581-2E40F574809E}"/>
                  </a:ext>
                </a:extLst>
              </p:cNvPr>
              <p:cNvSpPr/>
              <p:nvPr/>
            </p:nvSpPr>
            <p:spPr>
              <a:xfrm>
                <a:off x="-10864660" y="3857173"/>
                <a:ext cx="12295" cy="13188"/>
              </a:xfrm>
              <a:custGeom>
                <a:avLst/>
                <a:gdLst>
                  <a:gd name="connsiteX0" fmla="*/ 0 w 12295"/>
                  <a:gd name="connsiteY0" fmla="*/ 0 h 13188"/>
                  <a:gd name="connsiteX1" fmla="*/ 12296 w 12295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5" h="13188">
                    <a:moveTo>
                      <a:pt x="0" y="0"/>
                    </a:moveTo>
                    <a:cubicBezTo>
                      <a:pt x="0" y="0"/>
                      <a:pt x="7904" y="5275"/>
                      <a:pt x="12296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eform 130">
                <a:extLst>
                  <a:ext uri="{FF2B5EF4-FFF2-40B4-BE49-F238E27FC236}">
                    <a16:creationId xmlns:a16="http://schemas.microsoft.com/office/drawing/2014/main" id="{72D4622D-C50A-9CBD-1166-5A1079FCA32F}"/>
                  </a:ext>
                </a:extLst>
              </p:cNvPr>
              <p:cNvSpPr/>
              <p:nvPr/>
            </p:nvSpPr>
            <p:spPr>
              <a:xfrm>
                <a:off x="-10881347" y="3861569"/>
                <a:ext cx="7904" cy="13188"/>
              </a:xfrm>
              <a:custGeom>
                <a:avLst/>
                <a:gdLst>
                  <a:gd name="connsiteX0" fmla="*/ 0 w 7904"/>
                  <a:gd name="connsiteY0" fmla="*/ 0 h 13188"/>
                  <a:gd name="connsiteX1" fmla="*/ 7904 w 7904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4" h="13188">
                    <a:moveTo>
                      <a:pt x="0" y="0"/>
                    </a:moveTo>
                    <a:cubicBezTo>
                      <a:pt x="0" y="0"/>
                      <a:pt x="4391" y="3517"/>
                      <a:pt x="7904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:a16="http://schemas.microsoft.com/office/drawing/2014/main" id="{1A3090AC-EB26-4B44-A4E1-9E442CA77325}"/>
                  </a:ext>
                </a:extLst>
              </p:cNvPr>
              <p:cNvSpPr/>
              <p:nvPr/>
            </p:nvSpPr>
            <p:spPr>
              <a:xfrm>
                <a:off x="-10903303" y="3862448"/>
                <a:ext cx="8782" cy="12309"/>
              </a:xfrm>
              <a:custGeom>
                <a:avLst/>
                <a:gdLst>
                  <a:gd name="connsiteX0" fmla="*/ 0 w 8782"/>
                  <a:gd name="connsiteY0" fmla="*/ 0 h 12309"/>
                  <a:gd name="connsiteX1" fmla="*/ 8782 w 8782"/>
                  <a:gd name="connsiteY1" fmla="*/ 12309 h 1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2" h="12309">
                    <a:moveTo>
                      <a:pt x="0" y="0"/>
                    </a:moveTo>
                    <a:cubicBezTo>
                      <a:pt x="0" y="0"/>
                      <a:pt x="5270" y="2638"/>
                      <a:pt x="8782" y="12309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35BAC79B-FEE6-CCE9-D24C-AFA1AA1953E9}"/>
                  </a:ext>
                </a:extLst>
              </p:cNvPr>
              <p:cNvSpPr/>
              <p:nvPr/>
            </p:nvSpPr>
            <p:spPr>
              <a:xfrm>
                <a:off x="-10717115" y="3779801"/>
                <a:ext cx="25468" cy="20222"/>
              </a:xfrm>
              <a:custGeom>
                <a:avLst/>
                <a:gdLst>
                  <a:gd name="connsiteX0" fmla="*/ 0 w 25468"/>
                  <a:gd name="connsiteY0" fmla="*/ 0 h 20222"/>
                  <a:gd name="connsiteX1" fmla="*/ 25469 w 25468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68" h="20222">
                    <a:moveTo>
                      <a:pt x="0" y="0"/>
                    </a:moveTo>
                    <a:cubicBezTo>
                      <a:pt x="0" y="0"/>
                      <a:pt x="25469" y="4396"/>
                      <a:pt x="25469" y="20222"/>
                    </a:cubicBezTo>
                  </a:path>
                </a:pathLst>
              </a:custGeom>
              <a:solidFill>
                <a:srgbClr val="FA69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" name="Freeform 133">
                <a:extLst>
                  <a:ext uri="{FF2B5EF4-FFF2-40B4-BE49-F238E27FC236}">
                    <a16:creationId xmlns:a16="http://schemas.microsoft.com/office/drawing/2014/main" id="{803B138B-9C3D-375E-D3A9-5472168D7E4F}"/>
                  </a:ext>
                </a:extLst>
              </p:cNvPr>
              <p:cNvSpPr/>
              <p:nvPr/>
            </p:nvSpPr>
            <p:spPr>
              <a:xfrm>
                <a:off x="-10712724" y="3765733"/>
                <a:ext cx="20199" cy="17584"/>
              </a:xfrm>
              <a:custGeom>
                <a:avLst/>
                <a:gdLst>
                  <a:gd name="connsiteX0" fmla="*/ 0 w 20199"/>
                  <a:gd name="connsiteY0" fmla="*/ 0 h 17584"/>
                  <a:gd name="connsiteX1" fmla="*/ 20199 w 20199"/>
                  <a:gd name="connsiteY1" fmla="*/ 17585 h 17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99" h="17584">
                    <a:moveTo>
                      <a:pt x="0" y="0"/>
                    </a:moveTo>
                    <a:cubicBezTo>
                      <a:pt x="0" y="0"/>
                      <a:pt x="19321" y="0"/>
                      <a:pt x="20199" y="17585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62690FAE-D067-D789-0FE8-EFE1F0A53CFA}"/>
                  </a:ext>
                </a:extLst>
              </p:cNvPr>
              <p:cNvSpPr/>
              <p:nvPr/>
            </p:nvSpPr>
            <p:spPr>
              <a:xfrm>
                <a:off x="-10709211" y="3752545"/>
                <a:ext cx="18815" cy="20222"/>
              </a:xfrm>
              <a:custGeom>
                <a:avLst/>
                <a:gdLst>
                  <a:gd name="connsiteX0" fmla="*/ 0 w 18815"/>
                  <a:gd name="connsiteY0" fmla="*/ 0 h 20222"/>
                  <a:gd name="connsiteX1" fmla="*/ 16687 w 18815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15" h="20222">
                    <a:moveTo>
                      <a:pt x="0" y="0"/>
                    </a:moveTo>
                    <a:cubicBezTo>
                      <a:pt x="0" y="0"/>
                      <a:pt x="26347" y="2638"/>
                      <a:pt x="16687" y="20222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ACB32DF2-FEC8-8982-121E-B7D7078473A8}"/>
                  </a:ext>
                </a:extLst>
              </p:cNvPr>
              <p:cNvSpPr/>
              <p:nvPr/>
            </p:nvSpPr>
            <p:spPr>
              <a:xfrm>
                <a:off x="-10873076" y="3190858"/>
                <a:ext cx="325400" cy="137155"/>
              </a:xfrm>
              <a:custGeom>
                <a:avLst/>
                <a:gdLst>
                  <a:gd name="connsiteX0" fmla="*/ 23346 w 325400"/>
                  <a:gd name="connsiteY0" fmla="*/ 55249 h 137155"/>
                  <a:gd name="connsiteX1" fmla="*/ 10173 w 325400"/>
                  <a:gd name="connsiteY1" fmla="*/ 137018 h 137155"/>
                  <a:gd name="connsiteX2" fmla="*/ 184065 w 325400"/>
                  <a:gd name="connsiteY2" fmla="*/ 103607 h 137155"/>
                  <a:gd name="connsiteX3" fmla="*/ 262228 w 325400"/>
                  <a:gd name="connsiteY3" fmla="*/ 107124 h 137155"/>
                  <a:gd name="connsiteX4" fmla="*/ 306141 w 325400"/>
                  <a:gd name="connsiteY4" fmla="*/ 90419 h 137155"/>
                  <a:gd name="connsiteX5" fmla="*/ 306141 w 325400"/>
                  <a:gd name="connsiteY5" fmla="*/ 70196 h 137155"/>
                  <a:gd name="connsiteX6" fmla="*/ 275402 w 325400"/>
                  <a:gd name="connsiteY6" fmla="*/ 85143 h 137155"/>
                  <a:gd name="connsiteX7" fmla="*/ 312288 w 325400"/>
                  <a:gd name="connsiteY7" fmla="*/ 65800 h 137155"/>
                  <a:gd name="connsiteX8" fmla="*/ 306141 w 325400"/>
                  <a:gd name="connsiteY8" fmla="*/ 47336 h 137155"/>
                  <a:gd name="connsiteX9" fmla="*/ 271011 w 325400"/>
                  <a:gd name="connsiteY9" fmla="*/ 64921 h 137155"/>
                  <a:gd name="connsiteX10" fmla="*/ 313166 w 325400"/>
                  <a:gd name="connsiteY10" fmla="*/ 41182 h 137155"/>
                  <a:gd name="connsiteX11" fmla="*/ 306141 w 325400"/>
                  <a:gd name="connsiteY11" fmla="*/ 23597 h 137155"/>
                  <a:gd name="connsiteX12" fmla="*/ 269254 w 325400"/>
                  <a:gd name="connsiteY12" fmla="*/ 46457 h 137155"/>
                  <a:gd name="connsiteX13" fmla="*/ 295601 w 325400"/>
                  <a:gd name="connsiteY13" fmla="*/ 31510 h 137155"/>
                  <a:gd name="connsiteX14" fmla="*/ 293845 w 325400"/>
                  <a:gd name="connsiteY14" fmla="*/ 10409 h 137155"/>
                  <a:gd name="connsiteX15" fmla="*/ 265741 w 325400"/>
                  <a:gd name="connsiteY15" fmla="*/ 29752 h 137155"/>
                  <a:gd name="connsiteX16" fmla="*/ 243785 w 325400"/>
                  <a:gd name="connsiteY16" fmla="*/ 35027 h 137155"/>
                  <a:gd name="connsiteX17" fmla="*/ 260472 w 325400"/>
                  <a:gd name="connsiteY17" fmla="*/ 2496 h 137155"/>
                  <a:gd name="connsiteX18" fmla="*/ 219194 w 325400"/>
                  <a:gd name="connsiteY18" fmla="*/ 30631 h 137155"/>
                  <a:gd name="connsiteX19" fmla="*/ 180552 w 325400"/>
                  <a:gd name="connsiteY19" fmla="*/ 60525 h 137155"/>
                  <a:gd name="connsiteX20" fmla="*/ 22468 w 325400"/>
                  <a:gd name="connsiteY20" fmla="*/ 57008 h 137155"/>
                  <a:gd name="connsiteX21" fmla="*/ 22468 w 325400"/>
                  <a:gd name="connsiteY21" fmla="*/ 55249 h 13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5400" h="137155">
                    <a:moveTo>
                      <a:pt x="23346" y="55249"/>
                    </a:moveTo>
                    <a:cubicBezTo>
                      <a:pt x="23346" y="59646"/>
                      <a:pt x="-18809" y="134380"/>
                      <a:pt x="10173" y="137018"/>
                    </a:cubicBezTo>
                    <a:cubicBezTo>
                      <a:pt x="39155" y="139656"/>
                      <a:pt x="184065" y="103607"/>
                      <a:pt x="184065" y="103607"/>
                    </a:cubicBezTo>
                    <a:cubicBezTo>
                      <a:pt x="188456" y="108003"/>
                      <a:pt x="235881" y="111520"/>
                      <a:pt x="262228" y="107124"/>
                    </a:cubicBezTo>
                    <a:cubicBezTo>
                      <a:pt x="288576" y="102728"/>
                      <a:pt x="294723" y="95694"/>
                      <a:pt x="306141" y="90419"/>
                    </a:cubicBezTo>
                    <a:cubicBezTo>
                      <a:pt x="323705" y="81626"/>
                      <a:pt x="317558" y="63162"/>
                      <a:pt x="306141" y="70196"/>
                    </a:cubicBezTo>
                    <a:cubicBezTo>
                      <a:pt x="294723" y="77230"/>
                      <a:pt x="275402" y="85143"/>
                      <a:pt x="275402" y="85143"/>
                    </a:cubicBezTo>
                    <a:cubicBezTo>
                      <a:pt x="275402" y="85143"/>
                      <a:pt x="302627" y="75472"/>
                      <a:pt x="312288" y="65800"/>
                    </a:cubicBezTo>
                    <a:cubicBezTo>
                      <a:pt x="326340" y="53491"/>
                      <a:pt x="324583" y="33269"/>
                      <a:pt x="306141" y="47336"/>
                    </a:cubicBezTo>
                    <a:cubicBezTo>
                      <a:pt x="289454" y="57887"/>
                      <a:pt x="271011" y="64921"/>
                      <a:pt x="271011" y="64921"/>
                    </a:cubicBezTo>
                    <a:cubicBezTo>
                      <a:pt x="271011" y="64921"/>
                      <a:pt x="299114" y="53491"/>
                      <a:pt x="313166" y="41182"/>
                    </a:cubicBezTo>
                    <a:cubicBezTo>
                      <a:pt x="339514" y="18322"/>
                      <a:pt x="316679" y="13046"/>
                      <a:pt x="306141" y="23597"/>
                    </a:cubicBezTo>
                    <a:cubicBezTo>
                      <a:pt x="295601" y="34148"/>
                      <a:pt x="283306" y="40303"/>
                      <a:pt x="269254" y="46457"/>
                    </a:cubicBezTo>
                    <a:cubicBezTo>
                      <a:pt x="269254" y="46457"/>
                      <a:pt x="282428" y="41182"/>
                      <a:pt x="295601" y="31510"/>
                    </a:cubicBezTo>
                    <a:cubicBezTo>
                      <a:pt x="308775" y="21839"/>
                      <a:pt x="303506" y="3375"/>
                      <a:pt x="293845" y="10409"/>
                    </a:cubicBezTo>
                    <a:cubicBezTo>
                      <a:pt x="284184" y="17443"/>
                      <a:pt x="273645" y="27114"/>
                      <a:pt x="265741" y="29752"/>
                    </a:cubicBezTo>
                    <a:cubicBezTo>
                      <a:pt x="257837" y="32389"/>
                      <a:pt x="249055" y="35906"/>
                      <a:pt x="243785" y="35027"/>
                    </a:cubicBezTo>
                    <a:cubicBezTo>
                      <a:pt x="242029" y="33269"/>
                      <a:pt x="268376" y="13046"/>
                      <a:pt x="260472" y="2496"/>
                    </a:cubicBezTo>
                    <a:cubicBezTo>
                      <a:pt x="252568" y="-8055"/>
                      <a:pt x="228855" y="17443"/>
                      <a:pt x="219194" y="30631"/>
                    </a:cubicBezTo>
                    <a:cubicBezTo>
                      <a:pt x="209534" y="43819"/>
                      <a:pt x="180552" y="60525"/>
                      <a:pt x="180552" y="60525"/>
                    </a:cubicBezTo>
                    <a:cubicBezTo>
                      <a:pt x="180552" y="60525"/>
                      <a:pt x="21590" y="53491"/>
                      <a:pt x="22468" y="57008"/>
                    </a:cubicBezTo>
                    <a:lnTo>
                      <a:pt x="22468" y="5524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" name="Freeform 136">
                <a:extLst>
                  <a:ext uri="{FF2B5EF4-FFF2-40B4-BE49-F238E27FC236}">
                    <a16:creationId xmlns:a16="http://schemas.microsoft.com/office/drawing/2014/main" id="{84E7F111-7857-6947-7374-38643C13BCE1}"/>
                  </a:ext>
                </a:extLst>
              </p:cNvPr>
              <p:cNvSpPr/>
              <p:nvPr/>
            </p:nvSpPr>
            <p:spPr>
              <a:xfrm>
                <a:off x="-11123877" y="3076153"/>
                <a:ext cx="353347" cy="527140"/>
              </a:xfrm>
              <a:custGeom>
                <a:avLst/>
                <a:gdLst>
                  <a:gd name="connsiteX0" fmla="*/ 347041 w 353347"/>
                  <a:gd name="connsiteY0" fmla="*/ 59171 h 527140"/>
                  <a:gd name="connsiteX1" fmla="*/ 124846 w 353347"/>
                  <a:gd name="connsiteY1" fmla="*/ 41587 h 527140"/>
                  <a:gd name="connsiteX2" fmla="*/ 1013 w 353347"/>
                  <a:gd name="connsiteY2" fmla="*/ 360748 h 527140"/>
                  <a:gd name="connsiteX3" fmla="*/ 195983 w 353347"/>
                  <a:gd name="connsiteY3" fmla="*/ 474168 h 527140"/>
                  <a:gd name="connsiteX4" fmla="*/ 318937 w 353347"/>
                  <a:gd name="connsiteY4" fmla="*/ 518130 h 527140"/>
                  <a:gd name="connsiteX5" fmla="*/ 306642 w 353347"/>
                  <a:gd name="connsiteY5" fmla="*/ 409985 h 527140"/>
                  <a:gd name="connsiteX6" fmla="*/ 243408 w 353347"/>
                  <a:gd name="connsiteY6" fmla="*/ 346680 h 527140"/>
                  <a:gd name="connsiteX7" fmla="*/ 346163 w 353347"/>
                  <a:gd name="connsiteY7" fmla="*/ 59171 h 527140"/>
                  <a:gd name="connsiteX8" fmla="*/ 347041 w 353347"/>
                  <a:gd name="connsiteY8" fmla="*/ 59171 h 527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347" h="527140">
                    <a:moveTo>
                      <a:pt x="347041" y="59171"/>
                    </a:moveTo>
                    <a:cubicBezTo>
                      <a:pt x="306642" y="-15563"/>
                      <a:pt x="172271" y="-17322"/>
                      <a:pt x="124846" y="41587"/>
                    </a:cubicBezTo>
                    <a:cubicBezTo>
                      <a:pt x="77421" y="100495"/>
                      <a:pt x="-10404" y="242052"/>
                      <a:pt x="1013" y="360748"/>
                    </a:cubicBezTo>
                    <a:cubicBezTo>
                      <a:pt x="12431" y="479444"/>
                      <a:pt x="195983" y="474168"/>
                      <a:pt x="195983" y="474168"/>
                    </a:cubicBezTo>
                    <a:cubicBezTo>
                      <a:pt x="195983" y="474168"/>
                      <a:pt x="294346" y="553299"/>
                      <a:pt x="318937" y="518130"/>
                    </a:cubicBezTo>
                    <a:cubicBezTo>
                      <a:pt x="341772" y="486478"/>
                      <a:pt x="336502" y="450429"/>
                      <a:pt x="306642" y="409985"/>
                    </a:cubicBezTo>
                    <a:cubicBezTo>
                      <a:pt x="282929" y="377453"/>
                      <a:pt x="243408" y="346680"/>
                      <a:pt x="243408" y="346680"/>
                    </a:cubicBezTo>
                    <a:cubicBezTo>
                      <a:pt x="243408" y="346680"/>
                      <a:pt x="386562" y="133906"/>
                      <a:pt x="346163" y="59171"/>
                    </a:cubicBezTo>
                    <a:lnTo>
                      <a:pt x="347041" y="59171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688F2771-F2C3-12AF-0219-9A6C62D2A8D2}"/>
                  </a:ext>
                </a:extLst>
              </p:cNvPr>
              <p:cNvSpPr/>
              <p:nvPr/>
            </p:nvSpPr>
            <p:spPr>
              <a:xfrm>
                <a:off x="-11149211" y="3460640"/>
                <a:ext cx="378522" cy="220686"/>
              </a:xfrm>
              <a:custGeom>
                <a:avLst/>
                <a:gdLst>
                  <a:gd name="connsiteX0" fmla="*/ 0 w 378522"/>
                  <a:gd name="connsiteY0" fmla="*/ 0 h 220686"/>
                  <a:gd name="connsiteX1" fmla="*/ 361836 w 378522"/>
                  <a:gd name="connsiteY1" fmla="*/ 34290 h 220686"/>
                  <a:gd name="connsiteX2" fmla="*/ 378523 w 378522"/>
                  <a:gd name="connsiteY2" fmla="*/ 119575 h 220686"/>
                  <a:gd name="connsiteX3" fmla="*/ 82555 w 378522"/>
                  <a:gd name="connsiteY3" fmla="*/ 220687 h 220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22" h="220686">
                    <a:moveTo>
                      <a:pt x="0" y="0"/>
                    </a:moveTo>
                    <a:lnTo>
                      <a:pt x="361836" y="34290"/>
                    </a:lnTo>
                    <a:lnTo>
                      <a:pt x="378523" y="119575"/>
                    </a:lnTo>
                    <a:cubicBezTo>
                      <a:pt x="378523" y="119575"/>
                      <a:pt x="201996" y="198706"/>
                      <a:pt x="82555" y="22068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" name="Freeform 138">
                <a:extLst>
                  <a:ext uri="{FF2B5EF4-FFF2-40B4-BE49-F238E27FC236}">
                    <a16:creationId xmlns:a16="http://schemas.microsoft.com/office/drawing/2014/main" id="{2D363513-9E21-2D70-215F-B20B9636A3E0}"/>
                  </a:ext>
                </a:extLst>
              </p:cNvPr>
              <p:cNvSpPr/>
              <p:nvPr/>
            </p:nvSpPr>
            <p:spPr>
              <a:xfrm>
                <a:off x="-13480067" y="1704817"/>
                <a:ext cx="8782" cy="8792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8792"/>
                </a:pathLst>
              </a:custGeom>
              <a:solidFill>
                <a:srgbClr val="DD9C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" name="Freeform 139">
                <a:extLst>
                  <a:ext uri="{FF2B5EF4-FFF2-40B4-BE49-F238E27FC236}">
                    <a16:creationId xmlns:a16="http://schemas.microsoft.com/office/drawing/2014/main" id="{E14A4720-6939-18C4-E33B-2A11883A8E99}"/>
                  </a:ext>
                </a:extLst>
              </p:cNvPr>
              <p:cNvSpPr/>
              <p:nvPr/>
            </p:nvSpPr>
            <p:spPr>
              <a:xfrm>
                <a:off x="-10950752" y="2817590"/>
                <a:ext cx="263053" cy="235087"/>
              </a:xfrm>
              <a:custGeom>
                <a:avLst/>
                <a:gdLst>
                  <a:gd name="connsiteX0" fmla="*/ 39545 w 263053"/>
                  <a:gd name="connsiteY0" fmla="*/ 235087 h 235087"/>
                  <a:gd name="connsiteX1" fmla="*/ 24 w 263053"/>
                  <a:gd name="connsiteY1" fmla="*/ 133096 h 235087"/>
                  <a:gd name="connsiteX2" fmla="*/ 91361 w 263053"/>
                  <a:gd name="connsiteY2" fmla="*/ 2091 h 235087"/>
                  <a:gd name="connsiteX3" fmla="*/ 259984 w 263053"/>
                  <a:gd name="connsiteY3" fmla="*/ 51328 h 235087"/>
                  <a:gd name="connsiteX4" fmla="*/ 189725 w 263053"/>
                  <a:gd name="connsiteY4" fmla="*/ 82980 h 235087"/>
                  <a:gd name="connsiteX5" fmla="*/ 173916 w 263053"/>
                  <a:gd name="connsiteY5" fmla="*/ 125183 h 235087"/>
                  <a:gd name="connsiteX6" fmla="*/ 144056 w 263053"/>
                  <a:gd name="connsiteY6" fmla="*/ 148043 h 235087"/>
                  <a:gd name="connsiteX7" fmla="*/ 122978 w 263053"/>
                  <a:gd name="connsiteY7" fmla="*/ 107599 h 235087"/>
                  <a:gd name="connsiteX8" fmla="*/ 124735 w 263053"/>
                  <a:gd name="connsiteY8" fmla="*/ 172662 h 235087"/>
                  <a:gd name="connsiteX9" fmla="*/ 82579 w 263053"/>
                  <a:gd name="connsiteY9" fmla="*/ 228053 h 235087"/>
                  <a:gd name="connsiteX10" fmla="*/ 37789 w 263053"/>
                  <a:gd name="connsiteY10" fmla="*/ 232449 h 235087"/>
                  <a:gd name="connsiteX11" fmla="*/ 39545 w 263053"/>
                  <a:gd name="connsiteY11" fmla="*/ 235087 h 23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3053" h="235087">
                    <a:moveTo>
                      <a:pt x="39545" y="235087"/>
                    </a:moveTo>
                    <a:cubicBezTo>
                      <a:pt x="39545" y="235087"/>
                      <a:pt x="1781" y="184092"/>
                      <a:pt x="24" y="133096"/>
                    </a:cubicBezTo>
                    <a:cubicBezTo>
                      <a:pt x="-854" y="82101"/>
                      <a:pt x="21980" y="13521"/>
                      <a:pt x="91361" y="2091"/>
                    </a:cubicBezTo>
                    <a:cubicBezTo>
                      <a:pt x="91361" y="2091"/>
                      <a:pt x="226611" y="-15494"/>
                      <a:pt x="259984" y="51328"/>
                    </a:cubicBezTo>
                    <a:cubicBezTo>
                      <a:pt x="276671" y="86497"/>
                      <a:pt x="221341" y="61879"/>
                      <a:pt x="189725" y="82980"/>
                    </a:cubicBezTo>
                    <a:cubicBezTo>
                      <a:pt x="172160" y="95289"/>
                      <a:pt x="173916" y="117270"/>
                      <a:pt x="173916" y="125183"/>
                    </a:cubicBezTo>
                    <a:cubicBezTo>
                      <a:pt x="173916" y="146285"/>
                      <a:pt x="158108" y="159473"/>
                      <a:pt x="144056" y="148043"/>
                    </a:cubicBezTo>
                    <a:cubicBezTo>
                      <a:pt x="137030" y="141889"/>
                      <a:pt x="155473" y="119908"/>
                      <a:pt x="122978" y="107599"/>
                    </a:cubicBezTo>
                    <a:cubicBezTo>
                      <a:pt x="81701" y="100565"/>
                      <a:pt x="90483" y="162990"/>
                      <a:pt x="124735" y="172662"/>
                    </a:cubicBezTo>
                    <a:cubicBezTo>
                      <a:pt x="104535" y="183212"/>
                      <a:pt x="105413" y="227174"/>
                      <a:pt x="82579" y="228053"/>
                    </a:cubicBezTo>
                    <a:lnTo>
                      <a:pt x="37789" y="232449"/>
                    </a:lnTo>
                    <a:lnTo>
                      <a:pt x="39545" y="235087"/>
                    </a:lnTo>
                    <a:close/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C3A479DB-58DC-683E-75E8-A0271C847DC0}"/>
                  </a:ext>
                </a:extLst>
              </p:cNvPr>
              <p:cNvSpPr/>
              <p:nvPr/>
            </p:nvSpPr>
            <p:spPr>
              <a:xfrm>
                <a:off x="-11051904" y="2954985"/>
                <a:ext cx="132793" cy="93781"/>
              </a:xfrm>
              <a:custGeom>
                <a:avLst/>
                <a:gdLst>
                  <a:gd name="connsiteX0" fmla="*/ 122254 w 132793"/>
                  <a:gd name="connsiteY0" fmla="*/ 10648 h 93781"/>
                  <a:gd name="connsiteX1" fmla="*/ 39699 w 132793"/>
                  <a:gd name="connsiteY1" fmla="*/ 22957 h 93781"/>
                  <a:gd name="connsiteX2" fmla="*/ 13352 w 132793"/>
                  <a:gd name="connsiteY2" fmla="*/ 73074 h 93781"/>
                  <a:gd name="connsiteX3" fmla="*/ 44091 w 132793"/>
                  <a:gd name="connsiteY3" fmla="*/ 91537 h 93781"/>
                  <a:gd name="connsiteX4" fmla="*/ 132793 w 132793"/>
                  <a:gd name="connsiteY4" fmla="*/ 37904 h 9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793" h="93781">
                    <a:moveTo>
                      <a:pt x="122254" y="10648"/>
                    </a:moveTo>
                    <a:cubicBezTo>
                      <a:pt x="122254" y="10648"/>
                      <a:pt x="49360" y="-20125"/>
                      <a:pt x="39699" y="22957"/>
                    </a:cubicBezTo>
                    <a:cubicBezTo>
                      <a:pt x="30039" y="66040"/>
                      <a:pt x="29160" y="65161"/>
                      <a:pt x="13352" y="73074"/>
                    </a:cubicBezTo>
                    <a:cubicBezTo>
                      <a:pt x="-2456" y="80987"/>
                      <a:pt x="-15630" y="100330"/>
                      <a:pt x="44091" y="91537"/>
                    </a:cubicBezTo>
                    <a:cubicBezTo>
                      <a:pt x="103811" y="82745"/>
                      <a:pt x="132793" y="37904"/>
                      <a:pt x="132793" y="37904"/>
                    </a:cubicBezTo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D8A489F8-EE98-8959-9A82-592A721956D7}"/>
                  </a:ext>
                </a:extLst>
              </p:cNvPr>
              <p:cNvSpPr/>
              <p:nvPr/>
            </p:nvSpPr>
            <p:spPr>
              <a:xfrm>
                <a:off x="-11003024" y="3268022"/>
                <a:ext cx="361090" cy="247097"/>
              </a:xfrm>
              <a:custGeom>
                <a:avLst/>
                <a:gdLst>
                  <a:gd name="connsiteX0" fmla="*/ 256048 w 361090"/>
                  <a:gd name="connsiteY0" fmla="*/ 231304 h 247097"/>
                  <a:gd name="connsiteX1" fmla="*/ 296447 w 361090"/>
                  <a:gd name="connsiteY1" fmla="*/ 246251 h 247097"/>
                  <a:gd name="connsiteX2" fmla="*/ 321916 w 361090"/>
                  <a:gd name="connsiteY2" fmla="*/ 230425 h 247097"/>
                  <a:gd name="connsiteX3" fmla="*/ 287665 w 361090"/>
                  <a:gd name="connsiteY3" fmla="*/ 224270 h 247097"/>
                  <a:gd name="connsiteX4" fmla="*/ 312256 w 361090"/>
                  <a:gd name="connsiteY4" fmla="*/ 231304 h 247097"/>
                  <a:gd name="connsiteX5" fmla="*/ 335090 w 361090"/>
                  <a:gd name="connsiteY5" fmla="*/ 208444 h 247097"/>
                  <a:gd name="connsiteX6" fmla="*/ 295569 w 361090"/>
                  <a:gd name="connsiteY6" fmla="*/ 205807 h 247097"/>
                  <a:gd name="connsiteX7" fmla="*/ 343873 w 361090"/>
                  <a:gd name="connsiteY7" fmla="*/ 205807 h 247097"/>
                  <a:gd name="connsiteX8" fmla="*/ 346507 w 361090"/>
                  <a:gd name="connsiteY8" fmla="*/ 188222 h 247097"/>
                  <a:gd name="connsiteX9" fmla="*/ 309621 w 361090"/>
                  <a:gd name="connsiteY9" fmla="*/ 188222 h 247097"/>
                  <a:gd name="connsiteX10" fmla="*/ 337725 w 361090"/>
                  <a:gd name="connsiteY10" fmla="*/ 190860 h 247097"/>
                  <a:gd name="connsiteX11" fmla="*/ 357046 w 361090"/>
                  <a:gd name="connsiteY11" fmla="*/ 169758 h 247097"/>
                  <a:gd name="connsiteX12" fmla="*/ 314890 w 361090"/>
                  <a:gd name="connsiteY12" fmla="*/ 166241 h 247097"/>
                  <a:gd name="connsiteX13" fmla="*/ 298204 w 361090"/>
                  <a:gd name="connsiteY13" fmla="*/ 154811 h 247097"/>
                  <a:gd name="connsiteX14" fmla="*/ 335968 w 361090"/>
                  <a:gd name="connsiteY14" fmla="*/ 130193 h 247097"/>
                  <a:gd name="connsiteX15" fmla="*/ 290300 w 361090"/>
                  <a:gd name="connsiteY15" fmla="*/ 132830 h 247097"/>
                  <a:gd name="connsiteX16" fmla="*/ 221797 w 361090"/>
                  <a:gd name="connsiteY16" fmla="*/ 143381 h 247097"/>
                  <a:gd name="connsiteX17" fmla="*/ 117286 w 361090"/>
                  <a:gd name="connsiteY17" fmla="*/ 52821 h 247097"/>
                  <a:gd name="connsiteX18" fmla="*/ 1358 w 361090"/>
                  <a:gd name="connsiteY18" fmla="*/ 1825 h 247097"/>
                  <a:gd name="connsiteX19" fmla="*/ 31218 w 361090"/>
                  <a:gd name="connsiteY19" fmla="*/ 117004 h 247097"/>
                  <a:gd name="connsiteX20" fmla="*/ 205110 w 361090"/>
                  <a:gd name="connsiteY20" fmla="*/ 197894 h 247097"/>
                  <a:gd name="connsiteX21" fmla="*/ 257805 w 361090"/>
                  <a:gd name="connsiteY21" fmla="*/ 233942 h 247097"/>
                  <a:gd name="connsiteX22" fmla="*/ 256048 w 361090"/>
                  <a:gd name="connsiteY22" fmla="*/ 231304 h 24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61090" h="247097">
                    <a:moveTo>
                      <a:pt x="256048" y="231304"/>
                    </a:moveTo>
                    <a:cubicBezTo>
                      <a:pt x="277126" y="242734"/>
                      <a:pt x="288543" y="244493"/>
                      <a:pt x="296447" y="246251"/>
                    </a:cubicBezTo>
                    <a:cubicBezTo>
                      <a:pt x="314890" y="251527"/>
                      <a:pt x="323673" y="230425"/>
                      <a:pt x="321916" y="230425"/>
                    </a:cubicBezTo>
                    <a:cubicBezTo>
                      <a:pt x="302595" y="233063"/>
                      <a:pt x="287665" y="224270"/>
                      <a:pt x="287665" y="224270"/>
                    </a:cubicBezTo>
                    <a:cubicBezTo>
                      <a:pt x="287665" y="224270"/>
                      <a:pt x="296447" y="230425"/>
                      <a:pt x="312256" y="231304"/>
                    </a:cubicBezTo>
                    <a:cubicBezTo>
                      <a:pt x="331577" y="233942"/>
                      <a:pt x="350020" y="216357"/>
                      <a:pt x="335090" y="208444"/>
                    </a:cubicBezTo>
                    <a:cubicBezTo>
                      <a:pt x="315769" y="211082"/>
                      <a:pt x="295569" y="205807"/>
                      <a:pt x="295569" y="205807"/>
                    </a:cubicBezTo>
                    <a:cubicBezTo>
                      <a:pt x="295569" y="205807"/>
                      <a:pt x="330699" y="214599"/>
                      <a:pt x="343873" y="205807"/>
                    </a:cubicBezTo>
                    <a:cubicBezTo>
                      <a:pt x="356168" y="196135"/>
                      <a:pt x="350898" y="186464"/>
                      <a:pt x="346507" y="188222"/>
                    </a:cubicBezTo>
                    <a:cubicBezTo>
                      <a:pt x="342116" y="189980"/>
                      <a:pt x="327186" y="196135"/>
                      <a:pt x="309621" y="188222"/>
                    </a:cubicBezTo>
                    <a:cubicBezTo>
                      <a:pt x="309621" y="188222"/>
                      <a:pt x="324551" y="192618"/>
                      <a:pt x="337725" y="190860"/>
                    </a:cubicBezTo>
                    <a:cubicBezTo>
                      <a:pt x="350898" y="189101"/>
                      <a:pt x="369342" y="175913"/>
                      <a:pt x="357046" y="169758"/>
                    </a:cubicBezTo>
                    <a:cubicBezTo>
                      <a:pt x="344751" y="163603"/>
                      <a:pt x="327186" y="172396"/>
                      <a:pt x="314890" y="166241"/>
                    </a:cubicBezTo>
                    <a:cubicBezTo>
                      <a:pt x="313134" y="165362"/>
                      <a:pt x="302595" y="158328"/>
                      <a:pt x="298204" y="154811"/>
                    </a:cubicBezTo>
                    <a:cubicBezTo>
                      <a:pt x="298204" y="152174"/>
                      <a:pt x="333334" y="145140"/>
                      <a:pt x="335968" y="130193"/>
                    </a:cubicBezTo>
                    <a:cubicBezTo>
                      <a:pt x="338603" y="115246"/>
                      <a:pt x="294691" y="132830"/>
                      <a:pt x="290300" y="132830"/>
                    </a:cubicBezTo>
                    <a:cubicBezTo>
                      <a:pt x="279761" y="133710"/>
                      <a:pt x="221797" y="143381"/>
                      <a:pt x="221797" y="143381"/>
                    </a:cubicBezTo>
                    <a:cubicBezTo>
                      <a:pt x="221797" y="143381"/>
                      <a:pt x="121677" y="45787"/>
                      <a:pt x="117286" y="52821"/>
                    </a:cubicBezTo>
                    <a:cubicBezTo>
                      <a:pt x="112895" y="59854"/>
                      <a:pt x="-14451" y="-12243"/>
                      <a:pt x="1358" y="1825"/>
                    </a:cubicBezTo>
                    <a:cubicBezTo>
                      <a:pt x="17166" y="15893"/>
                      <a:pt x="-13572" y="94144"/>
                      <a:pt x="31218" y="117004"/>
                    </a:cubicBezTo>
                    <a:cubicBezTo>
                      <a:pt x="76009" y="139864"/>
                      <a:pt x="206867" y="195256"/>
                      <a:pt x="205110" y="197894"/>
                    </a:cubicBezTo>
                    <a:cubicBezTo>
                      <a:pt x="205110" y="197894"/>
                      <a:pt x="236727" y="222512"/>
                      <a:pt x="257805" y="233942"/>
                    </a:cubicBezTo>
                    <a:lnTo>
                      <a:pt x="256048" y="231304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D401430D-E0DC-928B-0682-19CEFA359256}"/>
                  </a:ext>
                </a:extLst>
              </p:cNvPr>
              <p:cNvSpPr/>
              <p:nvPr/>
            </p:nvSpPr>
            <p:spPr>
              <a:xfrm>
                <a:off x="-11006568" y="3174890"/>
                <a:ext cx="157715" cy="150238"/>
              </a:xfrm>
              <a:custGeom>
                <a:avLst/>
                <a:gdLst>
                  <a:gd name="connsiteX0" fmla="*/ 157716 w 157715"/>
                  <a:gd name="connsiteY0" fmla="*/ 29894 h 150238"/>
                  <a:gd name="connsiteX1" fmla="*/ 134003 w 157715"/>
                  <a:gd name="connsiteY1" fmla="*/ 126609 h 150238"/>
                  <a:gd name="connsiteX2" fmla="*/ 1389 w 157715"/>
                  <a:gd name="connsiteY2" fmla="*/ 123092 h 150238"/>
                  <a:gd name="connsiteX3" fmla="*/ 35640 w 157715"/>
                  <a:gd name="connsiteY3" fmla="*/ 0 h 15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715" h="150238">
                    <a:moveTo>
                      <a:pt x="157716" y="29894"/>
                    </a:moveTo>
                    <a:cubicBezTo>
                      <a:pt x="157716" y="29894"/>
                      <a:pt x="149812" y="96715"/>
                      <a:pt x="134003" y="126609"/>
                    </a:cubicBezTo>
                    <a:cubicBezTo>
                      <a:pt x="116438" y="167054"/>
                      <a:pt x="22467" y="148590"/>
                      <a:pt x="1389" y="123092"/>
                    </a:cubicBezTo>
                    <a:cubicBezTo>
                      <a:pt x="-8272" y="57150"/>
                      <a:pt x="35640" y="0"/>
                      <a:pt x="35640" y="0"/>
                    </a:cubicBezTo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7A001297-626C-3657-F7EC-F523A89BF342}"/>
                </a:ext>
              </a:extLst>
            </p:cNvPr>
            <p:cNvGrpSpPr/>
            <p:nvPr userDrawn="1"/>
          </p:nvGrpSpPr>
          <p:grpSpPr>
            <a:xfrm>
              <a:off x="-12394315" y="2136257"/>
              <a:ext cx="4006717" cy="3669345"/>
              <a:chOff x="-12394315" y="2136257"/>
              <a:chExt cx="4006717" cy="3669345"/>
            </a:xfrm>
          </p:grpSpPr>
          <p:grpSp>
            <p:nvGrpSpPr>
              <p:cNvPr id="92" name="Graphic 6">
                <a:extLst>
                  <a:ext uri="{FF2B5EF4-FFF2-40B4-BE49-F238E27FC236}">
                    <a16:creationId xmlns:a16="http://schemas.microsoft.com/office/drawing/2014/main" id="{DDF40AF3-388A-92EC-5BC3-DB5D867CEF63}"/>
                  </a:ext>
                </a:extLst>
              </p:cNvPr>
              <p:cNvGrpSpPr/>
              <p:nvPr/>
            </p:nvGrpSpPr>
            <p:grpSpPr>
              <a:xfrm>
                <a:off x="-12394315" y="2136257"/>
                <a:ext cx="2480746" cy="3669345"/>
                <a:chOff x="-12394315" y="2136257"/>
                <a:chExt cx="2480746" cy="3669345"/>
              </a:xfrm>
            </p:grpSpPr>
            <p:grpSp>
              <p:nvGrpSpPr>
                <p:cNvPr id="109" name="Graphic 6">
                  <a:extLst>
                    <a:ext uri="{FF2B5EF4-FFF2-40B4-BE49-F238E27FC236}">
                      <a16:creationId xmlns:a16="http://schemas.microsoft.com/office/drawing/2014/main" id="{75302824-213F-A535-D9DD-BF4B158E8129}"/>
                    </a:ext>
                  </a:extLst>
                </p:cNvPr>
                <p:cNvGrpSpPr/>
                <p:nvPr/>
              </p:nvGrpSpPr>
              <p:grpSpPr>
                <a:xfrm>
                  <a:off x="-12394315" y="2136257"/>
                  <a:ext cx="2480746" cy="3669345"/>
                  <a:chOff x="-12394315" y="2136257"/>
                  <a:chExt cx="2480746" cy="3669345"/>
                </a:xfrm>
              </p:grpSpPr>
              <p:sp>
                <p:nvSpPr>
                  <p:cNvPr id="113" name="Freeform 112">
                    <a:extLst>
                      <a:ext uri="{FF2B5EF4-FFF2-40B4-BE49-F238E27FC236}">
                        <a16:creationId xmlns:a16="http://schemas.microsoft.com/office/drawing/2014/main" id="{3175FA63-63A7-0C4C-C620-B3680F0E18ED}"/>
                      </a:ext>
                    </a:extLst>
                  </p:cNvPr>
                  <p:cNvSpPr/>
                  <p:nvPr/>
                </p:nvSpPr>
                <p:spPr>
                  <a:xfrm>
                    <a:off x="-12178674" y="3689240"/>
                    <a:ext cx="836249" cy="1834954"/>
                  </a:xfrm>
                  <a:custGeom>
                    <a:avLst/>
                    <a:gdLst>
                      <a:gd name="connsiteX0" fmla="*/ 163 w 836249"/>
                      <a:gd name="connsiteY0" fmla="*/ 1557117 h 1834954"/>
                      <a:gd name="connsiteX1" fmla="*/ 29145 w 836249"/>
                      <a:gd name="connsiteY1" fmla="*/ 1353136 h 1834954"/>
                      <a:gd name="connsiteX2" fmla="*/ 95891 w 836249"/>
                      <a:gd name="connsiteY2" fmla="*/ 0 h 1834954"/>
                      <a:gd name="connsiteX3" fmla="*/ 813416 w 836249"/>
                      <a:gd name="connsiteY3" fmla="*/ 31652 h 1834954"/>
                      <a:gd name="connsiteX4" fmla="*/ 826589 w 836249"/>
                      <a:gd name="connsiteY4" fmla="*/ 371915 h 1834954"/>
                      <a:gd name="connsiteX5" fmla="*/ 836250 w 836249"/>
                      <a:gd name="connsiteY5" fmla="*/ 1670538 h 1834954"/>
                      <a:gd name="connsiteX6" fmla="*/ 775651 w 836249"/>
                      <a:gd name="connsiteY6" fmla="*/ 1762858 h 1834954"/>
                      <a:gd name="connsiteX7" fmla="*/ 746669 w 836249"/>
                      <a:gd name="connsiteY7" fmla="*/ 1825283 h 1834954"/>
                      <a:gd name="connsiteX8" fmla="*/ 614055 w 836249"/>
                      <a:gd name="connsiteY8" fmla="*/ 1834954 h 1834954"/>
                      <a:gd name="connsiteX9" fmla="*/ 597368 w 836249"/>
                      <a:gd name="connsiteY9" fmla="*/ 1776046 h 1834954"/>
                      <a:gd name="connsiteX10" fmla="*/ 518326 w 836249"/>
                      <a:gd name="connsiteY10" fmla="*/ 1664384 h 1834954"/>
                      <a:gd name="connsiteX11" fmla="*/ 451580 w 836249"/>
                      <a:gd name="connsiteY11" fmla="*/ 534572 h 1834954"/>
                      <a:gd name="connsiteX12" fmla="*/ 451580 w 836249"/>
                      <a:gd name="connsiteY12" fmla="*/ 232117 h 1834954"/>
                      <a:gd name="connsiteX13" fmla="*/ 257488 w 836249"/>
                      <a:gd name="connsiteY13" fmla="*/ 1753186 h 1834954"/>
                      <a:gd name="connsiteX14" fmla="*/ 250462 w 836249"/>
                      <a:gd name="connsiteY14" fmla="*/ 1753186 h 1834954"/>
                      <a:gd name="connsiteX15" fmla="*/ 236410 w 836249"/>
                      <a:gd name="connsiteY15" fmla="*/ 1804181 h 1834954"/>
                      <a:gd name="connsiteX16" fmla="*/ 80083 w 836249"/>
                      <a:gd name="connsiteY16" fmla="*/ 1795389 h 1834954"/>
                      <a:gd name="connsiteX17" fmla="*/ 61640 w 836249"/>
                      <a:gd name="connsiteY17" fmla="*/ 1738239 h 1834954"/>
                      <a:gd name="connsiteX18" fmla="*/ 51101 w 836249"/>
                      <a:gd name="connsiteY18" fmla="*/ 1738239 h 1834954"/>
                      <a:gd name="connsiteX19" fmla="*/ 163 w 836249"/>
                      <a:gd name="connsiteY19" fmla="*/ 1556238 h 1834954"/>
                      <a:gd name="connsiteX20" fmla="*/ 163 w 836249"/>
                      <a:gd name="connsiteY20" fmla="*/ 1556238 h 1834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836249" h="1834954">
                        <a:moveTo>
                          <a:pt x="163" y="1557117"/>
                        </a:moveTo>
                        <a:cubicBezTo>
                          <a:pt x="3676" y="1442817"/>
                          <a:pt x="29145" y="1353136"/>
                          <a:pt x="29145" y="1353136"/>
                        </a:cubicBezTo>
                        <a:lnTo>
                          <a:pt x="95891" y="0"/>
                        </a:lnTo>
                        <a:lnTo>
                          <a:pt x="813416" y="31652"/>
                        </a:lnTo>
                        <a:lnTo>
                          <a:pt x="826589" y="371915"/>
                        </a:lnTo>
                        <a:lnTo>
                          <a:pt x="836250" y="1670538"/>
                        </a:lnTo>
                        <a:cubicBezTo>
                          <a:pt x="836250" y="1670538"/>
                          <a:pt x="807268" y="1747031"/>
                          <a:pt x="775651" y="1762858"/>
                        </a:cubicBezTo>
                        <a:lnTo>
                          <a:pt x="746669" y="1825283"/>
                        </a:lnTo>
                        <a:lnTo>
                          <a:pt x="614055" y="1834954"/>
                        </a:lnTo>
                        <a:lnTo>
                          <a:pt x="597368" y="1776046"/>
                        </a:lnTo>
                        <a:cubicBezTo>
                          <a:pt x="597368" y="1776046"/>
                          <a:pt x="518326" y="1734722"/>
                          <a:pt x="518326" y="1664384"/>
                        </a:cubicBezTo>
                        <a:cubicBezTo>
                          <a:pt x="518326" y="1594045"/>
                          <a:pt x="451580" y="534572"/>
                          <a:pt x="451580" y="534572"/>
                        </a:cubicBezTo>
                        <a:lnTo>
                          <a:pt x="451580" y="232117"/>
                        </a:lnTo>
                        <a:cubicBezTo>
                          <a:pt x="451580" y="232117"/>
                          <a:pt x="362877" y="1674055"/>
                          <a:pt x="257488" y="1753186"/>
                        </a:cubicBezTo>
                        <a:lnTo>
                          <a:pt x="250462" y="1753186"/>
                        </a:lnTo>
                        <a:lnTo>
                          <a:pt x="236410" y="1804181"/>
                        </a:lnTo>
                        <a:lnTo>
                          <a:pt x="80083" y="1795389"/>
                        </a:lnTo>
                        <a:lnTo>
                          <a:pt x="61640" y="1738239"/>
                        </a:lnTo>
                        <a:lnTo>
                          <a:pt x="51101" y="1738239"/>
                        </a:lnTo>
                        <a:cubicBezTo>
                          <a:pt x="51101" y="1738239"/>
                          <a:pt x="-3350" y="1670538"/>
                          <a:pt x="163" y="1556238"/>
                        </a:cubicBezTo>
                        <a:lnTo>
                          <a:pt x="163" y="1556238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4" name="Freeform 113">
                    <a:extLst>
                      <a:ext uri="{FF2B5EF4-FFF2-40B4-BE49-F238E27FC236}">
                        <a16:creationId xmlns:a16="http://schemas.microsoft.com/office/drawing/2014/main" id="{A19CAFFF-B484-C1D7-673F-C9AE40DE0749}"/>
                      </a:ext>
                    </a:extLst>
                  </p:cNvPr>
                  <p:cNvSpPr/>
                  <p:nvPr/>
                </p:nvSpPr>
                <p:spPr>
                  <a:xfrm>
                    <a:off x="-12394315" y="2721448"/>
                    <a:ext cx="481974" cy="928012"/>
                  </a:xfrm>
                  <a:custGeom>
                    <a:avLst/>
                    <a:gdLst>
                      <a:gd name="connsiteX0" fmla="*/ 435365 w 481974"/>
                      <a:gd name="connsiteY0" fmla="*/ 1517 h 928012"/>
                      <a:gd name="connsiteX1" fmla="*/ 95485 w 481974"/>
                      <a:gd name="connsiteY1" fmla="*/ 95595 h 928012"/>
                      <a:gd name="connsiteX2" fmla="*/ 6782 w 481974"/>
                      <a:gd name="connsiteY2" fmla="*/ 864043 h 928012"/>
                      <a:gd name="connsiteX3" fmla="*/ 304507 w 481974"/>
                      <a:gd name="connsiteY3" fmla="*/ 921193 h 928012"/>
                      <a:gd name="connsiteX4" fmla="*/ 435365 w 481974"/>
                      <a:gd name="connsiteY4" fmla="*/ 638 h 928012"/>
                      <a:gd name="connsiteX5" fmla="*/ 435365 w 481974"/>
                      <a:gd name="connsiteY5" fmla="*/ 638 h 928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81974" h="928012">
                        <a:moveTo>
                          <a:pt x="435365" y="1517"/>
                        </a:moveTo>
                        <a:cubicBezTo>
                          <a:pt x="435365" y="1517"/>
                          <a:pt x="179796" y="-19584"/>
                          <a:pt x="95485" y="95595"/>
                        </a:cubicBezTo>
                        <a:cubicBezTo>
                          <a:pt x="95485" y="95595"/>
                          <a:pt x="-30104" y="576534"/>
                          <a:pt x="6782" y="864043"/>
                        </a:cubicBezTo>
                        <a:cubicBezTo>
                          <a:pt x="6782" y="864043"/>
                          <a:pt x="6782" y="952845"/>
                          <a:pt x="304507" y="921193"/>
                        </a:cubicBezTo>
                        <a:cubicBezTo>
                          <a:pt x="602231" y="889540"/>
                          <a:pt x="435365" y="638"/>
                          <a:pt x="435365" y="638"/>
                        </a:cubicBezTo>
                        <a:lnTo>
                          <a:pt x="435365" y="6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5" name="Freeform 114">
                    <a:extLst>
                      <a:ext uri="{FF2B5EF4-FFF2-40B4-BE49-F238E27FC236}">
                        <a16:creationId xmlns:a16="http://schemas.microsoft.com/office/drawing/2014/main" id="{8C7CE97A-BFCB-ECC3-020D-2E7B22BE4DF0}"/>
                      </a:ext>
                    </a:extLst>
                  </p:cNvPr>
                  <p:cNvSpPr/>
                  <p:nvPr/>
                </p:nvSpPr>
                <p:spPr>
                  <a:xfrm>
                    <a:off x="-12347065" y="2669332"/>
                    <a:ext cx="1228076" cy="1249386"/>
                  </a:xfrm>
                  <a:custGeom>
                    <a:avLst/>
                    <a:gdLst>
                      <a:gd name="connsiteX0" fmla="*/ 97416 w 1228076"/>
                      <a:gd name="connsiteY0" fmla="*/ 886265 h 1249386"/>
                      <a:gd name="connsiteX1" fmla="*/ 158015 w 1228076"/>
                      <a:gd name="connsiteY1" fmla="*/ 914400 h 1249386"/>
                      <a:gd name="connsiteX2" fmla="*/ 158015 w 1228076"/>
                      <a:gd name="connsiteY2" fmla="*/ 911762 h 1249386"/>
                      <a:gd name="connsiteX3" fmla="*/ 185240 w 1228076"/>
                      <a:gd name="connsiteY3" fmla="*/ 911762 h 1249386"/>
                      <a:gd name="connsiteX4" fmla="*/ 220370 w 1228076"/>
                      <a:gd name="connsiteY4" fmla="*/ 903849 h 1249386"/>
                      <a:gd name="connsiteX5" fmla="*/ 220370 w 1228076"/>
                      <a:gd name="connsiteY5" fmla="*/ 917038 h 1249386"/>
                      <a:gd name="connsiteX6" fmla="*/ 245839 w 1228076"/>
                      <a:gd name="connsiteY6" fmla="*/ 1215097 h 1249386"/>
                      <a:gd name="connsiteX7" fmla="*/ 929990 w 1228076"/>
                      <a:gd name="connsiteY7" fmla="*/ 1227406 h 1249386"/>
                      <a:gd name="connsiteX8" fmla="*/ 1035379 w 1228076"/>
                      <a:gd name="connsiteY8" fmla="*/ 1249387 h 1249386"/>
                      <a:gd name="connsiteX9" fmla="*/ 1080169 w 1228076"/>
                      <a:gd name="connsiteY9" fmla="*/ 1227406 h 1249386"/>
                      <a:gd name="connsiteX10" fmla="*/ 1217175 w 1228076"/>
                      <a:gd name="connsiteY10" fmla="*/ 891540 h 1249386"/>
                      <a:gd name="connsiteX11" fmla="*/ 1224201 w 1228076"/>
                      <a:gd name="connsiteY11" fmla="*/ 762293 h 1249386"/>
                      <a:gd name="connsiteX12" fmla="*/ 1153064 w 1228076"/>
                      <a:gd name="connsiteY12" fmla="*/ 324436 h 1249386"/>
                      <a:gd name="connsiteX13" fmla="*/ 785958 w 1228076"/>
                      <a:gd name="connsiteY13" fmla="*/ 0 h 1249386"/>
                      <a:gd name="connsiteX14" fmla="*/ 522485 w 1228076"/>
                      <a:gd name="connsiteY14" fmla="*/ 21981 h 1249386"/>
                      <a:gd name="connsiteX15" fmla="*/ 508433 w 1228076"/>
                      <a:gd name="connsiteY15" fmla="*/ 19343 h 1249386"/>
                      <a:gd name="connsiteX16" fmla="*/ 503164 w 1228076"/>
                      <a:gd name="connsiteY16" fmla="*/ 19343 h 1249386"/>
                      <a:gd name="connsiteX17" fmla="*/ 491747 w 1228076"/>
                      <a:gd name="connsiteY17" fmla="*/ 22860 h 1249386"/>
                      <a:gd name="connsiteX18" fmla="*/ 200170 w 1228076"/>
                      <a:gd name="connsiteY18" fmla="*/ 144194 h 1249386"/>
                      <a:gd name="connsiteX19" fmla="*/ 4322 w 1228076"/>
                      <a:gd name="connsiteY19" fmla="*/ 659423 h 1249386"/>
                      <a:gd name="connsiteX20" fmla="*/ 98294 w 1228076"/>
                      <a:gd name="connsiteY20" fmla="*/ 888023 h 1249386"/>
                      <a:gd name="connsiteX21" fmla="*/ 97416 w 1228076"/>
                      <a:gd name="connsiteY21" fmla="*/ 888023 h 1249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228076" h="1249386">
                        <a:moveTo>
                          <a:pt x="97416" y="886265"/>
                        </a:moveTo>
                        <a:cubicBezTo>
                          <a:pt x="123763" y="901211"/>
                          <a:pt x="127276" y="902970"/>
                          <a:pt x="158015" y="914400"/>
                        </a:cubicBezTo>
                        <a:lnTo>
                          <a:pt x="158015" y="911762"/>
                        </a:lnTo>
                        <a:cubicBezTo>
                          <a:pt x="166797" y="912641"/>
                          <a:pt x="175580" y="912641"/>
                          <a:pt x="185240" y="911762"/>
                        </a:cubicBezTo>
                        <a:cubicBezTo>
                          <a:pt x="197536" y="910004"/>
                          <a:pt x="208953" y="906487"/>
                          <a:pt x="220370" y="903849"/>
                        </a:cubicBezTo>
                        <a:lnTo>
                          <a:pt x="220370" y="917038"/>
                        </a:lnTo>
                        <a:cubicBezTo>
                          <a:pt x="225639" y="1131570"/>
                          <a:pt x="245839" y="1215097"/>
                          <a:pt x="245839" y="1215097"/>
                        </a:cubicBezTo>
                        <a:cubicBezTo>
                          <a:pt x="245839" y="1215097"/>
                          <a:pt x="763124" y="1237957"/>
                          <a:pt x="929990" y="1227406"/>
                        </a:cubicBezTo>
                        <a:lnTo>
                          <a:pt x="1035379" y="1249387"/>
                        </a:lnTo>
                        <a:lnTo>
                          <a:pt x="1080169" y="1227406"/>
                        </a:lnTo>
                        <a:cubicBezTo>
                          <a:pt x="1159211" y="1187841"/>
                          <a:pt x="1182924" y="1014632"/>
                          <a:pt x="1217175" y="891540"/>
                        </a:cubicBezTo>
                        <a:cubicBezTo>
                          <a:pt x="1228592" y="849337"/>
                          <a:pt x="1231227" y="805375"/>
                          <a:pt x="1224201" y="762293"/>
                        </a:cubicBezTo>
                        <a:lnTo>
                          <a:pt x="1153064" y="324436"/>
                        </a:lnTo>
                        <a:cubicBezTo>
                          <a:pt x="1124082" y="86165"/>
                          <a:pt x="785958" y="0"/>
                          <a:pt x="785958" y="0"/>
                        </a:cubicBezTo>
                        <a:cubicBezTo>
                          <a:pt x="680569" y="43962"/>
                          <a:pt x="566398" y="29894"/>
                          <a:pt x="522485" y="21981"/>
                        </a:cubicBezTo>
                        <a:cubicBezTo>
                          <a:pt x="518094" y="20222"/>
                          <a:pt x="512825" y="19343"/>
                          <a:pt x="508433" y="19343"/>
                        </a:cubicBezTo>
                        <a:cubicBezTo>
                          <a:pt x="504042" y="19343"/>
                          <a:pt x="503164" y="19343"/>
                          <a:pt x="503164" y="19343"/>
                        </a:cubicBezTo>
                        <a:lnTo>
                          <a:pt x="491747" y="22860"/>
                        </a:lnTo>
                        <a:cubicBezTo>
                          <a:pt x="431148" y="36049"/>
                          <a:pt x="260769" y="96715"/>
                          <a:pt x="200170" y="144194"/>
                        </a:cubicBezTo>
                        <a:cubicBezTo>
                          <a:pt x="125520" y="202223"/>
                          <a:pt x="45600" y="465113"/>
                          <a:pt x="4322" y="659423"/>
                        </a:cubicBezTo>
                        <a:cubicBezTo>
                          <a:pt x="-13243" y="743829"/>
                          <a:pt x="23644" y="844941"/>
                          <a:pt x="98294" y="888023"/>
                        </a:cubicBezTo>
                        <a:lnTo>
                          <a:pt x="97416" y="8880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6" name="Freeform 115">
                    <a:extLst>
                      <a:ext uri="{FF2B5EF4-FFF2-40B4-BE49-F238E27FC236}">
                        <a16:creationId xmlns:a16="http://schemas.microsoft.com/office/drawing/2014/main" id="{7C993A82-FEA2-1908-B2A0-B9041EEB9CC1}"/>
                      </a:ext>
                    </a:extLst>
                  </p:cNvPr>
                  <p:cNvSpPr/>
                  <p:nvPr/>
                </p:nvSpPr>
                <p:spPr>
                  <a:xfrm>
                    <a:off x="-11912333" y="2136257"/>
                    <a:ext cx="421914" cy="572934"/>
                  </a:xfrm>
                  <a:custGeom>
                    <a:avLst/>
                    <a:gdLst>
                      <a:gd name="connsiteX0" fmla="*/ 35937 w 421914"/>
                      <a:gd name="connsiteY0" fmla="*/ 108407 h 572934"/>
                      <a:gd name="connsiteX1" fmla="*/ 63163 w 421914"/>
                      <a:gd name="connsiteY1" fmla="*/ 60050 h 572934"/>
                      <a:gd name="connsiteX2" fmla="*/ 173821 w 421914"/>
                      <a:gd name="connsiteY2" fmla="*/ 8175 h 572934"/>
                      <a:gd name="connsiteX3" fmla="*/ 288871 w 421914"/>
                      <a:gd name="connsiteY3" fmla="*/ 21364 h 572934"/>
                      <a:gd name="connsiteX4" fmla="*/ 306436 w 421914"/>
                      <a:gd name="connsiteY4" fmla="*/ 73238 h 572934"/>
                      <a:gd name="connsiteX5" fmla="*/ 367913 w 421914"/>
                      <a:gd name="connsiteY5" fmla="*/ 169074 h 572934"/>
                      <a:gd name="connsiteX6" fmla="*/ 421486 w 421914"/>
                      <a:gd name="connsiteY6" fmla="*/ 229741 h 572934"/>
                      <a:gd name="connsiteX7" fmla="*/ 406556 w 421914"/>
                      <a:gd name="connsiteY7" fmla="*/ 255239 h 572934"/>
                      <a:gd name="connsiteX8" fmla="*/ 407434 w 421914"/>
                      <a:gd name="connsiteY8" fmla="*/ 286012 h 572934"/>
                      <a:gd name="connsiteX9" fmla="*/ 389869 w 421914"/>
                      <a:gd name="connsiteY9" fmla="*/ 307113 h 572934"/>
                      <a:gd name="connsiteX10" fmla="*/ 407434 w 421914"/>
                      <a:gd name="connsiteY10" fmla="*/ 304476 h 572934"/>
                      <a:gd name="connsiteX11" fmla="*/ 407434 w 421914"/>
                      <a:gd name="connsiteY11" fmla="*/ 325577 h 572934"/>
                      <a:gd name="connsiteX12" fmla="*/ 411825 w 421914"/>
                      <a:gd name="connsiteY12" fmla="*/ 375693 h 572934"/>
                      <a:gd name="connsiteX13" fmla="*/ 325757 w 421914"/>
                      <a:gd name="connsiteY13" fmla="*/ 407346 h 572934"/>
                      <a:gd name="connsiteX14" fmla="*/ 309949 w 421914"/>
                      <a:gd name="connsiteY14" fmla="*/ 511974 h 572934"/>
                      <a:gd name="connsiteX15" fmla="*/ 350348 w 421914"/>
                      <a:gd name="connsiteY15" fmla="*/ 533955 h 572934"/>
                      <a:gd name="connsiteX16" fmla="*/ 53502 w 421914"/>
                      <a:gd name="connsiteY16" fmla="*/ 555057 h 572934"/>
                      <a:gd name="connsiteX17" fmla="*/ 103562 w 421914"/>
                      <a:gd name="connsiteY17" fmla="*/ 520767 h 572934"/>
                      <a:gd name="connsiteX18" fmla="*/ 128153 w 421914"/>
                      <a:gd name="connsiteY18" fmla="*/ 395916 h 572934"/>
                      <a:gd name="connsiteX19" fmla="*/ 116736 w 421914"/>
                      <a:gd name="connsiteY19" fmla="*/ 384486 h 572934"/>
                      <a:gd name="connsiteX20" fmla="*/ 49111 w 421914"/>
                      <a:gd name="connsiteY20" fmla="*/ 309751 h 572934"/>
                      <a:gd name="connsiteX21" fmla="*/ 35059 w 421914"/>
                      <a:gd name="connsiteY21" fmla="*/ 108407 h 572934"/>
                      <a:gd name="connsiteX22" fmla="*/ 35059 w 421914"/>
                      <a:gd name="connsiteY22" fmla="*/ 108407 h 572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421914" h="572934">
                        <a:moveTo>
                          <a:pt x="35937" y="108407"/>
                        </a:moveTo>
                        <a:cubicBezTo>
                          <a:pt x="41207" y="90823"/>
                          <a:pt x="49989" y="74117"/>
                          <a:pt x="63163" y="60050"/>
                        </a:cubicBezTo>
                        <a:cubicBezTo>
                          <a:pt x="102684" y="16967"/>
                          <a:pt x="173821" y="8175"/>
                          <a:pt x="173821" y="8175"/>
                        </a:cubicBezTo>
                        <a:cubicBezTo>
                          <a:pt x="239689" y="-11168"/>
                          <a:pt x="266037" y="8175"/>
                          <a:pt x="288871" y="21364"/>
                        </a:cubicBezTo>
                        <a:cubicBezTo>
                          <a:pt x="330148" y="47740"/>
                          <a:pt x="312584" y="67084"/>
                          <a:pt x="306436" y="73238"/>
                        </a:cubicBezTo>
                        <a:cubicBezTo>
                          <a:pt x="314340" y="79393"/>
                          <a:pt x="370548" y="126871"/>
                          <a:pt x="367913" y="169074"/>
                        </a:cubicBezTo>
                        <a:cubicBezTo>
                          <a:pt x="367913" y="181383"/>
                          <a:pt x="421486" y="229741"/>
                          <a:pt x="421486" y="229741"/>
                        </a:cubicBezTo>
                        <a:cubicBezTo>
                          <a:pt x="421486" y="229741"/>
                          <a:pt x="425877" y="247326"/>
                          <a:pt x="406556" y="255239"/>
                        </a:cubicBezTo>
                        <a:cubicBezTo>
                          <a:pt x="388112" y="263152"/>
                          <a:pt x="407434" y="286012"/>
                          <a:pt x="407434" y="286012"/>
                        </a:cubicBezTo>
                        <a:cubicBezTo>
                          <a:pt x="407434" y="286012"/>
                          <a:pt x="417094" y="298321"/>
                          <a:pt x="389869" y="307113"/>
                        </a:cubicBezTo>
                        <a:cubicBezTo>
                          <a:pt x="383721" y="308872"/>
                          <a:pt x="402164" y="302717"/>
                          <a:pt x="407434" y="304476"/>
                        </a:cubicBezTo>
                        <a:cubicBezTo>
                          <a:pt x="407434" y="304476"/>
                          <a:pt x="413582" y="315027"/>
                          <a:pt x="407434" y="325577"/>
                        </a:cubicBezTo>
                        <a:cubicBezTo>
                          <a:pt x="401286" y="335249"/>
                          <a:pt x="415338" y="364263"/>
                          <a:pt x="411825" y="375693"/>
                        </a:cubicBezTo>
                        <a:cubicBezTo>
                          <a:pt x="407434" y="392399"/>
                          <a:pt x="360009" y="402070"/>
                          <a:pt x="325757" y="407346"/>
                        </a:cubicBezTo>
                        <a:lnTo>
                          <a:pt x="309949" y="511974"/>
                        </a:lnTo>
                        <a:cubicBezTo>
                          <a:pt x="324879" y="531317"/>
                          <a:pt x="350348" y="533955"/>
                          <a:pt x="350348" y="533955"/>
                        </a:cubicBezTo>
                        <a:cubicBezTo>
                          <a:pt x="264280" y="606931"/>
                          <a:pt x="53502" y="555057"/>
                          <a:pt x="53502" y="555057"/>
                        </a:cubicBezTo>
                        <a:cubicBezTo>
                          <a:pt x="85119" y="548902"/>
                          <a:pt x="98292" y="530438"/>
                          <a:pt x="103562" y="520767"/>
                        </a:cubicBezTo>
                        <a:lnTo>
                          <a:pt x="128153" y="395916"/>
                        </a:lnTo>
                        <a:cubicBezTo>
                          <a:pt x="124640" y="395916"/>
                          <a:pt x="120248" y="391520"/>
                          <a:pt x="116736" y="384486"/>
                        </a:cubicBezTo>
                        <a:cubicBezTo>
                          <a:pt x="109710" y="370418"/>
                          <a:pt x="85997" y="340524"/>
                          <a:pt x="49111" y="309751"/>
                        </a:cubicBezTo>
                        <a:cubicBezTo>
                          <a:pt x="-71" y="268427"/>
                          <a:pt x="-24662" y="198089"/>
                          <a:pt x="35059" y="108407"/>
                        </a:cubicBezTo>
                        <a:lnTo>
                          <a:pt x="35059" y="10840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" name="Freeform 116">
                    <a:extLst>
                      <a:ext uri="{FF2B5EF4-FFF2-40B4-BE49-F238E27FC236}">
                        <a16:creationId xmlns:a16="http://schemas.microsoft.com/office/drawing/2014/main" id="{ECE4602C-4B4D-0810-B445-42D72BF0C820}"/>
                      </a:ext>
                    </a:extLst>
                  </p:cNvPr>
                  <p:cNvSpPr/>
                  <p:nvPr/>
                </p:nvSpPr>
                <p:spPr>
                  <a:xfrm>
                    <a:off x="-11908820" y="2136257"/>
                    <a:ext cx="419414" cy="414617"/>
                  </a:xfrm>
                  <a:custGeom>
                    <a:avLst/>
                    <a:gdLst>
                      <a:gd name="connsiteX0" fmla="*/ 32424 w 419414"/>
                      <a:gd name="connsiteY0" fmla="*/ 108407 h 414617"/>
                      <a:gd name="connsiteX1" fmla="*/ 59650 w 419414"/>
                      <a:gd name="connsiteY1" fmla="*/ 60050 h 414617"/>
                      <a:gd name="connsiteX2" fmla="*/ 170308 w 419414"/>
                      <a:gd name="connsiteY2" fmla="*/ 8175 h 414617"/>
                      <a:gd name="connsiteX3" fmla="*/ 285358 w 419414"/>
                      <a:gd name="connsiteY3" fmla="*/ 21364 h 414617"/>
                      <a:gd name="connsiteX4" fmla="*/ 302923 w 419414"/>
                      <a:gd name="connsiteY4" fmla="*/ 73238 h 414617"/>
                      <a:gd name="connsiteX5" fmla="*/ 302923 w 419414"/>
                      <a:gd name="connsiteY5" fmla="*/ 73238 h 414617"/>
                      <a:gd name="connsiteX6" fmla="*/ 249350 w 419414"/>
                      <a:gd name="connsiteY6" fmla="*/ 122475 h 414617"/>
                      <a:gd name="connsiteX7" fmla="*/ 217733 w 419414"/>
                      <a:gd name="connsiteY7" fmla="*/ 223587 h 414617"/>
                      <a:gd name="connsiteX8" fmla="*/ 325757 w 419414"/>
                      <a:gd name="connsiteY8" fmla="*/ 344920 h 414617"/>
                      <a:gd name="connsiteX9" fmla="*/ 339809 w 419414"/>
                      <a:gd name="connsiteY9" fmla="*/ 290408 h 414617"/>
                      <a:gd name="connsiteX10" fmla="*/ 396017 w 419414"/>
                      <a:gd name="connsiteY10" fmla="*/ 261394 h 414617"/>
                      <a:gd name="connsiteX11" fmla="*/ 403043 w 419414"/>
                      <a:gd name="connsiteY11" fmla="*/ 282495 h 414617"/>
                      <a:gd name="connsiteX12" fmla="*/ 361765 w 419414"/>
                      <a:gd name="connsiteY12" fmla="*/ 304476 h 414617"/>
                      <a:gd name="connsiteX13" fmla="*/ 361765 w 419414"/>
                      <a:gd name="connsiteY13" fmla="*/ 355471 h 414617"/>
                      <a:gd name="connsiteX14" fmla="*/ 410069 w 419414"/>
                      <a:gd name="connsiteY14" fmla="*/ 344920 h 414617"/>
                      <a:gd name="connsiteX15" fmla="*/ 413581 w 419414"/>
                      <a:gd name="connsiteY15" fmla="*/ 395916 h 414617"/>
                      <a:gd name="connsiteX16" fmla="*/ 288871 w 419414"/>
                      <a:gd name="connsiteY16" fmla="*/ 403829 h 414617"/>
                      <a:gd name="connsiteX17" fmla="*/ 217733 w 419414"/>
                      <a:gd name="connsiteY17" fmla="*/ 272823 h 414617"/>
                      <a:gd name="connsiteX18" fmla="*/ 210707 w 419414"/>
                      <a:gd name="connsiteY18" fmla="*/ 263152 h 414617"/>
                      <a:gd name="connsiteX19" fmla="*/ 141326 w 419414"/>
                      <a:gd name="connsiteY19" fmla="*/ 311510 h 414617"/>
                      <a:gd name="connsiteX20" fmla="*/ 162404 w 419414"/>
                      <a:gd name="connsiteY20" fmla="*/ 337887 h 414617"/>
                      <a:gd name="connsiteX21" fmla="*/ 142205 w 419414"/>
                      <a:gd name="connsiteY21" fmla="*/ 383607 h 414617"/>
                      <a:gd name="connsiteX22" fmla="*/ 116735 w 419414"/>
                      <a:gd name="connsiteY22" fmla="*/ 385365 h 414617"/>
                      <a:gd name="connsiteX23" fmla="*/ 49111 w 419414"/>
                      <a:gd name="connsiteY23" fmla="*/ 310630 h 414617"/>
                      <a:gd name="connsiteX24" fmla="*/ 35059 w 419414"/>
                      <a:gd name="connsiteY24" fmla="*/ 109287 h 414617"/>
                      <a:gd name="connsiteX25" fmla="*/ 33302 w 419414"/>
                      <a:gd name="connsiteY25" fmla="*/ 109287 h 4146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19414" h="414617">
                        <a:moveTo>
                          <a:pt x="32424" y="108407"/>
                        </a:moveTo>
                        <a:cubicBezTo>
                          <a:pt x="37694" y="90823"/>
                          <a:pt x="46476" y="74117"/>
                          <a:pt x="59650" y="60050"/>
                        </a:cubicBezTo>
                        <a:cubicBezTo>
                          <a:pt x="99171" y="16967"/>
                          <a:pt x="170308" y="8175"/>
                          <a:pt x="170308" y="8175"/>
                        </a:cubicBezTo>
                        <a:cubicBezTo>
                          <a:pt x="236176" y="-11168"/>
                          <a:pt x="262524" y="8175"/>
                          <a:pt x="285358" y="21364"/>
                        </a:cubicBezTo>
                        <a:cubicBezTo>
                          <a:pt x="326636" y="47740"/>
                          <a:pt x="309071" y="67084"/>
                          <a:pt x="302923" y="73238"/>
                        </a:cubicBezTo>
                        <a:lnTo>
                          <a:pt x="302923" y="73238"/>
                        </a:lnTo>
                        <a:cubicBezTo>
                          <a:pt x="302923" y="73238"/>
                          <a:pt x="286236" y="107528"/>
                          <a:pt x="249350" y="122475"/>
                        </a:cubicBezTo>
                        <a:cubicBezTo>
                          <a:pt x="170308" y="153248"/>
                          <a:pt x="214220" y="214794"/>
                          <a:pt x="217733" y="223587"/>
                        </a:cubicBezTo>
                        <a:cubicBezTo>
                          <a:pt x="224759" y="240292"/>
                          <a:pt x="287115" y="322060"/>
                          <a:pt x="325757" y="344920"/>
                        </a:cubicBezTo>
                        <a:cubicBezTo>
                          <a:pt x="327514" y="330853"/>
                          <a:pt x="331905" y="303597"/>
                          <a:pt x="339809" y="290408"/>
                        </a:cubicBezTo>
                        <a:cubicBezTo>
                          <a:pt x="352104" y="270186"/>
                          <a:pt x="396017" y="261394"/>
                          <a:pt x="396017" y="261394"/>
                        </a:cubicBezTo>
                        <a:cubicBezTo>
                          <a:pt x="400408" y="266669"/>
                          <a:pt x="403043" y="276340"/>
                          <a:pt x="403043" y="282495"/>
                        </a:cubicBezTo>
                        <a:cubicBezTo>
                          <a:pt x="403043" y="282495"/>
                          <a:pt x="381087" y="278978"/>
                          <a:pt x="361765" y="304476"/>
                        </a:cubicBezTo>
                        <a:cubicBezTo>
                          <a:pt x="354739" y="313268"/>
                          <a:pt x="358252" y="344920"/>
                          <a:pt x="361765" y="355471"/>
                        </a:cubicBezTo>
                        <a:cubicBezTo>
                          <a:pt x="399530" y="351075"/>
                          <a:pt x="410069" y="344920"/>
                          <a:pt x="410069" y="344920"/>
                        </a:cubicBezTo>
                        <a:cubicBezTo>
                          <a:pt x="410069" y="344920"/>
                          <a:pt x="428512" y="379210"/>
                          <a:pt x="413581" y="395916"/>
                        </a:cubicBezTo>
                        <a:cubicBezTo>
                          <a:pt x="397773" y="412621"/>
                          <a:pt x="311705" y="424051"/>
                          <a:pt x="288871" y="403829"/>
                        </a:cubicBezTo>
                        <a:cubicBezTo>
                          <a:pt x="267793" y="385365"/>
                          <a:pt x="226516" y="292167"/>
                          <a:pt x="217733" y="272823"/>
                        </a:cubicBezTo>
                        <a:cubicBezTo>
                          <a:pt x="215977" y="271065"/>
                          <a:pt x="213342" y="268427"/>
                          <a:pt x="210707" y="263152"/>
                        </a:cubicBezTo>
                        <a:cubicBezTo>
                          <a:pt x="168552" y="192813"/>
                          <a:pt x="96536" y="231500"/>
                          <a:pt x="141326" y="311510"/>
                        </a:cubicBezTo>
                        <a:cubicBezTo>
                          <a:pt x="147474" y="322060"/>
                          <a:pt x="154500" y="330853"/>
                          <a:pt x="162404" y="337887"/>
                        </a:cubicBezTo>
                        <a:cubicBezTo>
                          <a:pt x="150987" y="358109"/>
                          <a:pt x="146596" y="373056"/>
                          <a:pt x="142205" y="383607"/>
                        </a:cubicBezTo>
                        <a:cubicBezTo>
                          <a:pt x="135179" y="400312"/>
                          <a:pt x="124640" y="401191"/>
                          <a:pt x="116735" y="385365"/>
                        </a:cubicBezTo>
                        <a:cubicBezTo>
                          <a:pt x="109709" y="371297"/>
                          <a:pt x="85997" y="341403"/>
                          <a:pt x="49111" y="310630"/>
                        </a:cubicBezTo>
                        <a:cubicBezTo>
                          <a:pt x="-71" y="269307"/>
                          <a:pt x="-24662" y="198968"/>
                          <a:pt x="35059" y="109287"/>
                        </a:cubicBezTo>
                        <a:lnTo>
                          <a:pt x="33302" y="109287"/>
                        </a:lnTo>
                        <a:close/>
                      </a:path>
                    </a:pathLst>
                  </a:custGeom>
                  <a:solidFill>
                    <a:srgbClr val="4D260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" name="Freeform 117">
                    <a:extLst>
                      <a:ext uri="{FF2B5EF4-FFF2-40B4-BE49-F238E27FC236}">
                        <a16:creationId xmlns:a16="http://schemas.microsoft.com/office/drawing/2014/main" id="{DDC6C62A-7012-7A47-5303-4CFE0A8C879D}"/>
                      </a:ext>
                    </a:extLst>
                  </p:cNvPr>
                  <p:cNvSpPr/>
                  <p:nvPr/>
                </p:nvSpPr>
                <p:spPr>
                  <a:xfrm>
                    <a:off x="-11589492" y="5467924"/>
                    <a:ext cx="418819" cy="329711"/>
                  </a:xfrm>
                  <a:custGeom>
                    <a:avLst/>
                    <a:gdLst>
                      <a:gd name="connsiteX0" fmla="*/ 32777 w 418819"/>
                      <a:gd name="connsiteY0" fmla="*/ 41324 h 329711"/>
                      <a:gd name="connsiteX1" fmla="*/ 6430 w 418819"/>
                      <a:gd name="connsiteY1" fmla="*/ 35169 h 329711"/>
                      <a:gd name="connsiteX2" fmla="*/ 14334 w 418819"/>
                      <a:gd name="connsiteY2" fmla="*/ 151228 h 329711"/>
                      <a:gd name="connsiteX3" fmla="*/ 282 w 418819"/>
                      <a:gd name="connsiteY3" fmla="*/ 277837 h 329711"/>
                      <a:gd name="connsiteX4" fmla="*/ 282 w 418819"/>
                      <a:gd name="connsiteY4" fmla="*/ 329712 h 329711"/>
                      <a:gd name="connsiteX5" fmla="*/ 129384 w 418819"/>
                      <a:gd name="connsiteY5" fmla="*/ 329712 h 329711"/>
                      <a:gd name="connsiteX6" fmla="*/ 138166 w 418819"/>
                      <a:gd name="connsiteY6" fmla="*/ 291025 h 329711"/>
                      <a:gd name="connsiteX7" fmla="*/ 209304 w 418819"/>
                      <a:gd name="connsiteY7" fmla="*/ 329712 h 329711"/>
                      <a:gd name="connsiteX8" fmla="*/ 413934 w 418819"/>
                      <a:gd name="connsiteY8" fmla="*/ 329712 h 329711"/>
                      <a:gd name="connsiteX9" fmla="*/ 418326 w 418819"/>
                      <a:gd name="connsiteY9" fmla="*/ 277837 h 329711"/>
                      <a:gd name="connsiteX10" fmla="*/ 378805 w 418819"/>
                      <a:gd name="connsiteY10" fmla="*/ 211895 h 329711"/>
                      <a:gd name="connsiteX11" fmla="*/ 204913 w 418819"/>
                      <a:gd name="connsiteY11" fmla="*/ 107266 h 329711"/>
                      <a:gd name="connsiteX12" fmla="*/ 179444 w 418819"/>
                      <a:gd name="connsiteY12" fmla="*/ 0 h 329711"/>
                      <a:gd name="connsiteX13" fmla="*/ 102158 w 418819"/>
                      <a:gd name="connsiteY13" fmla="*/ 21981 h 329711"/>
                      <a:gd name="connsiteX14" fmla="*/ 32777 w 418819"/>
                      <a:gd name="connsiteY14" fmla="*/ 41324 h 3297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18819" h="329711">
                        <a:moveTo>
                          <a:pt x="32777" y="41324"/>
                        </a:moveTo>
                        <a:cubicBezTo>
                          <a:pt x="32777" y="41324"/>
                          <a:pt x="-4987" y="10551"/>
                          <a:pt x="6430" y="35169"/>
                        </a:cubicBezTo>
                        <a:cubicBezTo>
                          <a:pt x="17847" y="59788"/>
                          <a:pt x="11699" y="137160"/>
                          <a:pt x="14334" y="151228"/>
                        </a:cubicBezTo>
                        <a:cubicBezTo>
                          <a:pt x="14334" y="151228"/>
                          <a:pt x="-2353" y="225962"/>
                          <a:pt x="282" y="277837"/>
                        </a:cubicBezTo>
                        <a:lnTo>
                          <a:pt x="282" y="329712"/>
                        </a:lnTo>
                        <a:lnTo>
                          <a:pt x="129384" y="329712"/>
                        </a:lnTo>
                        <a:lnTo>
                          <a:pt x="138166" y="291025"/>
                        </a:lnTo>
                        <a:cubicBezTo>
                          <a:pt x="138166" y="291025"/>
                          <a:pt x="179444" y="299818"/>
                          <a:pt x="209304" y="329712"/>
                        </a:cubicBezTo>
                        <a:lnTo>
                          <a:pt x="413934" y="329712"/>
                        </a:lnTo>
                        <a:lnTo>
                          <a:pt x="418326" y="277837"/>
                        </a:lnTo>
                        <a:cubicBezTo>
                          <a:pt x="418326" y="277837"/>
                          <a:pt x="426230" y="240030"/>
                          <a:pt x="378805" y="211895"/>
                        </a:cubicBezTo>
                        <a:cubicBezTo>
                          <a:pt x="356849" y="199585"/>
                          <a:pt x="261120" y="201344"/>
                          <a:pt x="204913" y="107266"/>
                        </a:cubicBezTo>
                        <a:cubicBezTo>
                          <a:pt x="166270" y="42203"/>
                          <a:pt x="179444" y="0"/>
                          <a:pt x="179444" y="0"/>
                        </a:cubicBezTo>
                        <a:cubicBezTo>
                          <a:pt x="179444" y="0"/>
                          <a:pt x="116210" y="0"/>
                          <a:pt x="102158" y="21981"/>
                        </a:cubicBezTo>
                        <a:cubicBezTo>
                          <a:pt x="88106" y="43962"/>
                          <a:pt x="32777" y="41324"/>
                          <a:pt x="32777" y="41324"/>
                        </a:cubicBez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" name="Freeform 118">
                    <a:extLst>
                      <a:ext uri="{FF2B5EF4-FFF2-40B4-BE49-F238E27FC236}">
                        <a16:creationId xmlns:a16="http://schemas.microsoft.com/office/drawing/2014/main" id="{C341B289-ADDC-6767-5ACA-980FBB42EB40}"/>
                      </a:ext>
                    </a:extLst>
                  </p:cNvPr>
                  <p:cNvSpPr/>
                  <p:nvPr/>
                </p:nvSpPr>
                <p:spPr>
                  <a:xfrm>
                    <a:off x="-12205541" y="5475665"/>
                    <a:ext cx="265034" cy="329937"/>
                  </a:xfrm>
                  <a:custGeom>
                    <a:avLst/>
                    <a:gdLst>
                      <a:gd name="connsiteX0" fmla="*/ 108707 w 265034"/>
                      <a:gd name="connsiteY0" fmla="*/ 44133 h 329937"/>
                      <a:gd name="connsiteX1" fmla="*/ 55134 w 265034"/>
                      <a:gd name="connsiteY1" fmla="*/ 160192 h 329937"/>
                      <a:gd name="connsiteX2" fmla="*/ 1561 w 265034"/>
                      <a:gd name="connsiteY2" fmla="*/ 241081 h 329937"/>
                      <a:gd name="connsiteX3" fmla="*/ 1561 w 265034"/>
                      <a:gd name="connsiteY3" fmla="*/ 317574 h 329937"/>
                      <a:gd name="connsiteX4" fmla="*/ 245713 w 265034"/>
                      <a:gd name="connsiteY4" fmla="*/ 294714 h 329937"/>
                      <a:gd name="connsiteX5" fmla="*/ 263278 w 265034"/>
                      <a:gd name="connsiteY5" fmla="*/ 154037 h 329937"/>
                      <a:gd name="connsiteX6" fmla="*/ 265034 w 265034"/>
                      <a:gd name="connsiteY6" fmla="*/ 10723 h 329937"/>
                      <a:gd name="connsiteX7" fmla="*/ 125393 w 265034"/>
                      <a:gd name="connsiteY7" fmla="*/ 172 h 329937"/>
                      <a:gd name="connsiteX8" fmla="*/ 108707 w 265034"/>
                      <a:gd name="connsiteY8" fmla="*/ 44133 h 329937"/>
                      <a:gd name="connsiteX9" fmla="*/ 109585 w 265034"/>
                      <a:gd name="connsiteY9" fmla="*/ 44133 h 329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5034" h="329937">
                        <a:moveTo>
                          <a:pt x="108707" y="44133"/>
                        </a:moveTo>
                        <a:cubicBezTo>
                          <a:pt x="108707" y="44133"/>
                          <a:pt x="103437" y="117989"/>
                          <a:pt x="55134" y="160192"/>
                        </a:cubicBezTo>
                        <a:cubicBezTo>
                          <a:pt x="55134" y="160192"/>
                          <a:pt x="5074" y="192723"/>
                          <a:pt x="1561" y="241081"/>
                        </a:cubicBezTo>
                        <a:cubicBezTo>
                          <a:pt x="-1952" y="283284"/>
                          <a:pt x="1561" y="317574"/>
                          <a:pt x="1561" y="317574"/>
                        </a:cubicBezTo>
                        <a:cubicBezTo>
                          <a:pt x="1561" y="317574"/>
                          <a:pt x="200922" y="357140"/>
                          <a:pt x="245713" y="294714"/>
                        </a:cubicBezTo>
                        <a:cubicBezTo>
                          <a:pt x="245713" y="294714"/>
                          <a:pt x="268547" y="204154"/>
                          <a:pt x="263278" y="154037"/>
                        </a:cubicBezTo>
                        <a:cubicBezTo>
                          <a:pt x="258008" y="103921"/>
                          <a:pt x="265034" y="10723"/>
                          <a:pt x="265034" y="10723"/>
                        </a:cubicBezTo>
                        <a:cubicBezTo>
                          <a:pt x="265034" y="10723"/>
                          <a:pt x="133298" y="-1586"/>
                          <a:pt x="125393" y="172"/>
                        </a:cubicBezTo>
                        <a:cubicBezTo>
                          <a:pt x="118368" y="1930"/>
                          <a:pt x="108707" y="44133"/>
                          <a:pt x="108707" y="44133"/>
                        </a:cubicBezTo>
                        <a:lnTo>
                          <a:pt x="109585" y="44133"/>
                        </a:ln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 119">
                    <a:extLst>
                      <a:ext uri="{FF2B5EF4-FFF2-40B4-BE49-F238E27FC236}">
                        <a16:creationId xmlns:a16="http://schemas.microsoft.com/office/drawing/2014/main" id="{C54F691B-F054-ECBB-6174-834E923501AE}"/>
                      </a:ext>
                    </a:extLst>
                  </p:cNvPr>
                  <p:cNvSpPr/>
                  <p:nvPr/>
                </p:nvSpPr>
                <p:spPr>
                  <a:xfrm>
                    <a:off x="-12144260" y="2715053"/>
                    <a:ext cx="329838" cy="862525"/>
                  </a:xfrm>
                  <a:custGeom>
                    <a:avLst/>
                    <a:gdLst>
                      <a:gd name="connsiteX0" fmla="*/ 103633 w 329838"/>
                      <a:gd name="connsiteY0" fmla="*/ 31652 h 862525"/>
                      <a:gd name="connsiteX1" fmla="*/ 189700 w 329838"/>
                      <a:gd name="connsiteY1" fmla="*/ 0 h 862525"/>
                      <a:gd name="connsiteX2" fmla="*/ 305628 w 329838"/>
                      <a:gd name="connsiteY2" fmla="*/ 504678 h 862525"/>
                      <a:gd name="connsiteX3" fmla="*/ 0 w 329838"/>
                      <a:gd name="connsiteY3" fmla="*/ 862525 h 862525"/>
                      <a:gd name="connsiteX4" fmla="*/ 103633 w 329838"/>
                      <a:gd name="connsiteY4" fmla="*/ 31652 h 862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9838" h="862525">
                        <a:moveTo>
                          <a:pt x="103633" y="31652"/>
                        </a:moveTo>
                        <a:lnTo>
                          <a:pt x="189700" y="0"/>
                        </a:lnTo>
                        <a:cubicBezTo>
                          <a:pt x="189700" y="0"/>
                          <a:pt x="399600" y="269924"/>
                          <a:pt x="305628" y="504678"/>
                        </a:cubicBezTo>
                        <a:cubicBezTo>
                          <a:pt x="211656" y="740312"/>
                          <a:pt x="0" y="862525"/>
                          <a:pt x="0" y="862525"/>
                        </a:cubicBezTo>
                        <a:cubicBezTo>
                          <a:pt x="0" y="862525"/>
                          <a:pt x="454051" y="622495"/>
                          <a:pt x="103633" y="3165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 120">
                    <a:extLst>
                      <a:ext uri="{FF2B5EF4-FFF2-40B4-BE49-F238E27FC236}">
                        <a16:creationId xmlns:a16="http://schemas.microsoft.com/office/drawing/2014/main" id="{F2B7E4EB-8B23-89CF-45AF-CD7D21314E3C}"/>
                      </a:ext>
                    </a:extLst>
                  </p:cNvPr>
                  <p:cNvSpPr/>
                  <p:nvPr/>
                </p:nvSpPr>
                <p:spPr>
                  <a:xfrm>
                    <a:off x="-12175876" y="2827120"/>
                    <a:ext cx="360797" cy="516625"/>
                  </a:xfrm>
                  <a:custGeom>
                    <a:avLst/>
                    <a:gdLst>
                      <a:gd name="connsiteX0" fmla="*/ 302994 w 360797"/>
                      <a:gd name="connsiteY0" fmla="*/ 35643 h 516625"/>
                      <a:gd name="connsiteX1" fmla="*/ 319680 w 360797"/>
                      <a:gd name="connsiteY1" fmla="*/ 8387 h 516625"/>
                      <a:gd name="connsiteX2" fmla="*/ 288942 w 360797"/>
                      <a:gd name="connsiteY2" fmla="*/ 3991 h 516625"/>
                      <a:gd name="connsiteX3" fmla="*/ 214291 w 360797"/>
                      <a:gd name="connsiteY3" fmla="*/ 47073 h 516625"/>
                      <a:gd name="connsiteX4" fmla="*/ 189700 w 360797"/>
                      <a:gd name="connsiteY4" fmla="*/ 149064 h 516625"/>
                      <a:gd name="connsiteX5" fmla="*/ 194970 w 360797"/>
                      <a:gd name="connsiteY5" fmla="*/ 210610 h 516625"/>
                      <a:gd name="connsiteX6" fmla="*/ 0 w 360797"/>
                      <a:gd name="connsiteY6" fmla="*/ 415471 h 516625"/>
                      <a:gd name="connsiteX7" fmla="*/ 132615 w 360797"/>
                      <a:gd name="connsiteY7" fmla="*/ 514824 h 516625"/>
                      <a:gd name="connsiteX8" fmla="*/ 262594 w 360797"/>
                      <a:gd name="connsiteY8" fmla="*/ 328427 h 516625"/>
                      <a:gd name="connsiteX9" fmla="*/ 286307 w 360797"/>
                      <a:gd name="connsiteY9" fmla="*/ 224678 h 516625"/>
                      <a:gd name="connsiteX10" fmla="*/ 309141 w 360797"/>
                      <a:gd name="connsiteY10" fmla="*/ 186871 h 516625"/>
                      <a:gd name="connsiteX11" fmla="*/ 355688 w 360797"/>
                      <a:gd name="connsiteY11" fmla="*/ 127083 h 516625"/>
                      <a:gd name="connsiteX12" fmla="*/ 339880 w 360797"/>
                      <a:gd name="connsiteY12" fmla="*/ 98069 h 516625"/>
                      <a:gd name="connsiteX13" fmla="*/ 279281 w 360797"/>
                      <a:gd name="connsiteY13" fmla="*/ 153460 h 516625"/>
                      <a:gd name="connsiteX14" fmla="*/ 346028 w 360797"/>
                      <a:gd name="connsiteY14" fmla="*/ 91914 h 516625"/>
                      <a:gd name="connsiteX15" fmla="*/ 335489 w 360797"/>
                      <a:gd name="connsiteY15" fmla="*/ 61141 h 516625"/>
                      <a:gd name="connsiteX16" fmla="*/ 262594 w 360797"/>
                      <a:gd name="connsiteY16" fmla="*/ 113016 h 516625"/>
                      <a:gd name="connsiteX17" fmla="*/ 329341 w 360797"/>
                      <a:gd name="connsiteY17" fmla="*/ 56745 h 516625"/>
                      <a:gd name="connsiteX18" fmla="*/ 302115 w 360797"/>
                      <a:gd name="connsiteY18" fmla="*/ 35643 h 516625"/>
                      <a:gd name="connsiteX19" fmla="*/ 247664 w 360797"/>
                      <a:gd name="connsiteY19" fmla="*/ 73450 h 516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60797" h="516625">
                        <a:moveTo>
                          <a:pt x="302994" y="35643"/>
                        </a:moveTo>
                        <a:cubicBezTo>
                          <a:pt x="302994" y="35643"/>
                          <a:pt x="328463" y="24213"/>
                          <a:pt x="319680" y="8387"/>
                        </a:cubicBezTo>
                        <a:cubicBezTo>
                          <a:pt x="311776" y="-7439"/>
                          <a:pt x="288942" y="3991"/>
                          <a:pt x="288942" y="3991"/>
                        </a:cubicBezTo>
                        <a:cubicBezTo>
                          <a:pt x="288942" y="3991"/>
                          <a:pt x="230978" y="35643"/>
                          <a:pt x="214291" y="47073"/>
                        </a:cubicBezTo>
                        <a:cubicBezTo>
                          <a:pt x="197605" y="58503"/>
                          <a:pt x="180918" y="84880"/>
                          <a:pt x="189700" y="149064"/>
                        </a:cubicBezTo>
                        <a:cubicBezTo>
                          <a:pt x="191457" y="180716"/>
                          <a:pt x="194970" y="210610"/>
                          <a:pt x="194970" y="210610"/>
                        </a:cubicBezTo>
                        <a:cubicBezTo>
                          <a:pt x="194970" y="232591"/>
                          <a:pt x="0" y="415471"/>
                          <a:pt x="0" y="415471"/>
                        </a:cubicBezTo>
                        <a:cubicBezTo>
                          <a:pt x="0" y="415471"/>
                          <a:pt x="26347" y="532409"/>
                          <a:pt x="132615" y="514824"/>
                        </a:cubicBezTo>
                        <a:lnTo>
                          <a:pt x="262594" y="328427"/>
                        </a:lnTo>
                        <a:cubicBezTo>
                          <a:pt x="283672" y="294137"/>
                          <a:pt x="285429" y="263364"/>
                          <a:pt x="286307" y="224678"/>
                        </a:cubicBezTo>
                        <a:cubicBezTo>
                          <a:pt x="290698" y="207973"/>
                          <a:pt x="304750" y="193026"/>
                          <a:pt x="309141" y="186871"/>
                        </a:cubicBezTo>
                        <a:cubicBezTo>
                          <a:pt x="309141" y="186871"/>
                          <a:pt x="344271" y="140272"/>
                          <a:pt x="355688" y="127083"/>
                        </a:cubicBezTo>
                        <a:cubicBezTo>
                          <a:pt x="367105" y="113895"/>
                          <a:pt x="358323" y="89276"/>
                          <a:pt x="339880" y="98069"/>
                        </a:cubicBezTo>
                        <a:cubicBezTo>
                          <a:pt x="329341" y="103344"/>
                          <a:pt x="279281" y="153460"/>
                          <a:pt x="279281" y="153460"/>
                        </a:cubicBezTo>
                        <a:lnTo>
                          <a:pt x="346028" y="91914"/>
                        </a:lnTo>
                        <a:cubicBezTo>
                          <a:pt x="353053" y="85759"/>
                          <a:pt x="352175" y="55866"/>
                          <a:pt x="335489" y="61141"/>
                        </a:cubicBezTo>
                        <a:cubicBezTo>
                          <a:pt x="324071" y="64658"/>
                          <a:pt x="262594" y="113016"/>
                          <a:pt x="262594" y="113016"/>
                        </a:cubicBezTo>
                        <a:lnTo>
                          <a:pt x="329341" y="56745"/>
                        </a:lnTo>
                        <a:cubicBezTo>
                          <a:pt x="339880" y="45315"/>
                          <a:pt x="329341" y="18059"/>
                          <a:pt x="302115" y="35643"/>
                        </a:cubicBezTo>
                        <a:cubicBezTo>
                          <a:pt x="274890" y="53228"/>
                          <a:pt x="272255" y="53228"/>
                          <a:pt x="247664" y="73450"/>
                        </a:cubicBezTo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 121">
                    <a:extLst>
                      <a:ext uri="{FF2B5EF4-FFF2-40B4-BE49-F238E27FC236}">
                        <a16:creationId xmlns:a16="http://schemas.microsoft.com/office/drawing/2014/main" id="{B3DF35B7-AAA7-D9BA-606F-5B0384CD54F7}"/>
                      </a:ext>
                    </a:extLst>
                  </p:cNvPr>
                  <p:cNvSpPr/>
                  <p:nvPr/>
                </p:nvSpPr>
                <p:spPr>
                  <a:xfrm>
                    <a:off x="-11478552" y="3895859"/>
                    <a:ext cx="167744" cy="84406"/>
                  </a:xfrm>
                  <a:custGeom>
                    <a:avLst/>
                    <a:gdLst>
                      <a:gd name="connsiteX0" fmla="*/ 123832 w 167744"/>
                      <a:gd name="connsiteY0" fmla="*/ 84406 h 84406"/>
                      <a:gd name="connsiteX1" fmla="*/ 167744 w 167744"/>
                      <a:gd name="connsiteY1" fmla="*/ 21981 h 84406"/>
                      <a:gd name="connsiteX2" fmla="*/ 62355 w 167744"/>
                      <a:gd name="connsiteY2" fmla="*/ 0 h 84406"/>
                      <a:gd name="connsiteX3" fmla="*/ 0 w 167744"/>
                      <a:gd name="connsiteY3" fmla="*/ 2638 h 84406"/>
                      <a:gd name="connsiteX4" fmla="*/ 123832 w 167744"/>
                      <a:gd name="connsiteY4" fmla="*/ 83527 h 84406"/>
                      <a:gd name="connsiteX5" fmla="*/ 123832 w 167744"/>
                      <a:gd name="connsiteY5" fmla="*/ 83527 h 84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7744" h="84406">
                        <a:moveTo>
                          <a:pt x="123832" y="84406"/>
                        </a:moveTo>
                        <a:lnTo>
                          <a:pt x="167744" y="21981"/>
                        </a:lnTo>
                        <a:lnTo>
                          <a:pt x="62355" y="0"/>
                        </a:lnTo>
                        <a:cubicBezTo>
                          <a:pt x="62355" y="0"/>
                          <a:pt x="26347" y="2638"/>
                          <a:pt x="0" y="2638"/>
                        </a:cubicBezTo>
                        <a:cubicBezTo>
                          <a:pt x="50938" y="60667"/>
                          <a:pt x="123832" y="83527"/>
                          <a:pt x="123832" y="83527"/>
                        </a:cubicBezTo>
                        <a:lnTo>
                          <a:pt x="123832" y="8352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10" name="Freeform 109">
                  <a:extLst>
                    <a:ext uri="{FF2B5EF4-FFF2-40B4-BE49-F238E27FC236}">
                      <a16:creationId xmlns:a16="http://schemas.microsoft.com/office/drawing/2014/main" id="{2307F8F5-B9EA-722D-1A87-3361A819DC47}"/>
                    </a:ext>
                  </a:extLst>
                </p:cNvPr>
                <p:cNvSpPr/>
                <p:nvPr/>
              </p:nvSpPr>
              <p:spPr>
                <a:xfrm>
                  <a:off x="-11431157" y="3442176"/>
                  <a:ext cx="73802" cy="454562"/>
                </a:xfrm>
                <a:custGeom>
                  <a:avLst/>
                  <a:gdLst>
                    <a:gd name="connsiteX0" fmla="*/ 14960 w 73802"/>
                    <a:gd name="connsiteY0" fmla="*/ 454562 h 454562"/>
                    <a:gd name="connsiteX1" fmla="*/ 30 w 73802"/>
                    <a:gd name="connsiteY1" fmla="*/ 398291 h 454562"/>
                    <a:gd name="connsiteX2" fmla="*/ 73802 w 73802"/>
                    <a:gd name="connsiteY2" fmla="*/ 0 h 454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802" h="454562">
                      <a:moveTo>
                        <a:pt x="14960" y="454562"/>
                      </a:moveTo>
                      <a:cubicBezTo>
                        <a:pt x="30" y="437857"/>
                        <a:pt x="30" y="430823"/>
                        <a:pt x="30" y="398291"/>
                      </a:cubicBezTo>
                      <a:cubicBezTo>
                        <a:pt x="-1726" y="251460"/>
                        <a:pt x="73802" y="134522"/>
                        <a:pt x="73802" y="0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eform 110">
                  <a:extLst>
                    <a:ext uri="{FF2B5EF4-FFF2-40B4-BE49-F238E27FC236}">
                      <a16:creationId xmlns:a16="http://schemas.microsoft.com/office/drawing/2014/main" id="{CD1A4EF9-7C96-2177-D7E0-61BAA8D1FF60}"/>
                    </a:ext>
                  </a:extLst>
                </p:cNvPr>
                <p:cNvSpPr/>
                <p:nvPr/>
              </p:nvSpPr>
              <p:spPr>
                <a:xfrm>
                  <a:off x="-12279509" y="3211427"/>
                  <a:ext cx="132614" cy="54023"/>
                </a:xfrm>
                <a:custGeom>
                  <a:avLst/>
                  <a:gdLst>
                    <a:gd name="connsiteX0" fmla="*/ 132615 w 132614"/>
                    <a:gd name="connsiteY0" fmla="*/ 3908 h 54023"/>
                    <a:gd name="connsiteX1" fmla="*/ 92215 w 132614"/>
                    <a:gd name="connsiteY1" fmla="*/ 3908 h 54023"/>
                    <a:gd name="connsiteX2" fmla="*/ 0 w 132614"/>
                    <a:gd name="connsiteY2" fmla="*/ 54024 h 54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2614" h="54023">
                      <a:moveTo>
                        <a:pt x="132615" y="3908"/>
                      </a:moveTo>
                      <a:cubicBezTo>
                        <a:pt x="132615" y="3908"/>
                        <a:pt x="118563" y="-4885"/>
                        <a:pt x="92215" y="3908"/>
                      </a:cubicBezTo>
                      <a:cubicBezTo>
                        <a:pt x="74651" y="9183"/>
                        <a:pt x="0" y="54024"/>
                        <a:pt x="0" y="54024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eform 111">
                  <a:extLst>
                    <a:ext uri="{FF2B5EF4-FFF2-40B4-BE49-F238E27FC236}">
                      <a16:creationId xmlns:a16="http://schemas.microsoft.com/office/drawing/2014/main" id="{6A82AD31-CD82-E7F1-E0FE-013C97307EE5}"/>
                    </a:ext>
                  </a:extLst>
                </p:cNvPr>
                <p:cNvSpPr/>
                <p:nvPr/>
              </p:nvSpPr>
              <p:spPr>
                <a:xfrm>
                  <a:off x="-12031845" y="3319084"/>
                  <a:ext cx="21923" cy="111662"/>
                </a:xfrm>
                <a:custGeom>
                  <a:avLst/>
                  <a:gdLst>
                    <a:gd name="connsiteX0" fmla="*/ 5270 w 21923"/>
                    <a:gd name="connsiteY0" fmla="*/ 0 h 111662"/>
                    <a:gd name="connsiteX1" fmla="*/ 21078 w 21923"/>
                    <a:gd name="connsiteY1" fmla="*/ 50116 h 111662"/>
                    <a:gd name="connsiteX2" fmla="*/ 0 w 21923"/>
                    <a:gd name="connsiteY2" fmla="*/ 111662 h 11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923" h="111662">
                      <a:moveTo>
                        <a:pt x="5270" y="0"/>
                      </a:moveTo>
                      <a:cubicBezTo>
                        <a:pt x="5270" y="0"/>
                        <a:pt x="26347" y="28135"/>
                        <a:pt x="21078" y="50116"/>
                      </a:cubicBezTo>
                      <a:cubicBezTo>
                        <a:pt x="15808" y="72976"/>
                        <a:pt x="0" y="111662"/>
                        <a:pt x="0" y="111662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3" name="Graphic 6">
                <a:extLst>
                  <a:ext uri="{FF2B5EF4-FFF2-40B4-BE49-F238E27FC236}">
                    <a16:creationId xmlns:a16="http://schemas.microsoft.com/office/drawing/2014/main" id="{AD4124C1-0ED7-A96B-4C56-E5BF142834D9}"/>
                  </a:ext>
                </a:extLst>
              </p:cNvPr>
              <p:cNvGrpSpPr/>
              <p:nvPr/>
            </p:nvGrpSpPr>
            <p:grpSpPr>
              <a:xfrm>
                <a:off x="-10159651" y="3689492"/>
                <a:ext cx="1772053" cy="2111660"/>
                <a:chOff x="-10159651" y="3689492"/>
                <a:chExt cx="1772053" cy="2111660"/>
              </a:xfrm>
            </p:grpSpPr>
            <p:grpSp>
              <p:nvGrpSpPr>
                <p:cNvPr id="94" name="Graphic 6">
                  <a:extLst>
                    <a:ext uri="{FF2B5EF4-FFF2-40B4-BE49-F238E27FC236}">
                      <a16:creationId xmlns:a16="http://schemas.microsoft.com/office/drawing/2014/main" id="{6DFBFD7E-44B4-85B8-D681-DD36236AC93F}"/>
                    </a:ext>
                  </a:extLst>
                </p:cNvPr>
                <p:cNvGrpSpPr/>
                <p:nvPr/>
              </p:nvGrpSpPr>
              <p:grpSpPr>
                <a:xfrm>
                  <a:off x="-10145379" y="3689492"/>
                  <a:ext cx="1583761" cy="2111660"/>
                  <a:chOff x="-10145379" y="3689492"/>
                  <a:chExt cx="1583761" cy="2111660"/>
                </a:xfrm>
              </p:grpSpPr>
              <p:sp>
                <p:nvSpPr>
                  <p:cNvPr id="100" name="Freeform 99">
                    <a:extLst>
                      <a:ext uri="{FF2B5EF4-FFF2-40B4-BE49-F238E27FC236}">
                        <a16:creationId xmlns:a16="http://schemas.microsoft.com/office/drawing/2014/main" id="{BF6B3F99-312C-AF22-9345-81905E306CC3}"/>
                      </a:ext>
                    </a:extLst>
                  </p:cNvPr>
                  <p:cNvSpPr/>
                  <p:nvPr/>
                </p:nvSpPr>
                <p:spPr>
                  <a:xfrm>
                    <a:off x="-9701867" y="5162831"/>
                    <a:ext cx="224829" cy="623972"/>
                  </a:xfrm>
                  <a:custGeom>
                    <a:avLst/>
                    <a:gdLst>
                      <a:gd name="connsiteX0" fmla="*/ 103633 w 224829"/>
                      <a:gd name="connsiteY0" fmla="*/ 612824 h 623972"/>
                      <a:gd name="connsiteX1" fmla="*/ 90459 w 224829"/>
                      <a:gd name="connsiteY1" fmla="*/ 563587 h 623972"/>
                      <a:gd name="connsiteX2" fmla="*/ 96607 w 224829"/>
                      <a:gd name="connsiteY2" fmla="*/ 496765 h 623972"/>
                      <a:gd name="connsiteX3" fmla="*/ 28104 w 224829"/>
                      <a:gd name="connsiteY3" fmla="*/ 125730 h 623972"/>
                      <a:gd name="connsiteX4" fmla="*/ 0 w 224829"/>
                      <a:gd name="connsiteY4" fmla="*/ 4396 h 623972"/>
                      <a:gd name="connsiteX5" fmla="*/ 180040 w 224829"/>
                      <a:gd name="connsiteY5" fmla="*/ 0 h 623972"/>
                      <a:gd name="connsiteX6" fmla="*/ 185309 w 224829"/>
                      <a:gd name="connsiteY6" fmla="*/ 118696 h 623972"/>
                      <a:gd name="connsiteX7" fmla="*/ 194970 w 224829"/>
                      <a:gd name="connsiteY7" fmla="*/ 517867 h 623972"/>
                      <a:gd name="connsiteX8" fmla="*/ 224830 w 224829"/>
                      <a:gd name="connsiteY8" fmla="*/ 556553 h 623972"/>
                      <a:gd name="connsiteX9" fmla="*/ 103633 w 224829"/>
                      <a:gd name="connsiteY9" fmla="*/ 612824 h 623972"/>
                      <a:gd name="connsiteX10" fmla="*/ 103633 w 224829"/>
                      <a:gd name="connsiteY10" fmla="*/ 612824 h 623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24829" h="623972">
                        <a:moveTo>
                          <a:pt x="103633" y="612824"/>
                        </a:moveTo>
                        <a:cubicBezTo>
                          <a:pt x="103633" y="612824"/>
                          <a:pt x="83433" y="589964"/>
                          <a:pt x="90459" y="563587"/>
                        </a:cubicBezTo>
                        <a:cubicBezTo>
                          <a:pt x="97485" y="537210"/>
                          <a:pt x="108024" y="528418"/>
                          <a:pt x="96607" y="496765"/>
                        </a:cubicBezTo>
                        <a:cubicBezTo>
                          <a:pt x="96607" y="496765"/>
                          <a:pt x="10539" y="196069"/>
                          <a:pt x="28104" y="125730"/>
                        </a:cubicBezTo>
                        <a:cubicBezTo>
                          <a:pt x="18443" y="85285"/>
                          <a:pt x="0" y="4396"/>
                          <a:pt x="0" y="4396"/>
                        </a:cubicBezTo>
                        <a:lnTo>
                          <a:pt x="180040" y="0"/>
                        </a:lnTo>
                        <a:lnTo>
                          <a:pt x="185309" y="118696"/>
                        </a:lnTo>
                        <a:lnTo>
                          <a:pt x="194970" y="517867"/>
                        </a:lnTo>
                        <a:lnTo>
                          <a:pt x="224830" y="556553"/>
                        </a:lnTo>
                        <a:cubicBezTo>
                          <a:pt x="224830" y="556553"/>
                          <a:pt x="134371" y="656785"/>
                          <a:pt x="103633" y="612824"/>
                        </a:cubicBezTo>
                        <a:lnTo>
                          <a:pt x="103633" y="612824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1" name="Freeform 100">
                    <a:extLst>
                      <a:ext uri="{FF2B5EF4-FFF2-40B4-BE49-F238E27FC236}">
                        <a16:creationId xmlns:a16="http://schemas.microsoft.com/office/drawing/2014/main" id="{C24BEE25-64D7-1A33-75B7-C7D629D45EA0}"/>
                      </a:ext>
                    </a:extLst>
                  </p:cNvPr>
                  <p:cNvSpPr/>
                  <p:nvPr/>
                </p:nvSpPr>
                <p:spPr>
                  <a:xfrm>
                    <a:off x="-9620519" y="5684214"/>
                    <a:ext cx="289335" cy="116937"/>
                  </a:xfrm>
                  <a:custGeom>
                    <a:avLst/>
                    <a:gdLst>
                      <a:gd name="connsiteX0" fmla="*/ 276096 w 289335"/>
                      <a:gd name="connsiteY0" fmla="*/ 61546 h 116937"/>
                      <a:gd name="connsiteX1" fmla="*/ 129430 w 289335"/>
                      <a:gd name="connsiteY1" fmla="*/ 0 h 116937"/>
                      <a:gd name="connsiteX2" fmla="*/ 99569 w 289335"/>
                      <a:gd name="connsiteY2" fmla="*/ 76493 h 116937"/>
                      <a:gd name="connsiteX3" fmla="*/ 328 w 289335"/>
                      <a:gd name="connsiteY3" fmla="*/ 76493 h 116937"/>
                      <a:gd name="connsiteX4" fmla="*/ 7354 w 289335"/>
                      <a:gd name="connsiteY4" fmla="*/ 114300 h 116937"/>
                      <a:gd name="connsiteX5" fmla="*/ 264679 w 289335"/>
                      <a:gd name="connsiteY5" fmla="*/ 116938 h 116937"/>
                      <a:gd name="connsiteX6" fmla="*/ 276096 w 289335"/>
                      <a:gd name="connsiteY6" fmla="*/ 60667 h 116937"/>
                      <a:gd name="connsiteX7" fmla="*/ 276096 w 289335"/>
                      <a:gd name="connsiteY7" fmla="*/ 60667 h 116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89335" h="116937">
                        <a:moveTo>
                          <a:pt x="276096" y="61546"/>
                        </a:moveTo>
                        <a:cubicBezTo>
                          <a:pt x="246236" y="36049"/>
                          <a:pt x="129430" y="0"/>
                          <a:pt x="129430" y="0"/>
                        </a:cubicBezTo>
                        <a:cubicBezTo>
                          <a:pt x="129430" y="0"/>
                          <a:pt x="125039" y="72097"/>
                          <a:pt x="99569" y="76493"/>
                        </a:cubicBezTo>
                        <a:cubicBezTo>
                          <a:pt x="74101" y="80889"/>
                          <a:pt x="328" y="76493"/>
                          <a:pt x="328" y="76493"/>
                        </a:cubicBezTo>
                        <a:cubicBezTo>
                          <a:pt x="328" y="76493"/>
                          <a:pt x="-2306" y="109904"/>
                          <a:pt x="7354" y="114300"/>
                        </a:cubicBezTo>
                        <a:cubicBezTo>
                          <a:pt x="14380" y="116938"/>
                          <a:pt x="249749" y="116938"/>
                          <a:pt x="264679" y="116938"/>
                        </a:cubicBezTo>
                        <a:cubicBezTo>
                          <a:pt x="279609" y="116938"/>
                          <a:pt x="305078" y="86164"/>
                          <a:pt x="276096" y="60667"/>
                        </a:cubicBezTo>
                        <a:lnTo>
                          <a:pt x="276096" y="60667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02" name="Graphic 6">
                    <a:extLst>
                      <a:ext uri="{FF2B5EF4-FFF2-40B4-BE49-F238E27FC236}">
                        <a16:creationId xmlns:a16="http://schemas.microsoft.com/office/drawing/2014/main" id="{ABE63F24-16F9-3FA1-981D-E02412F6393B}"/>
                      </a:ext>
                    </a:extLst>
                  </p:cNvPr>
                  <p:cNvGrpSpPr/>
                  <p:nvPr/>
                </p:nvGrpSpPr>
                <p:grpSpPr>
                  <a:xfrm>
                    <a:off x="-10000469" y="4565833"/>
                    <a:ext cx="972045" cy="1224518"/>
                    <a:chOff x="-10000469" y="4565833"/>
                    <a:chExt cx="972045" cy="1224518"/>
                  </a:xfrm>
                </p:grpSpPr>
                <p:sp>
                  <p:nvSpPr>
                    <p:cNvPr id="107" name="Freeform 106">
                      <a:extLst>
                        <a:ext uri="{FF2B5EF4-FFF2-40B4-BE49-F238E27FC236}">
                          <a16:creationId xmlns:a16="http://schemas.microsoft.com/office/drawing/2014/main" id="{10F8E3EB-33F2-41B0-75BD-35D5FDE1A1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967975" y="5144367"/>
                      <a:ext cx="182674" cy="645984"/>
                    </a:xfrm>
                    <a:custGeom>
                      <a:avLst/>
                      <a:gdLst>
                        <a:gd name="connsiteX0" fmla="*/ 113293 w 182674"/>
                        <a:gd name="connsiteY0" fmla="*/ 605790 h 645984"/>
                        <a:gd name="connsiteX1" fmla="*/ 106267 w 182674"/>
                        <a:gd name="connsiteY1" fmla="*/ 513471 h 645984"/>
                        <a:gd name="connsiteX2" fmla="*/ 182675 w 182674"/>
                        <a:gd name="connsiteY2" fmla="*/ 7034 h 645984"/>
                        <a:gd name="connsiteX3" fmla="*/ 0 w 182674"/>
                        <a:gd name="connsiteY3" fmla="*/ 0 h 645984"/>
                        <a:gd name="connsiteX4" fmla="*/ 20200 w 182674"/>
                        <a:gd name="connsiteY4" fmla="*/ 512591 h 645984"/>
                        <a:gd name="connsiteX5" fmla="*/ 2635 w 182674"/>
                        <a:gd name="connsiteY5" fmla="*/ 622495 h 645984"/>
                        <a:gd name="connsiteX6" fmla="*/ 113293 w 182674"/>
                        <a:gd name="connsiteY6" fmla="*/ 606669 h 645984"/>
                        <a:gd name="connsiteX7" fmla="*/ 113293 w 182674"/>
                        <a:gd name="connsiteY7" fmla="*/ 606669 h 6459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82674" h="645984">
                          <a:moveTo>
                            <a:pt x="113293" y="605790"/>
                          </a:moveTo>
                          <a:cubicBezTo>
                            <a:pt x="113293" y="605790"/>
                            <a:pt x="94850" y="545123"/>
                            <a:pt x="106267" y="513471"/>
                          </a:cubicBezTo>
                          <a:lnTo>
                            <a:pt x="182675" y="7034"/>
                          </a:lnTo>
                          <a:lnTo>
                            <a:pt x="0" y="0"/>
                          </a:lnTo>
                          <a:lnTo>
                            <a:pt x="20200" y="512591"/>
                          </a:lnTo>
                          <a:cubicBezTo>
                            <a:pt x="20200" y="512591"/>
                            <a:pt x="-6148" y="584688"/>
                            <a:pt x="2635" y="622495"/>
                          </a:cubicBezTo>
                          <a:cubicBezTo>
                            <a:pt x="10539" y="660302"/>
                            <a:pt x="83433" y="650631"/>
                            <a:pt x="113293" y="606669"/>
                          </a:cubicBezTo>
                          <a:lnTo>
                            <a:pt x="113293" y="606669"/>
                          </a:lnTo>
                          <a:close/>
                        </a:path>
                      </a:pathLst>
                    </a:custGeom>
                    <a:solidFill>
                      <a:srgbClr val="DE9C74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" name="Freeform 107">
                      <a:extLst>
                        <a:ext uri="{FF2B5EF4-FFF2-40B4-BE49-F238E27FC236}">
                          <a16:creationId xmlns:a16="http://schemas.microsoft.com/office/drawing/2014/main" id="{F33B019E-A603-0BA0-9988-9676E3FFDC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000469" y="4565833"/>
                      <a:ext cx="499719" cy="602272"/>
                    </a:xfrm>
                    <a:custGeom>
                      <a:avLst/>
                      <a:gdLst>
                        <a:gd name="connsiteX0" fmla="*/ 233612 w 499719"/>
                        <a:gd name="connsiteY0" fmla="*/ 601394 h 602272"/>
                        <a:gd name="connsiteX1" fmla="*/ 0 w 499719"/>
                        <a:gd name="connsiteY1" fmla="*/ 601394 h 602272"/>
                        <a:gd name="connsiteX2" fmla="*/ 20199 w 499719"/>
                        <a:gd name="connsiteY2" fmla="*/ 135401 h 602272"/>
                        <a:gd name="connsiteX3" fmla="*/ 44790 w 499719"/>
                        <a:gd name="connsiteY3" fmla="*/ 45720 h 602272"/>
                        <a:gd name="connsiteX4" fmla="*/ 388183 w 499719"/>
                        <a:gd name="connsiteY4" fmla="*/ 0 h 602272"/>
                        <a:gd name="connsiteX5" fmla="*/ 449660 w 499719"/>
                        <a:gd name="connsiteY5" fmla="*/ 124851 h 602272"/>
                        <a:gd name="connsiteX6" fmla="*/ 499720 w 499719"/>
                        <a:gd name="connsiteY6" fmla="*/ 596998 h 602272"/>
                        <a:gd name="connsiteX7" fmla="*/ 274890 w 499719"/>
                        <a:gd name="connsiteY7" fmla="*/ 602273 h 602272"/>
                        <a:gd name="connsiteX8" fmla="*/ 259960 w 499719"/>
                        <a:gd name="connsiteY8" fmla="*/ 366639 h 602272"/>
                        <a:gd name="connsiteX9" fmla="*/ 238882 w 499719"/>
                        <a:gd name="connsiteY9" fmla="*/ 371915 h 602272"/>
                        <a:gd name="connsiteX10" fmla="*/ 233612 w 499719"/>
                        <a:gd name="connsiteY10" fmla="*/ 602273 h 602272"/>
                        <a:gd name="connsiteX11" fmla="*/ 233612 w 499719"/>
                        <a:gd name="connsiteY11" fmla="*/ 602273 h 6022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499719" h="602272">
                          <a:moveTo>
                            <a:pt x="233612" y="601394"/>
                          </a:moveTo>
                          <a:lnTo>
                            <a:pt x="0" y="601394"/>
                          </a:lnTo>
                          <a:lnTo>
                            <a:pt x="20199" y="135401"/>
                          </a:lnTo>
                          <a:lnTo>
                            <a:pt x="44790" y="45720"/>
                          </a:lnTo>
                          <a:lnTo>
                            <a:pt x="388183" y="0"/>
                          </a:lnTo>
                          <a:lnTo>
                            <a:pt x="449660" y="124851"/>
                          </a:lnTo>
                          <a:cubicBezTo>
                            <a:pt x="462834" y="160020"/>
                            <a:pt x="499720" y="596998"/>
                            <a:pt x="499720" y="596998"/>
                          </a:cubicBezTo>
                          <a:lnTo>
                            <a:pt x="274890" y="602273"/>
                          </a:lnTo>
                          <a:lnTo>
                            <a:pt x="259960" y="366639"/>
                          </a:lnTo>
                          <a:lnTo>
                            <a:pt x="238882" y="371915"/>
                          </a:lnTo>
                          <a:lnTo>
                            <a:pt x="233612" y="602273"/>
                          </a:lnTo>
                          <a:lnTo>
                            <a:pt x="233612" y="602273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03" name="Freeform 102">
                    <a:extLst>
                      <a:ext uri="{FF2B5EF4-FFF2-40B4-BE49-F238E27FC236}">
                        <a16:creationId xmlns:a16="http://schemas.microsoft.com/office/drawing/2014/main" id="{B32C0652-B5C6-856B-8E41-6E6A06B1F383}"/>
                      </a:ext>
                    </a:extLst>
                  </p:cNvPr>
                  <p:cNvSpPr/>
                  <p:nvPr/>
                </p:nvSpPr>
                <p:spPr>
                  <a:xfrm>
                    <a:off x="-10145379" y="4042691"/>
                    <a:ext cx="736845" cy="653268"/>
                  </a:xfrm>
                  <a:custGeom>
                    <a:avLst/>
                    <a:gdLst>
                      <a:gd name="connsiteX0" fmla="*/ 95728 w 736845"/>
                      <a:gd name="connsiteY0" fmla="*/ 109025 h 653268"/>
                      <a:gd name="connsiteX1" fmla="*/ 230978 w 736845"/>
                      <a:gd name="connsiteY1" fmla="*/ 19343 h 653268"/>
                      <a:gd name="connsiteX2" fmla="*/ 413652 w 736845"/>
                      <a:gd name="connsiteY2" fmla="*/ 0 h 653268"/>
                      <a:gd name="connsiteX3" fmla="*/ 555049 w 736845"/>
                      <a:gd name="connsiteY3" fmla="*/ 23739 h 653268"/>
                      <a:gd name="connsiteX4" fmla="*/ 663951 w 736845"/>
                      <a:gd name="connsiteY4" fmla="*/ 91440 h 653268"/>
                      <a:gd name="connsiteX5" fmla="*/ 736845 w 736845"/>
                      <a:gd name="connsiteY5" fmla="*/ 383345 h 653268"/>
                      <a:gd name="connsiteX6" fmla="*/ 610379 w 736845"/>
                      <a:gd name="connsiteY6" fmla="*/ 413238 h 653268"/>
                      <a:gd name="connsiteX7" fmla="*/ 613892 w 736845"/>
                      <a:gd name="connsiteY7" fmla="*/ 302455 h 653268"/>
                      <a:gd name="connsiteX8" fmla="*/ 603352 w 736845"/>
                      <a:gd name="connsiteY8" fmla="*/ 648872 h 653268"/>
                      <a:gd name="connsiteX9" fmla="*/ 152814 w 736845"/>
                      <a:gd name="connsiteY9" fmla="*/ 653269 h 653268"/>
                      <a:gd name="connsiteX10" fmla="*/ 172135 w 736845"/>
                      <a:gd name="connsiteY10" fmla="*/ 314765 h 653268"/>
                      <a:gd name="connsiteX11" fmla="*/ 133493 w 736845"/>
                      <a:gd name="connsiteY11" fmla="*/ 414997 h 653268"/>
                      <a:gd name="connsiteX12" fmla="*/ 0 w 736845"/>
                      <a:gd name="connsiteY12" fmla="*/ 327074 h 653268"/>
                      <a:gd name="connsiteX13" fmla="*/ 96607 w 736845"/>
                      <a:gd name="connsiteY13" fmla="*/ 110783 h 653268"/>
                      <a:gd name="connsiteX14" fmla="*/ 96607 w 736845"/>
                      <a:gd name="connsiteY14" fmla="*/ 109025 h 6532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736845" h="653268">
                        <a:moveTo>
                          <a:pt x="95728" y="109025"/>
                        </a:moveTo>
                        <a:cubicBezTo>
                          <a:pt x="137006" y="36049"/>
                          <a:pt x="230978" y="19343"/>
                          <a:pt x="230978" y="19343"/>
                        </a:cubicBezTo>
                        <a:cubicBezTo>
                          <a:pt x="230978" y="19343"/>
                          <a:pt x="310898" y="2638"/>
                          <a:pt x="413652" y="0"/>
                        </a:cubicBezTo>
                        <a:cubicBezTo>
                          <a:pt x="518163" y="4396"/>
                          <a:pt x="555049" y="23739"/>
                          <a:pt x="555049" y="23739"/>
                        </a:cubicBezTo>
                        <a:cubicBezTo>
                          <a:pt x="598083" y="38686"/>
                          <a:pt x="645508" y="63305"/>
                          <a:pt x="663951" y="91440"/>
                        </a:cubicBezTo>
                        <a:cubicBezTo>
                          <a:pt x="685029" y="122213"/>
                          <a:pt x="716646" y="252339"/>
                          <a:pt x="736845" y="383345"/>
                        </a:cubicBezTo>
                        <a:lnTo>
                          <a:pt x="610379" y="413238"/>
                        </a:lnTo>
                        <a:lnTo>
                          <a:pt x="613892" y="302455"/>
                        </a:lnTo>
                        <a:lnTo>
                          <a:pt x="603352" y="648872"/>
                        </a:lnTo>
                        <a:lnTo>
                          <a:pt x="152814" y="653269"/>
                        </a:lnTo>
                        <a:cubicBezTo>
                          <a:pt x="152814" y="653269"/>
                          <a:pt x="170379" y="452804"/>
                          <a:pt x="172135" y="314765"/>
                        </a:cubicBezTo>
                        <a:lnTo>
                          <a:pt x="133493" y="414997"/>
                        </a:lnTo>
                        <a:cubicBezTo>
                          <a:pt x="133493" y="414997"/>
                          <a:pt x="36008" y="371915"/>
                          <a:pt x="0" y="327074"/>
                        </a:cubicBezTo>
                        <a:cubicBezTo>
                          <a:pt x="12295" y="284871"/>
                          <a:pt x="55329" y="182880"/>
                          <a:pt x="96607" y="110783"/>
                        </a:cubicBezTo>
                        <a:lnTo>
                          <a:pt x="96607" y="1090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4" name="Freeform 103">
                    <a:extLst>
                      <a:ext uri="{FF2B5EF4-FFF2-40B4-BE49-F238E27FC236}">
                        <a16:creationId xmlns:a16="http://schemas.microsoft.com/office/drawing/2014/main" id="{350BD8A7-1D44-2EF1-C074-19D4D553BC25}"/>
                      </a:ext>
                    </a:extLst>
                  </p:cNvPr>
                  <p:cNvSpPr/>
                  <p:nvPr/>
                </p:nvSpPr>
                <p:spPr>
                  <a:xfrm>
                    <a:off x="-9872246" y="3894980"/>
                    <a:ext cx="243273" cy="239150"/>
                  </a:xfrm>
                  <a:custGeom>
                    <a:avLst/>
                    <a:gdLst>
                      <a:gd name="connsiteX0" fmla="*/ 0 w 243273"/>
                      <a:gd name="connsiteY0" fmla="*/ 160899 h 239150"/>
                      <a:gd name="connsiteX1" fmla="*/ 58842 w 243273"/>
                      <a:gd name="connsiteY1" fmla="*/ 152107 h 239150"/>
                      <a:gd name="connsiteX2" fmla="*/ 65868 w 243273"/>
                      <a:gd name="connsiteY2" fmla="*/ 0 h 239150"/>
                      <a:gd name="connsiteX3" fmla="*/ 195848 w 243273"/>
                      <a:gd name="connsiteY3" fmla="*/ 43962 h 239150"/>
                      <a:gd name="connsiteX4" fmla="*/ 191457 w 243273"/>
                      <a:gd name="connsiteY4" fmla="*/ 150349 h 239150"/>
                      <a:gd name="connsiteX5" fmla="*/ 243273 w 243273"/>
                      <a:gd name="connsiteY5" fmla="*/ 159141 h 239150"/>
                      <a:gd name="connsiteX6" fmla="*/ 122076 w 243273"/>
                      <a:gd name="connsiteY6" fmla="*/ 239151 h 239150"/>
                      <a:gd name="connsiteX7" fmla="*/ 0 w 243273"/>
                      <a:gd name="connsiteY7" fmla="*/ 160899 h 239150"/>
                      <a:gd name="connsiteX8" fmla="*/ 0 w 243273"/>
                      <a:gd name="connsiteY8" fmla="*/ 160899 h 239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3273" h="239150">
                        <a:moveTo>
                          <a:pt x="0" y="160899"/>
                        </a:moveTo>
                        <a:lnTo>
                          <a:pt x="58842" y="152107"/>
                        </a:lnTo>
                        <a:lnTo>
                          <a:pt x="65868" y="0"/>
                        </a:lnTo>
                        <a:lnTo>
                          <a:pt x="195848" y="43962"/>
                        </a:lnTo>
                        <a:lnTo>
                          <a:pt x="191457" y="150349"/>
                        </a:lnTo>
                        <a:lnTo>
                          <a:pt x="243273" y="159141"/>
                        </a:lnTo>
                        <a:cubicBezTo>
                          <a:pt x="243273" y="159141"/>
                          <a:pt x="218683" y="239151"/>
                          <a:pt x="122076" y="239151"/>
                        </a:cubicBezTo>
                        <a:cubicBezTo>
                          <a:pt x="25469" y="239151"/>
                          <a:pt x="0" y="160899"/>
                          <a:pt x="0" y="160899"/>
                        </a:cubicBezTo>
                        <a:lnTo>
                          <a:pt x="0" y="160899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5" name="Freeform 104">
                    <a:extLst>
                      <a:ext uri="{FF2B5EF4-FFF2-40B4-BE49-F238E27FC236}">
                        <a16:creationId xmlns:a16="http://schemas.microsoft.com/office/drawing/2014/main" id="{28C75DED-FAA0-65F9-F7BA-ED9B5D3EC075}"/>
                      </a:ext>
                    </a:extLst>
                  </p:cNvPr>
                  <p:cNvSpPr/>
                  <p:nvPr/>
                </p:nvSpPr>
                <p:spPr>
                  <a:xfrm>
                    <a:off x="-9812907" y="3743752"/>
                    <a:ext cx="230192" cy="262889"/>
                  </a:xfrm>
                  <a:custGeom>
                    <a:avLst/>
                    <a:gdLst>
                      <a:gd name="connsiteX0" fmla="*/ 23216 w 230192"/>
                      <a:gd name="connsiteY0" fmla="*/ 196068 h 262889"/>
                      <a:gd name="connsiteX1" fmla="*/ 10042 w 230192"/>
                      <a:gd name="connsiteY1" fmla="*/ 176725 h 262889"/>
                      <a:gd name="connsiteX2" fmla="*/ 8286 w 230192"/>
                      <a:gd name="connsiteY2" fmla="*/ 174088 h 262889"/>
                      <a:gd name="connsiteX3" fmla="*/ 48685 w 230192"/>
                      <a:gd name="connsiteY3" fmla="*/ 116059 h 262889"/>
                      <a:gd name="connsiteX4" fmla="*/ 53955 w 230192"/>
                      <a:gd name="connsiteY4" fmla="*/ 104629 h 262889"/>
                      <a:gd name="connsiteX5" fmla="*/ 73276 w 230192"/>
                      <a:gd name="connsiteY5" fmla="*/ 101991 h 262889"/>
                      <a:gd name="connsiteX6" fmla="*/ 68885 w 230192"/>
                      <a:gd name="connsiteY6" fmla="*/ 88802 h 262889"/>
                      <a:gd name="connsiteX7" fmla="*/ 107527 w 230192"/>
                      <a:gd name="connsiteY7" fmla="*/ 30773 h 262889"/>
                      <a:gd name="connsiteX8" fmla="*/ 159344 w 230192"/>
                      <a:gd name="connsiteY8" fmla="*/ 2638 h 262889"/>
                      <a:gd name="connsiteX9" fmla="*/ 167248 w 230192"/>
                      <a:gd name="connsiteY9" fmla="*/ 0 h 262889"/>
                      <a:gd name="connsiteX10" fmla="*/ 193595 w 230192"/>
                      <a:gd name="connsiteY10" fmla="*/ 74735 h 262889"/>
                      <a:gd name="connsiteX11" fmla="*/ 226090 w 230192"/>
                      <a:gd name="connsiteY11" fmla="*/ 116059 h 262889"/>
                      <a:gd name="connsiteX12" fmla="*/ 220821 w 230192"/>
                      <a:gd name="connsiteY12" fmla="*/ 141556 h 262889"/>
                      <a:gd name="connsiteX13" fmla="*/ 220821 w 230192"/>
                      <a:gd name="connsiteY13" fmla="*/ 171450 h 262889"/>
                      <a:gd name="connsiteX14" fmla="*/ 213795 w 230192"/>
                      <a:gd name="connsiteY14" fmla="*/ 186397 h 262889"/>
                      <a:gd name="connsiteX15" fmla="*/ 219064 w 230192"/>
                      <a:gd name="connsiteY15" fmla="*/ 203102 h 262889"/>
                      <a:gd name="connsiteX16" fmla="*/ 212916 w 230192"/>
                      <a:gd name="connsiteY16" fmla="*/ 245305 h 262889"/>
                      <a:gd name="connsiteX17" fmla="*/ 118945 w 230192"/>
                      <a:gd name="connsiteY17" fmla="*/ 262890 h 262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30192" h="262889">
                        <a:moveTo>
                          <a:pt x="23216" y="196068"/>
                        </a:moveTo>
                        <a:cubicBezTo>
                          <a:pt x="17947" y="190793"/>
                          <a:pt x="13555" y="183759"/>
                          <a:pt x="10042" y="176725"/>
                        </a:cubicBezTo>
                        <a:cubicBezTo>
                          <a:pt x="10042" y="175846"/>
                          <a:pt x="9164" y="174967"/>
                          <a:pt x="8286" y="174088"/>
                        </a:cubicBezTo>
                        <a:cubicBezTo>
                          <a:pt x="-16305" y="119575"/>
                          <a:pt x="18825" y="92319"/>
                          <a:pt x="48685" y="116059"/>
                        </a:cubicBezTo>
                        <a:cubicBezTo>
                          <a:pt x="55711" y="121334"/>
                          <a:pt x="48685" y="94078"/>
                          <a:pt x="53955" y="104629"/>
                        </a:cubicBezTo>
                        <a:cubicBezTo>
                          <a:pt x="62737" y="123972"/>
                          <a:pt x="81180" y="131005"/>
                          <a:pt x="73276" y="101991"/>
                        </a:cubicBezTo>
                        <a:cubicBezTo>
                          <a:pt x="73276" y="99353"/>
                          <a:pt x="71519" y="98474"/>
                          <a:pt x="68885" y="88802"/>
                        </a:cubicBezTo>
                        <a:cubicBezTo>
                          <a:pt x="60102" y="62425"/>
                          <a:pt x="85571" y="36928"/>
                          <a:pt x="107527" y="30773"/>
                        </a:cubicBezTo>
                        <a:cubicBezTo>
                          <a:pt x="138266" y="21981"/>
                          <a:pt x="159344" y="2638"/>
                          <a:pt x="159344" y="2638"/>
                        </a:cubicBezTo>
                        <a:cubicBezTo>
                          <a:pt x="159344" y="2638"/>
                          <a:pt x="166370" y="0"/>
                          <a:pt x="167248" y="0"/>
                        </a:cubicBezTo>
                        <a:cubicBezTo>
                          <a:pt x="172517" y="5275"/>
                          <a:pt x="195351" y="35169"/>
                          <a:pt x="193595" y="74735"/>
                        </a:cubicBezTo>
                        <a:cubicBezTo>
                          <a:pt x="193595" y="84406"/>
                          <a:pt x="219942" y="106387"/>
                          <a:pt x="226090" y="116059"/>
                        </a:cubicBezTo>
                        <a:cubicBezTo>
                          <a:pt x="232238" y="125730"/>
                          <a:pt x="232238" y="133643"/>
                          <a:pt x="220821" y="141556"/>
                        </a:cubicBezTo>
                        <a:cubicBezTo>
                          <a:pt x="206769" y="150349"/>
                          <a:pt x="216429" y="167054"/>
                          <a:pt x="220821" y="171450"/>
                        </a:cubicBezTo>
                        <a:cubicBezTo>
                          <a:pt x="225212" y="176725"/>
                          <a:pt x="209403" y="184638"/>
                          <a:pt x="213795" y="186397"/>
                        </a:cubicBezTo>
                        <a:cubicBezTo>
                          <a:pt x="213795" y="186397"/>
                          <a:pt x="224334" y="195189"/>
                          <a:pt x="219064" y="203102"/>
                        </a:cubicBezTo>
                        <a:cubicBezTo>
                          <a:pt x="213795" y="211015"/>
                          <a:pt x="216429" y="236513"/>
                          <a:pt x="212916" y="245305"/>
                        </a:cubicBezTo>
                        <a:cubicBezTo>
                          <a:pt x="206769" y="262011"/>
                          <a:pt x="142657" y="262011"/>
                          <a:pt x="118945" y="262890"/>
                        </a:cubicBezTo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6" name="Freeform 105">
                    <a:extLst>
                      <a:ext uri="{FF2B5EF4-FFF2-40B4-BE49-F238E27FC236}">
                        <a16:creationId xmlns:a16="http://schemas.microsoft.com/office/drawing/2014/main" id="{79257572-AE1E-07C2-B71D-B5870129759B}"/>
                      </a:ext>
                    </a:extLst>
                  </p:cNvPr>
                  <p:cNvSpPr/>
                  <p:nvPr/>
                </p:nvSpPr>
                <p:spPr>
                  <a:xfrm>
                    <a:off x="-9913093" y="3689492"/>
                    <a:ext cx="287769" cy="295389"/>
                  </a:xfrm>
                  <a:custGeom>
                    <a:avLst/>
                    <a:gdLst>
                      <a:gd name="connsiteX0" fmla="*/ 24160 w 287769"/>
                      <a:gd name="connsiteY0" fmla="*/ 76241 h 295389"/>
                      <a:gd name="connsiteX1" fmla="*/ 61047 w 287769"/>
                      <a:gd name="connsiteY1" fmla="*/ 23487 h 295389"/>
                      <a:gd name="connsiteX2" fmla="*/ 174340 w 287769"/>
                      <a:gd name="connsiteY2" fmla="*/ 627 h 295389"/>
                      <a:gd name="connsiteX3" fmla="*/ 271825 w 287769"/>
                      <a:gd name="connsiteY3" fmla="*/ 67449 h 295389"/>
                      <a:gd name="connsiteX4" fmla="*/ 198931 w 287769"/>
                      <a:gd name="connsiteY4" fmla="*/ 88550 h 295389"/>
                      <a:gd name="connsiteX5" fmla="*/ 175218 w 287769"/>
                      <a:gd name="connsiteY5" fmla="*/ 162406 h 295389"/>
                      <a:gd name="connsiteX6" fmla="*/ 157653 w 287769"/>
                      <a:gd name="connsiteY6" fmla="*/ 185266 h 295389"/>
                      <a:gd name="connsiteX7" fmla="*/ 141845 w 287769"/>
                      <a:gd name="connsiteY7" fmla="*/ 172077 h 295389"/>
                      <a:gd name="connsiteX8" fmla="*/ 108472 w 287769"/>
                      <a:gd name="connsiteY8" fmla="*/ 227469 h 295389"/>
                      <a:gd name="connsiteX9" fmla="*/ 130428 w 287769"/>
                      <a:gd name="connsiteY9" fmla="*/ 250329 h 295389"/>
                      <a:gd name="connsiteX10" fmla="*/ 104959 w 287769"/>
                      <a:gd name="connsiteY10" fmla="*/ 285498 h 295389"/>
                      <a:gd name="connsiteX11" fmla="*/ 83881 w 287769"/>
                      <a:gd name="connsiteY11" fmla="*/ 285498 h 295389"/>
                      <a:gd name="connsiteX12" fmla="*/ 34699 w 287769"/>
                      <a:gd name="connsiteY12" fmla="*/ 221314 h 295389"/>
                      <a:gd name="connsiteX13" fmla="*/ 24160 w 287769"/>
                      <a:gd name="connsiteY13" fmla="*/ 77120 h 295389"/>
                      <a:gd name="connsiteX14" fmla="*/ 24160 w 287769"/>
                      <a:gd name="connsiteY14" fmla="*/ 77120 h 2953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7769" h="295389">
                        <a:moveTo>
                          <a:pt x="24160" y="76241"/>
                        </a:moveTo>
                        <a:cubicBezTo>
                          <a:pt x="24160" y="76241"/>
                          <a:pt x="22404" y="46347"/>
                          <a:pt x="61047" y="23487"/>
                        </a:cubicBezTo>
                        <a:cubicBezTo>
                          <a:pt x="99689" y="-252"/>
                          <a:pt x="174340" y="627"/>
                          <a:pt x="174340" y="627"/>
                        </a:cubicBezTo>
                        <a:cubicBezTo>
                          <a:pt x="321006" y="-7286"/>
                          <a:pt x="290268" y="62174"/>
                          <a:pt x="271825" y="67449"/>
                        </a:cubicBezTo>
                        <a:cubicBezTo>
                          <a:pt x="253382" y="71845"/>
                          <a:pt x="229669" y="79758"/>
                          <a:pt x="198931" y="88550"/>
                        </a:cubicBezTo>
                        <a:cubicBezTo>
                          <a:pt x="176974" y="94705"/>
                          <a:pt x="146236" y="116686"/>
                          <a:pt x="175218" y="162406"/>
                        </a:cubicBezTo>
                        <a:cubicBezTo>
                          <a:pt x="204200" y="208126"/>
                          <a:pt x="157653" y="185266"/>
                          <a:pt x="157653" y="185266"/>
                        </a:cubicBezTo>
                        <a:cubicBezTo>
                          <a:pt x="157653" y="185266"/>
                          <a:pt x="146236" y="187024"/>
                          <a:pt x="141845" y="172077"/>
                        </a:cubicBezTo>
                        <a:cubicBezTo>
                          <a:pt x="137454" y="158010"/>
                          <a:pt x="83881" y="154493"/>
                          <a:pt x="108472" y="227469"/>
                        </a:cubicBezTo>
                        <a:cubicBezTo>
                          <a:pt x="115498" y="243295"/>
                          <a:pt x="128671" y="249450"/>
                          <a:pt x="130428" y="250329"/>
                        </a:cubicBezTo>
                        <a:cubicBezTo>
                          <a:pt x="138332" y="252087"/>
                          <a:pt x="108472" y="277585"/>
                          <a:pt x="104959" y="285498"/>
                        </a:cubicBezTo>
                        <a:cubicBezTo>
                          <a:pt x="98811" y="298687"/>
                          <a:pt x="90029" y="298687"/>
                          <a:pt x="83881" y="285498"/>
                        </a:cubicBezTo>
                        <a:cubicBezTo>
                          <a:pt x="78611" y="274068"/>
                          <a:pt x="61925" y="248570"/>
                          <a:pt x="34699" y="221314"/>
                        </a:cubicBezTo>
                        <a:cubicBezTo>
                          <a:pt x="-1309" y="185266"/>
                          <a:pt x="-16239" y="135150"/>
                          <a:pt x="24160" y="77120"/>
                        </a:cubicBezTo>
                        <a:lnTo>
                          <a:pt x="24160" y="77120"/>
                        </a:lnTo>
                        <a:close/>
                      </a:path>
                    </a:pathLst>
                  </a:custGeom>
                  <a:solidFill>
                    <a:srgbClr val="7A3E1A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5" name="Freeform 94">
                  <a:extLst>
                    <a:ext uri="{FF2B5EF4-FFF2-40B4-BE49-F238E27FC236}">
                      <a16:creationId xmlns:a16="http://schemas.microsoft.com/office/drawing/2014/main" id="{853649D5-655A-12E2-8639-6C74657D395B}"/>
                    </a:ext>
                  </a:extLst>
                </p:cNvPr>
                <p:cNvSpPr/>
                <p:nvPr/>
              </p:nvSpPr>
              <p:spPr>
                <a:xfrm>
                  <a:off x="-9624582" y="5681577"/>
                  <a:ext cx="160174" cy="74431"/>
                </a:xfrm>
                <a:custGeom>
                  <a:avLst/>
                  <a:gdLst>
                    <a:gd name="connsiteX0" fmla="*/ 10539 w 160174"/>
                    <a:gd name="connsiteY0" fmla="*/ 0 h 74431"/>
                    <a:gd name="connsiteX1" fmla="*/ 0 w 160174"/>
                    <a:gd name="connsiteY1" fmla="*/ 33411 h 74431"/>
                    <a:gd name="connsiteX2" fmla="*/ 137884 w 160174"/>
                    <a:gd name="connsiteY2" fmla="*/ 73856 h 74431"/>
                    <a:gd name="connsiteX3" fmla="*/ 146667 w 160174"/>
                    <a:gd name="connsiteY3" fmla="*/ 40445 h 74431"/>
                    <a:gd name="connsiteX4" fmla="*/ 10539 w 160174"/>
                    <a:gd name="connsiteY4" fmla="*/ 0 h 7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174" h="74431">
                      <a:moveTo>
                        <a:pt x="10539" y="0"/>
                      </a:moveTo>
                      <a:lnTo>
                        <a:pt x="0" y="33411"/>
                      </a:lnTo>
                      <a:cubicBezTo>
                        <a:pt x="0" y="33411"/>
                        <a:pt x="106267" y="67701"/>
                        <a:pt x="137884" y="73856"/>
                      </a:cubicBezTo>
                      <a:cubicBezTo>
                        <a:pt x="162475" y="79131"/>
                        <a:pt x="168623" y="46599"/>
                        <a:pt x="146667" y="40445"/>
                      </a:cubicBezTo>
                      <a:cubicBezTo>
                        <a:pt x="127345" y="35169"/>
                        <a:pt x="10539" y="0"/>
                        <a:pt x="10539" y="0"/>
                      </a:cubicBez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5E643100-FECE-321A-998B-4BD0CD4F1D34}"/>
                    </a:ext>
                  </a:extLst>
                </p:cNvPr>
                <p:cNvSpPr/>
                <p:nvPr/>
              </p:nvSpPr>
              <p:spPr>
                <a:xfrm>
                  <a:off x="-9714724" y="4269532"/>
                  <a:ext cx="129662" cy="117936"/>
                </a:xfrm>
                <a:custGeom>
                  <a:avLst/>
                  <a:gdLst>
                    <a:gd name="connsiteX0" fmla="*/ 561 w 129662"/>
                    <a:gd name="connsiteY0" fmla="*/ 0 h 117936"/>
                    <a:gd name="connsiteX1" fmla="*/ 129663 w 129662"/>
                    <a:gd name="connsiteY1" fmla="*/ 4396 h 117936"/>
                    <a:gd name="connsiteX2" fmla="*/ 60282 w 129662"/>
                    <a:gd name="connsiteY2" fmla="*/ 117817 h 117936"/>
                    <a:gd name="connsiteX3" fmla="*/ 561 w 129662"/>
                    <a:gd name="connsiteY3" fmla="*/ 0 h 117936"/>
                    <a:gd name="connsiteX4" fmla="*/ 561 w 129662"/>
                    <a:gd name="connsiteY4" fmla="*/ 0 h 11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62" h="117936">
                      <a:moveTo>
                        <a:pt x="561" y="0"/>
                      </a:moveTo>
                      <a:lnTo>
                        <a:pt x="129663" y="4396"/>
                      </a:lnTo>
                      <a:cubicBezTo>
                        <a:pt x="129663" y="4396"/>
                        <a:pt x="129663" y="122213"/>
                        <a:pt x="60282" y="117817"/>
                      </a:cubicBezTo>
                      <a:cubicBezTo>
                        <a:pt x="-9978" y="113421"/>
                        <a:pt x="561" y="0"/>
                        <a:pt x="561" y="0"/>
                      </a:cubicBezTo>
                      <a:lnTo>
                        <a:pt x="561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A451DF60-DFD8-A5E1-CC8C-55E1AA825C2E}"/>
                    </a:ext>
                  </a:extLst>
                </p:cNvPr>
                <p:cNvSpPr/>
                <p:nvPr/>
              </p:nvSpPr>
              <p:spPr>
                <a:xfrm>
                  <a:off x="-10009689" y="5676985"/>
                  <a:ext cx="164667" cy="122799"/>
                </a:xfrm>
                <a:custGeom>
                  <a:avLst/>
                  <a:gdLst>
                    <a:gd name="connsiteX0" fmla="*/ 164668 w 164667"/>
                    <a:gd name="connsiteY0" fmla="*/ 103945 h 122799"/>
                    <a:gd name="connsiteX1" fmla="*/ 161155 w 164667"/>
                    <a:gd name="connsiteY1" fmla="*/ 52070 h 122799"/>
                    <a:gd name="connsiteX2" fmla="*/ 154129 w 164667"/>
                    <a:gd name="connsiteY2" fmla="*/ 28331 h 122799"/>
                    <a:gd name="connsiteX3" fmla="*/ 135686 w 164667"/>
                    <a:gd name="connsiteY3" fmla="*/ 12505 h 122799"/>
                    <a:gd name="connsiteX4" fmla="*/ 46983 w 164667"/>
                    <a:gd name="connsiteY4" fmla="*/ 12505 h 122799"/>
                    <a:gd name="connsiteX5" fmla="*/ 2193 w 164667"/>
                    <a:gd name="connsiteY5" fmla="*/ 81085 h 122799"/>
                    <a:gd name="connsiteX6" fmla="*/ 14488 w 164667"/>
                    <a:gd name="connsiteY6" fmla="*/ 122408 h 122799"/>
                    <a:gd name="connsiteX7" fmla="*/ 149738 w 164667"/>
                    <a:gd name="connsiteY7" fmla="*/ 122408 h 122799"/>
                    <a:gd name="connsiteX8" fmla="*/ 163790 w 164667"/>
                    <a:gd name="connsiteY8" fmla="*/ 103065 h 122799"/>
                    <a:gd name="connsiteX9" fmla="*/ 164668 w 164667"/>
                    <a:gd name="connsiteY9" fmla="*/ 103065 h 122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667" h="122799">
                      <a:moveTo>
                        <a:pt x="164668" y="103945"/>
                      </a:moveTo>
                      <a:lnTo>
                        <a:pt x="161155" y="52070"/>
                      </a:lnTo>
                      <a:lnTo>
                        <a:pt x="154129" y="28331"/>
                      </a:lnTo>
                      <a:cubicBezTo>
                        <a:pt x="151494" y="24814"/>
                        <a:pt x="140955" y="16901"/>
                        <a:pt x="135686" y="12505"/>
                      </a:cubicBezTo>
                      <a:cubicBezTo>
                        <a:pt x="100556" y="-15631"/>
                        <a:pt x="46983" y="12505"/>
                        <a:pt x="46983" y="12505"/>
                      </a:cubicBezTo>
                      <a:cubicBezTo>
                        <a:pt x="32931" y="37123"/>
                        <a:pt x="4828" y="73172"/>
                        <a:pt x="2193" y="81085"/>
                      </a:cubicBezTo>
                      <a:cubicBezTo>
                        <a:pt x="-4833" y="106582"/>
                        <a:pt x="6584" y="121529"/>
                        <a:pt x="14488" y="122408"/>
                      </a:cubicBezTo>
                      <a:cubicBezTo>
                        <a:pt x="22393" y="123288"/>
                        <a:pt x="142712" y="122408"/>
                        <a:pt x="149738" y="122408"/>
                      </a:cubicBezTo>
                      <a:cubicBezTo>
                        <a:pt x="156764" y="122408"/>
                        <a:pt x="164668" y="108341"/>
                        <a:pt x="163790" y="103065"/>
                      </a:cubicBezTo>
                      <a:lnTo>
                        <a:pt x="164668" y="103065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" name="Freeform 97">
                  <a:extLst>
                    <a:ext uri="{FF2B5EF4-FFF2-40B4-BE49-F238E27FC236}">
                      <a16:creationId xmlns:a16="http://schemas.microsoft.com/office/drawing/2014/main" id="{0D91CF10-A4A5-771F-C474-94194175FE39}"/>
                    </a:ext>
                  </a:extLst>
                </p:cNvPr>
                <p:cNvSpPr/>
                <p:nvPr/>
              </p:nvSpPr>
              <p:spPr>
                <a:xfrm>
                  <a:off x="-10159651" y="4379436"/>
                  <a:ext cx="328603" cy="513470"/>
                </a:xfrm>
                <a:custGeom>
                  <a:avLst/>
                  <a:gdLst>
                    <a:gd name="connsiteX0" fmla="*/ 218902 w 328603"/>
                    <a:gd name="connsiteY0" fmla="*/ 334987 h 513470"/>
                    <a:gd name="connsiteX1" fmla="*/ 274231 w 328603"/>
                    <a:gd name="connsiteY1" fmla="*/ 357847 h 513470"/>
                    <a:gd name="connsiteX2" fmla="*/ 293552 w 328603"/>
                    <a:gd name="connsiteY2" fmla="*/ 376311 h 513470"/>
                    <a:gd name="connsiteX3" fmla="*/ 325169 w 328603"/>
                    <a:gd name="connsiteY3" fmla="*/ 414117 h 513470"/>
                    <a:gd name="connsiteX4" fmla="*/ 284770 w 328603"/>
                    <a:gd name="connsiteY4" fmla="*/ 412359 h 513470"/>
                    <a:gd name="connsiteX5" fmla="*/ 266327 w 328603"/>
                    <a:gd name="connsiteY5" fmla="*/ 396533 h 513470"/>
                    <a:gd name="connsiteX6" fmla="*/ 275109 w 328603"/>
                    <a:gd name="connsiteY6" fmla="*/ 410601 h 513470"/>
                    <a:gd name="connsiteX7" fmla="*/ 326047 w 328603"/>
                    <a:gd name="connsiteY7" fmla="*/ 461596 h 513470"/>
                    <a:gd name="connsiteX8" fmla="*/ 313752 w 328603"/>
                    <a:gd name="connsiteY8" fmla="*/ 477422 h 513470"/>
                    <a:gd name="connsiteX9" fmla="*/ 260179 w 328603"/>
                    <a:gd name="connsiteY9" fmla="*/ 433461 h 513470"/>
                    <a:gd name="connsiteX10" fmla="*/ 273353 w 328603"/>
                    <a:gd name="connsiteY10" fmla="*/ 448408 h 513470"/>
                    <a:gd name="connsiteX11" fmla="*/ 307604 w 328603"/>
                    <a:gd name="connsiteY11" fmla="*/ 477422 h 513470"/>
                    <a:gd name="connsiteX12" fmla="*/ 307604 w 328603"/>
                    <a:gd name="connsiteY12" fmla="*/ 503799 h 513470"/>
                    <a:gd name="connsiteX13" fmla="*/ 236466 w 328603"/>
                    <a:gd name="connsiteY13" fmla="*/ 442253 h 513470"/>
                    <a:gd name="connsiteX14" fmla="*/ 248762 w 328603"/>
                    <a:gd name="connsiteY14" fmla="*/ 456321 h 513470"/>
                    <a:gd name="connsiteX15" fmla="*/ 283891 w 328603"/>
                    <a:gd name="connsiteY15" fmla="*/ 494127 h 513470"/>
                    <a:gd name="connsiteX16" fmla="*/ 274231 w 328603"/>
                    <a:gd name="connsiteY16" fmla="*/ 513471 h 513470"/>
                    <a:gd name="connsiteX17" fmla="*/ 212754 w 328603"/>
                    <a:gd name="connsiteY17" fmla="*/ 446649 h 513470"/>
                    <a:gd name="connsiteX18" fmla="*/ 247883 w 328603"/>
                    <a:gd name="connsiteY18" fmla="*/ 497644 h 513470"/>
                    <a:gd name="connsiteX19" fmla="*/ 241736 w 328603"/>
                    <a:gd name="connsiteY19" fmla="*/ 511712 h 513470"/>
                    <a:gd name="connsiteX20" fmla="*/ 189041 w 328603"/>
                    <a:gd name="connsiteY20" fmla="*/ 458079 h 513470"/>
                    <a:gd name="connsiteX21" fmla="*/ 160937 w 328603"/>
                    <a:gd name="connsiteY21" fmla="*/ 392137 h 513470"/>
                    <a:gd name="connsiteX22" fmla="*/ 157425 w 328603"/>
                    <a:gd name="connsiteY22" fmla="*/ 370156 h 513470"/>
                    <a:gd name="connsiteX23" fmla="*/ 219 w 328603"/>
                    <a:gd name="connsiteY23" fmla="*/ 103749 h 513470"/>
                    <a:gd name="connsiteX24" fmla="*/ 26566 w 328603"/>
                    <a:gd name="connsiteY24" fmla="*/ 0 h 513470"/>
                    <a:gd name="connsiteX25" fmla="*/ 138103 w 328603"/>
                    <a:gd name="connsiteY25" fmla="*/ 73855 h 513470"/>
                    <a:gd name="connsiteX26" fmla="*/ 117904 w 328603"/>
                    <a:gd name="connsiteY26" fmla="*/ 124851 h 513470"/>
                    <a:gd name="connsiteX27" fmla="*/ 220658 w 328603"/>
                    <a:gd name="connsiteY27" fmla="*/ 334987 h 513470"/>
                    <a:gd name="connsiteX28" fmla="*/ 218902 w 328603"/>
                    <a:gd name="connsiteY28" fmla="*/ 334987 h 513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28603" h="513470">
                      <a:moveTo>
                        <a:pt x="218902" y="334987"/>
                      </a:moveTo>
                      <a:cubicBezTo>
                        <a:pt x="225049" y="343779"/>
                        <a:pt x="266327" y="352571"/>
                        <a:pt x="274231" y="357847"/>
                      </a:cubicBezTo>
                      <a:cubicBezTo>
                        <a:pt x="283891" y="364881"/>
                        <a:pt x="293552" y="376311"/>
                        <a:pt x="293552" y="376311"/>
                      </a:cubicBezTo>
                      <a:cubicBezTo>
                        <a:pt x="303213" y="392137"/>
                        <a:pt x="325169" y="409721"/>
                        <a:pt x="325169" y="414117"/>
                      </a:cubicBezTo>
                      <a:cubicBezTo>
                        <a:pt x="325169" y="418514"/>
                        <a:pt x="304091" y="433461"/>
                        <a:pt x="284770" y="412359"/>
                      </a:cubicBezTo>
                      <a:cubicBezTo>
                        <a:pt x="265448" y="391258"/>
                        <a:pt x="273353" y="399171"/>
                        <a:pt x="266327" y="396533"/>
                      </a:cubicBezTo>
                      <a:cubicBezTo>
                        <a:pt x="269839" y="406204"/>
                        <a:pt x="273353" y="407963"/>
                        <a:pt x="275109" y="410601"/>
                      </a:cubicBezTo>
                      <a:cubicBezTo>
                        <a:pt x="283891" y="422031"/>
                        <a:pt x="319899" y="456321"/>
                        <a:pt x="326047" y="461596"/>
                      </a:cubicBezTo>
                      <a:cubicBezTo>
                        <a:pt x="332195" y="466871"/>
                        <a:pt x="326925" y="479181"/>
                        <a:pt x="313752" y="477422"/>
                      </a:cubicBezTo>
                      <a:cubicBezTo>
                        <a:pt x="299700" y="475664"/>
                        <a:pt x="260179" y="433461"/>
                        <a:pt x="260179" y="433461"/>
                      </a:cubicBezTo>
                      <a:lnTo>
                        <a:pt x="273353" y="448408"/>
                      </a:lnTo>
                      <a:cubicBezTo>
                        <a:pt x="275109" y="451045"/>
                        <a:pt x="301456" y="473026"/>
                        <a:pt x="307604" y="477422"/>
                      </a:cubicBezTo>
                      <a:cubicBezTo>
                        <a:pt x="313752" y="481818"/>
                        <a:pt x="324291" y="500282"/>
                        <a:pt x="307604" y="503799"/>
                      </a:cubicBezTo>
                      <a:cubicBezTo>
                        <a:pt x="290918" y="506437"/>
                        <a:pt x="236466" y="442253"/>
                        <a:pt x="236466" y="442253"/>
                      </a:cubicBezTo>
                      <a:lnTo>
                        <a:pt x="248762" y="456321"/>
                      </a:lnTo>
                      <a:cubicBezTo>
                        <a:pt x="248762" y="456321"/>
                        <a:pt x="268083" y="479181"/>
                        <a:pt x="283891" y="494127"/>
                      </a:cubicBezTo>
                      <a:cubicBezTo>
                        <a:pt x="299700" y="509075"/>
                        <a:pt x="274231" y="513471"/>
                        <a:pt x="274231" y="513471"/>
                      </a:cubicBezTo>
                      <a:cubicBezTo>
                        <a:pt x="250518" y="508195"/>
                        <a:pt x="216267" y="450166"/>
                        <a:pt x="212754" y="446649"/>
                      </a:cubicBezTo>
                      <a:cubicBezTo>
                        <a:pt x="214510" y="456321"/>
                        <a:pt x="247883" y="497644"/>
                        <a:pt x="247883" y="497644"/>
                      </a:cubicBezTo>
                      <a:cubicBezTo>
                        <a:pt x="247883" y="497644"/>
                        <a:pt x="254031" y="509075"/>
                        <a:pt x="241736" y="511712"/>
                      </a:cubicBezTo>
                      <a:cubicBezTo>
                        <a:pt x="229441" y="514350"/>
                        <a:pt x="197824" y="480939"/>
                        <a:pt x="189041" y="458079"/>
                      </a:cubicBezTo>
                      <a:cubicBezTo>
                        <a:pt x="180259" y="435219"/>
                        <a:pt x="174111" y="426427"/>
                        <a:pt x="160937" y="392137"/>
                      </a:cubicBezTo>
                      <a:cubicBezTo>
                        <a:pt x="158303" y="384224"/>
                        <a:pt x="157425" y="378948"/>
                        <a:pt x="157425" y="370156"/>
                      </a:cubicBezTo>
                      <a:cubicBezTo>
                        <a:pt x="157425" y="370156"/>
                        <a:pt x="-6807" y="146831"/>
                        <a:pt x="219" y="103749"/>
                      </a:cubicBezTo>
                      <a:cubicBezTo>
                        <a:pt x="7245" y="60667"/>
                        <a:pt x="18662" y="18464"/>
                        <a:pt x="26566" y="0"/>
                      </a:cubicBezTo>
                      <a:cubicBezTo>
                        <a:pt x="79261" y="44841"/>
                        <a:pt x="138103" y="73855"/>
                        <a:pt x="138103" y="73855"/>
                      </a:cubicBezTo>
                      <a:lnTo>
                        <a:pt x="117904" y="124851"/>
                      </a:lnTo>
                      <a:lnTo>
                        <a:pt x="220658" y="334987"/>
                      </a:lnTo>
                      <a:lnTo>
                        <a:pt x="218902" y="33498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C4B97CE6-5CAE-52A6-E76A-B4648706E006}"/>
                    </a:ext>
                  </a:extLst>
                </p:cNvPr>
                <p:cNvSpPr/>
                <p:nvPr/>
              </p:nvSpPr>
              <p:spPr>
                <a:xfrm>
                  <a:off x="-9537636" y="4429552"/>
                  <a:ext cx="288981" cy="457248"/>
                </a:xfrm>
                <a:custGeom>
                  <a:avLst/>
                  <a:gdLst>
                    <a:gd name="connsiteX0" fmla="*/ 202874 w 288981"/>
                    <a:gd name="connsiteY0" fmla="*/ 274320 h 457248"/>
                    <a:gd name="connsiteX1" fmla="*/ 252056 w 288981"/>
                    <a:gd name="connsiteY1" fmla="*/ 307731 h 457248"/>
                    <a:gd name="connsiteX2" fmla="*/ 269621 w 288981"/>
                    <a:gd name="connsiteY2" fmla="*/ 329712 h 457248"/>
                    <a:gd name="connsiteX3" fmla="*/ 288942 w 288981"/>
                    <a:gd name="connsiteY3" fmla="*/ 370156 h 457248"/>
                    <a:gd name="connsiteX4" fmla="*/ 254690 w 288981"/>
                    <a:gd name="connsiteY4" fmla="*/ 360485 h 457248"/>
                    <a:gd name="connsiteX5" fmla="*/ 236247 w 288981"/>
                    <a:gd name="connsiteY5" fmla="*/ 339383 h 457248"/>
                    <a:gd name="connsiteX6" fmla="*/ 242395 w 288981"/>
                    <a:gd name="connsiteY6" fmla="*/ 358726 h 457248"/>
                    <a:gd name="connsiteX7" fmla="*/ 281038 w 288981"/>
                    <a:gd name="connsiteY7" fmla="*/ 417635 h 457248"/>
                    <a:gd name="connsiteX8" fmla="*/ 266108 w 288981"/>
                    <a:gd name="connsiteY8" fmla="*/ 431702 h 457248"/>
                    <a:gd name="connsiteX9" fmla="*/ 223074 w 288981"/>
                    <a:gd name="connsiteY9" fmla="*/ 377190 h 457248"/>
                    <a:gd name="connsiteX10" fmla="*/ 232734 w 288981"/>
                    <a:gd name="connsiteY10" fmla="*/ 393896 h 457248"/>
                    <a:gd name="connsiteX11" fmla="*/ 257325 w 288981"/>
                    <a:gd name="connsiteY11" fmla="*/ 429065 h 457248"/>
                    <a:gd name="connsiteX12" fmla="*/ 253812 w 288981"/>
                    <a:gd name="connsiteY12" fmla="*/ 453683 h 457248"/>
                    <a:gd name="connsiteX13" fmla="*/ 198483 w 288981"/>
                    <a:gd name="connsiteY13" fmla="*/ 380707 h 457248"/>
                    <a:gd name="connsiteX14" fmla="*/ 203752 w 288981"/>
                    <a:gd name="connsiteY14" fmla="*/ 394775 h 457248"/>
                    <a:gd name="connsiteX15" fmla="*/ 233613 w 288981"/>
                    <a:gd name="connsiteY15" fmla="*/ 441374 h 457248"/>
                    <a:gd name="connsiteX16" fmla="*/ 219561 w 288981"/>
                    <a:gd name="connsiteY16" fmla="*/ 457200 h 457248"/>
                    <a:gd name="connsiteX17" fmla="*/ 174770 w 288981"/>
                    <a:gd name="connsiteY17" fmla="*/ 380707 h 457248"/>
                    <a:gd name="connsiteX18" fmla="*/ 197605 w 288981"/>
                    <a:gd name="connsiteY18" fmla="*/ 437857 h 457248"/>
                    <a:gd name="connsiteX19" fmla="*/ 190579 w 288981"/>
                    <a:gd name="connsiteY19" fmla="*/ 449287 h 457248"/>
                    <a:gd name="connsiteX20" fmla="*/ 149301 w 288981"/>
                    <a:gd name="connsiteY20" fmla="*/ 386861 h 457248"/>
                    <a:gd name="connsiteX21" fmla="*/ 135249 w 288981"/>
                    <a:gd name="connsiteY21" fmla="*/ 317402 h 457248"/>
                    <a:gd name="connsiteX22" fmla="*/ 135249 w 288981"/>
                    <a:gd name="connsiteY22" fmla="*/ 295422 h 457248"/>
                    <a:gd name="connsiteX23" fmla="*/ 0 w 288981"/>
                    <a:gd name="connsiteY23" fmla="*/ 87044 h 457248"/>
                    <a:gd name="connsiteX24" fmla="*/ 1757 w 288981"/>
                    <a:gd name="connsiteY24" fmla="*/ 24619 h 457248"/>
                    <a:gd name="connsiteX25" fmla="*/ 108024 w 288981"/>
                    <a:gd name="connsiteY25" fmla="*/ 0 h 457248"/>
                    <a:gd name="connsiteX26" fmla="*/ 115928 w 288981"/>
                    <a:gd name="connsiteY26" fmla="*/ 57150 h 457248"/>
                    <a:gd name="connsiteX27" fmla="*/ 201996 w 288981"/>
                    <a:gd name="connsiteY27" fmla="*/ 273441 h 457248"/>
                    <a:gd name="connsiteX28" fmla="*/ 201996 w 288981"/>
                    <a:gd name="connsiteY28" fmla="*/ 273441 h 457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8981" h="457248">
                      <a:moveTo>
                        <a:pt x="202874" y="274320"/>
                      </a:moveTo>
                      <a:cubicBezTo>
                        <a:pt x="207265" y="283992"/>
                        <a:pt x="245908" y="300697"/>
                        <a:pt x="252056" y="307731"/>
                      </a:cubicBezTo>
                      <a:cubicBezTo>
                        <a:pt x="259960" y="316523"/>
                        <a:pt x="269621" y="329712"/>
                        <a:pt x="269621" y="329712"/>
                      </a:cubicBezTo>
                      <a:cubicBezTo>
                        <a:pt x="275768" y="347296"/>
                        <a:pt x="289820" y="365760"/>
                        <a:pt x="288942" y="370156"/>
                      </a:cubicBezTo>
                      <a:cubicBezTo>
                        <a:pt x="288064" y="374552"/>
                        <a:pt x="266108" y="386861"/>
                        <a:pt x="254690" y="360485"/>
                      </a:cubicBezTo>
                      <a:cubicBezTo>
                        <a:pt x="249421" y="349055"/>
                        <a:pt x="243273" y="343779"/>
                        <a:pt x="236247" y="339383"/>
                      </a:cubicBezTo>
                      <a:cubicBezTo>
                        <a:pt x="238004" y="349055"/>
                        <a:pt x="241517" y="355209"/>
                        <a:pt x="242395" y="358726"/>
                      </a:cubicBezTo>
                      <a:cubicBezTo>
                        <a:pt x="244152" y="369277"/>
                        <a:pt x="276646" y="411480"/>
                        <a:pt x="281038" y="417635"/>
                      </a:cubicBezTo>
                      <a:cubicBezTo>
                        <a:pt x="285429" y="424669"/>
                        <a:pt x="279281" y="436098"/>
                        <a:pt x="266108" y="431702"/>
                      </a:cubicBezTo>
                      <a:cubicBezTo>
                        <a:pt x="252934" y="427306"/>
                        <a:pt x="223074" y="377190"/>
                        <a:pt x="223074" y="377190"/>
                      </a:cubicBezTo>
                      <a:lnTo>
                        <a:pt x="232734" y="393896"/>
                      </a:lnTo>
                      <a:cubicBezTo>
                        <a:pt x="233613" y="397412"/>
                        <a:pt x="256447" y="424669"/>
                        <a:pt x="257325" y="429065"/>
                      </a:cubicBezTo>
                      <a:cubicBezTo>
                        <a:pt x="262594" y="436098"/>
                        <a:pt x="269621" y="453683"/>
                        <a:pt x="253812" y="453683"/>
                      </a:cubicBezTo>
                      <a:cubicBezTo>
                        <a:pt x="238004" y="453683"/>
                        <a:pt x="198483" y="380707"/>
                        <a:pt x="198483" y="380707"/>
                      </a:cubicBezTo>
                      <a:lnTo>
                        <a:pt x="203752" y="394775"/>
                      </a:lnTo>
                      <a:cubicBezTo>
                        <a:pt x="203752" y="394775"/>
                        <a:pt x="221317" y="423789"/>
                        <a:pt x="233613" y="441374"/>
                      </a:cubicBezTo>
                      <a:cubicBezTo>
                        <a:pt x="246786" y="458959"/>
                        <a:pt x="219561" y="457200"/>
                        <a:pt x="219561" y="457200"/>
                      </a:cubicBezTo>
                      <a:cubicBezTo>
                        <a:pt x="197605" y="446649"/>
                        <a:pt x="176527" y="384224"/>
                        <a:pt x="174770" y="380707"/>
                      </a:cubicBezTo>
                      <a:cubicBezTo>
                        <a:pt x="174770" y="390378"/>
                        <a:pt x="197605" y="437857"/>
                        <a:pt x="197605" y="437857"/>
                      </a:cubicBezTo>
                      <a:cubicBezTo>
                        <a:pt x="197605" y="437857"/>
                        <a:pt x="202874" y="450166"/>
                        <a:pt x="190579" y="449287"/>
                      </a:cubicBezTo>
                      <a:cubicBezTo>
                        <a:pt x="174770" y="449287"/>
                        <a:pt x="153692" y="410601"/>
                        <a:pt x="149301" y="386861"/>
                      </a:cubicBezTo>
                      <a:cubicBezTo>
                        <a:pt x="144910" y="363122"/>
                        <a:pt x="141397" y="353451"/>
                        <a:pt x="135249" y="317402"/>
                      </a:cubicBezTo>
                      <a:cubicBezTo>
                        <a:pt x="133493" y="309489"/>
                        <a:pt x="134371" y="304214"/>
                        <a:pt x="135249" y="295422"/>
                      </a:cubicBezTo>
                      <a:lnTo>
                        <a:pt x="0" y="87044"/>
                      </a:lnTo>
                      <a:lnTo>
                        <a:pt x="1757" y="24619"/>
                      </a:lnTo>
                      <a:lnTo>
                        <a:pt x="108024" y="0"/>
                      </a:lnTo>
                      <a:lnTo>
                        <a:pt x="115928" y="57150"/>
                      </a:lnTo>
                      <a:lnTo>
                        <a:pt x="201996" y="273441"/>
                      </a:lnTo>
                      <a:lnTo>
                        <a:pt x="201996" y="273441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66637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raphic 88">
            <a:extLst>
              <a:ext uri="{FF2B5EF4-FFF2-40B4-BE49-F238E27FC236}">
                <a16:creationId xmlns:a16="http://schemas.microsoft.com/office/drawing/2014/main" id="{DA2F40D0-02B6-9EC0-6CC8-E4A2AD3444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493035" y="1142470"/>
            <a:ext cx="6858002" cy="4573061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E58DCB8-B688-4BDD-5C36-F36FE37B0532}"/>
              </a:ext>
            </a:extLst>
          </p:cNvPr>
          <p:cNvGrpSpPr/>
          <p:nvPr userDrawn="1"/>
        </p:nvGrpSpPr>
        <p:grpSpPr>
          <a:xfrm flipH="1">
            <a:off x="6581458" y="967568"/>
            <a:ext cx="6150870" cy="4953078"/>
            <a:chOff x="-13480067" y="1704817"/>
            <a:chExt cx="5092469" cy="4100785"/>
          </a:xfrm>
        </p:grpSpPr>
        <p:grpSp>
          <p:nvGrpSpPr>
            <p:cNvPr id="7" name="Graphic 6">
              <a:extLst>
                <a:ext uri="{FF2B5EF4-FFF2-40B4-BE49-F238E27FC236}">
                  <a16:creationId xmlns:a16="http://schemas.microsoft.com/office/drawing/2014/main" id="{3A1AF0BB-B6E3-54E8-283F-FEB5C2004152}"/>
                </a:ext>
              </a:extLst>
            </p:cNvPr>
            <p:cNvGrpSpPr/>
            <p:nvPr userDrawn="1"/>
          </p:nvGrpSpPr>
          <p:grpSpPr>
            <a:xfrm>
              <a:off x="-13480067" y="1704817"/>
              <a:ext cx="6848491" cy="4096335"/>
              <a:chOff x="-13480067" y="1704817"/>
              <a:chExt cx="6848491" cy="4096335"/>
            </a:xfrm>
          </p:grpSpPr>
          <p:grpSp>
            <p:nvGrpSpPr>
              <p:cNvPr id="50" name="Graphic 6">
                <a:extLst>
                  <a:ext uri="{FF2B5EF4-FFF2-40B4-BE49-F238E27FC236}">
                    <a16:creationId xmlns:a16="http://schemas.microsoft.com/office/drawing/2014/main" id="{9C38174E-621F-4BED-9695-2021B901D3C0}"/>
                  </a:ext>
                </a:extLst>
              </p:cNvPr>
              <p:cNvGrpSpPr/>
              <p:nvPr/>
            </p:nvGrpSpPr>
            <p:grpSpPr>
              <a:xfrm>
                <a:off x="-11320983" y="2416072"/>
                <a:ext cx="2648676" cy="3385079"/>
                <a:chOff x="-11320983" y="2416072"/>
                <a:chExt cx="2648676" cy="3385079"/>
              </a:xfrm>
            </p:grpSpPr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335E34F8-CBB5-E677-CF27-34287DFCB728}"/>
                    </a:ext>
                  </a:extLst>
                </p:cNvPr>
                <p:cNvSpPr/>
                <p:nvPr/>
              </p:nvSpPr>
              <p:spPr>
                <a:xfrm>
                  <a:off x="-11054367" y="2416072"/>
                  <a:ext cx="548029" cy="562749"/>
                </a:xfrm>
                <a:custGeom>
                  <a:avLst/>
                  <a:gdLst>
                    <a:gd name="connsiteX0" fmla="*/ 498848 w 548029"/>
                    <a:gd name="connsiteY0" fmla="*/ 203144 h 562749"/>
                    <a:gd name="connsiteX1" fmla="*/ 468109 w 548029"/>
                    <a:gd name="connsiteY1" fmla="*/ 58950 h 562749"/>
                    <a:gd name="connsiteX2" fmla="*/ 364477 w 548029"/>
                    <a:gd name="connsiteY2" fmla="*/ 7075 h 562749"/>
                    <a:gd name="connsiteX3" fmla="*/ 335495 w 548029"/>
                    <a:gd name="connsiteY3" fmla="*/ 1800 h 562749"/>
                    <a:gd name="connsiteX4" fmla="*/ 277531 w 548029"/>
                    <a:gd name="connsiteY4" fmla="*/ 3559 h 562749"/>
                    <a:gd name="connsiteX5" fmla="*/ 164237 w 548029"/>
                    <a:gd name="connsiteY5" fmla="*/ 77414 h 562749"/>
                    <a:gd name="connsiteX6" fmla="*/ 6 w 548029"/>
                    <a:gd name="connsiteY6" fmla="*/ 562749 h 562749"/>
                    <a:gd name="connsiteX7" fmla="*/ 289826 w 548029"/>
                    <a:gd name="connsiteY7" fmla="*/ 562749 h 562749"/>
                    <a:gd name="connsiteX8" fmla="*/ 272261 w 548029"/>
                    <a:gd name="connsiteY8" fmla="*/ 490652 h 562749"/>
                    <a:gd name="connsiteX9" fmla="*/ 403120 w 548029"/>
                    <a:gd name="connsiteY9" fmla="*/ 492411 h 562749"/>
                    <a:gd name="connsiteX10" fmla="*/ 548030 w 548029"/>
                    <a:gd name="connsiteY10" fmla="*/ 524063 h 562749"/>
                    <a:gd name="connsiteX11" fmla="*/ 498848 w 548029"/>
                    <a:gd name="connsiteY11" fmla="*/ 203144 h 562749"/>
                    <a:gd name="connsiteX12" fmla="*/ 498848 w 548029"/>
                    <a:gd name="connsiteY12" fmla="*/ 203144 h 562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48029" h="562749">
                      <a:moveTo>
                        <a:pt x="498848" y="203144"/>
                      </a:moveTo>
                      <a:cubicBezTo>
                        <a:pt x="504996" y="163579"/>
                        <a:pt x="507630" y="93240"/>
                        <a:pt x="468109" y="58950"/>
                      </a:cubicBezTo>
                      <a:cubicBezTo>
                        <a:pt x="426832" y="22902"/>
                        <a:pt x="384676" y="10592"/>
                        <a:pt x="364477" y="7075"/>
                      </a:cubicBezTo>
                      <a:cubicBezTo>
                        <a:pt x="354816" y="4438"/>
                        <a:pt x="345155" y="2679"/>
                        <a:pt x="335495" y="1800"/>
                      </a:cubicBezTo>
                      <a:cubicBezTo>
                        <a:pt x="317052" y="-838"/>
                        <a:pt x="296852" y="-838"/>
                        <a:pt x="277531" y="3559"/>
                      </a:cubicBezTo>
                      <a:cubicBezTo>
                        <a:pt x="231862" y="11472"/>
                        <a:pt x="190585" y="36090"/>
                        <a:pt x="164237" y="77414"/>
                      </a:cubicBezTo>
                      <a:cubicBezTo>
                        <a:pt x="91343" y="189955"/>
                        <a:pt x="-872" y="451087"/>
                        <a:pt x="6" y="562749"/>
                      </a:cubicBezTo>
                      <a:lnTo>
                        <a:pt x="289826" y="562749"/>
                      </a:lnTo>
                      <a:cubicBezTo>
                        <a:pt x="278409" y="546923"/>
                        <a:pt x="274018" y="521425"/>
                        <a:pt x="272261" y="490652"/>
                      </a:cubicBezTo>
                      <a:cubicBezTo>
                        <a:pt x="337251" y="494169"/>
                        <a:pt x="397850" y="490652"/>
                        <a:pt x="403120" y="492411"/>
                      </a:cubicBezTo>
                      <a:cubicBezTo>
                        <a:pt x="456692" y="501203"/>
                        <a:pt x="544517" y="537252"/>
                        <a:pt x="548030" y="524063"/>
                      </a:cubicBezTo>
                      <a:cubicBezTo>
                        <a:pt x="505874" y="412401"/>
                        <a:pt x="512900" y="300739"/>
                        <a:pt x="498848" y="203144"/>
                      </a:cubicBezTo>
                      <a:lnTo>
                        <a:pt x="498848" y="203144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73BA80AB-134E-E53C-0FFE-9541FFB6EC7D}"/>
                    </a:ext>
                  </a:extLst>
                </p:cNvPr>
                <p:cNvSpPr/>
                <p:nvPr/>
              </p:nvSpPr>
              <p:spPr>
                <a:xfrm>
                  <a:off x="-10853243" y="2453042"/>
                  <a:ext cx="330414" cy="535451"/>
                </a:xfrm>
                <a:custGeom>
                  <a:avLst/>
                  <a:gdLst>
                    <a:gd name="connsiteX0" fmla="*/ 328463 w 330414"/>
                    <a:gd name="connsiteY0" fmla="*/ 203982 h 535451"/>
                    <a:gd name="connsiteX1" fmla="*/ 328463 w 330414"/>
                    <a:gd name="connsiteY1" fmla="*/ 189035 h 535451"/>
                    <a:gd name="connsiteX2" fmla="*/ 288942 w 330414"/>
                    <a:gd name="connsiteY2" fmla="*/ 144194 h 535451"/>
                    <a:gd name="connsiteX3" fmla="*/ 287185 w 330414"/>
                    <a:gd name="connsiteY3" fmla="*/ 138918 h 535451"/>
                    <a:gd name="connsiteX4" fmla="*/ 229221 w 330414"/>
                    <a:gd name="connsiteY4" fmla="*/ 22860 h 535451"/>
                    <a:gd name="connsiteX5" fmla="*/ 193213 w 330414"/>
                    <a:gd name="connsiteY5" fmla="*/ 0 h 535451"/>
                    <a:gd name="connsiteX6" fmla="*/ 188822 w 330414"/>
                    <a:gd name="connsiteY6" fmla="*/ 1759 h 535451"/>
                    <a:gd name="connsiteX7" fmla="*/ 143153 w 330414"/>
                    <a:gd name="connsiteY7" fmla="*/ 187276 h 535451"/>
                    <a:gd name="connsiteX8" fmla="*/ 90459 w 330414"/>
                    <a:gd name="connsiteY8" fmla="*/ 154745 h 535451"/>
                    <a:gd name="connsiteX9" fmla="*/ 87824 w 330414"/>
                    <a:gd name="connsiteY9" fmla="*/ 243547 h 535451"/>
                    <a:gd name="connsiteX10" fmla="*/ 92215 w 330414"/>
                    <a:gd name="connsiteY10" fmla="*/ 248822 h 535451"/>
                    <a:gd name="connsiteX11" fmla="*/ 0 w 330414"/>
                    <a:gd name="connsiteY11" fmla="*/ 451925 h 535451"/>
                    <a:gd name="connsiteX12" fmla="*/ 191457 w 330414"/>
                    <a:gd name="connsiteY12" fmla="*/ 535452 h 535451"/>
                    <a:gd name="connsiteX13" fmla="*/ 223074 w 330414"/>
                    <a:gd name="connsiteY13" fmla="*/ 326195 h 535451"/>
                    <a:gd name="connsiteX14" fmla="*/ 234491 w 330414"/>
                    <a:gd name="connsiteY14" fmla="*/ 327074 h 535451"/>
                    <a:gd name="connsiteX15" fmla="*/ 295090 w 330414"/>
                    <a:gd name="connsiteY15" fmla="*/ 330591 h 535451"/>
                    <a:gd name="connsiteX16" fmla="*/ 316167 w 330414"/>
                    <a:gd name="connsiteY16" fmla="*/ 283112 h 535451"/>
                    <a:gd name="connsiteX17" fmla="*/ 327584 w 330414"/>
                    <a:gd name="connsiteY17" fmla="*/ 272562 h 535451"/>
                    <a:gd name="connsiteX18" fmla="*/ 307385 w 330414"/>
                    <a:gd name="connsiteY18" fmla="*/ 255856 h 535451"/>
                    <a:gd name="connsiteX19" fmla="*/ 326706 w 330414"/>
                    <a:gd name="connsiteY19" fmla="*/ 233875 h 535451"/>
                    <a:gd name="connsiteX20" fmla="*/ 317046 w 330414"/>
                    <a:gd name="connsiteY20" fmla="*/ 220687 h 535451"/>
                    <a:gd name="connsiteX21" fmla="*/ 317924 w 330414"/>
                    <a:gd name="connsiteY21" fmla="*/ 211015 h 535451"/>
                    <a:gd name="connsiteX22" fmla="*/ 328463 w 330414"/>
                    <a:gd name="connsiteY22" fmla="*/ 202223 h 535451"/>
                    <a:gd name="connsiteX23" fmla="*/ 328463 w 330414"/>
                    <a:gd name="connsiteY23" fmla="*/ 202223 h 535451"/>
                    <a:gd name="connsiteX24" fmla="*/ 328463 w 330414"/>
                    <a:gd name="connsiteY24" fmla="*/ 203982 h 535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0414" h="535451">
                      <a:moveTo>
                        <a:pt x="328463" y="203982"/>
                      </a:moveTo>
                      <a:cubicBezTo>
                        <a:pt x="328463" y="203982"/>
                        <a:pt x="332854" y="196068"/>
                        <a:pt x="328463" y="189035"/>
                      </a:cubicBezTo>
                      <a:lnTo>
                        <a:pt x="288942" y="144194"/>
                      </a:lnTo>
                      <a:cubicBezTo>
                        <a:pt x="288063" y="142435"/>
                        <a:pt x="287185" y="140677"/>
                        <a:pt x="287185" y="138918"/>
                      </a:cubicBezTo>
                      <a:cubicBezTo>
                        <a:pt x="281916" y="63305"/>
                        <a:pt x="229221" y="22860"/>
                        <a:pt x="229221" y="22860"/>
                      </a:cubicBezTo>
                      <a:cubicBezTo>
                        <a:pt x="214291" y="11430"/>
                        <a:pt x="200239" y="3517"/>
                        <a:pt x="193213" y="0"/>
                      </a:cubicBezTo>
                      <a:cubicBezTo>
                        <a:pt x="191457" y="0"/>
                        <a:pt x="190578" y="0"/>
                        <a:pt x="188822" y="1759"/>
                      </a:cubicBezTo>
                      <a:cubicBezTo>
                        <a:pt x="156327" y="80889"/>
                        <a:pt x="143153" y="187276"/>
                        <a:pt x="143153" y="187276"/>
                      </a:cubicBezTo>
                      <a:cubicBezTo>
                        <a:pt x="143153" y="187276"/>
                        <a:pt x="123832" y="136281"/>
                        <a:pt x="90459" y="154745"/>
                      </a:cubicBezTo>
                      <a:cubicBezTo>
                        <a:pt x="65868" y="167933"/>
                        <a:pt x="62355" y="210136"/>
                        <a:pt x="87824" y="243547"/>
                      </a:cubicBezTo>
                      <a:cubicBezTo>
                        <a:pt x="89581" y="245305"/>
                        <a:pt x="91337" y="247064"/>
                        <a:pt x="92215" y="248822"/>
                      </a:cubicBezTo>
                      <a:cubicBezTo>
                        <a:pt x="86068" y="286629"/>
                        <a:pt x="64112" y="383345"/>
                        <a:pt x="0" y="451925"/>
                      </a:cubicBezTo>
                      <a:cubicBezTo>
                        <a:pt x="23712" y="506437"/>
                        <a:pt x="104511" y="523142"/>
                        <a:pt x="191457" y="535452"/>
                      </a:cubicBezTo>
                      <a:cubicBezTo>
                        <a:pt x="191457" y="535452"/>
                        <a:pt x="214291" y="389499"/>
                        <a:pt x="223074" y="326195"/>
                      </a:cubicBezTo>
                      <a:cubicBezTo>
                        <a:pt x="230099" y="326195"/>
                        <a:pt x="234491" y="327074"/>
                        <a:pt x="234491" y="327074"/>
                      </a:cubicBezTo>
                      <a:cubicBezTo>
                        <a:pt x="254690" y="329712"/>
                        <a:pt x="275768" y="331470"/>
                        <a:pt x="295090" y="330591"/>
                      </a:cubicBezTo>
                      <a:cubicBezTo>
                        <a:pt x="295090" y="330591"/>
                        <a:pt x="338123" y="328832"/>
                        <a:pt x="316167" y="283112"/>
                      </a:cubicBezTo>
                      <a:lnTo>
                        <a:pt x="327584" y="272562"/>
                      </a:lnTo>
                      <a:cubicBezTo>
                        <a:pt x="327584" y="272562"/>
                        <a:pt x="331097" y="262011"/>
                        <a:pt x="307385" y="255856"/>
                      </a:cubicBezTo>
                      <a:cubicBezTo>
                        <a:pt x="307385" y="255856"/>
                        <a:pt x="332854" y="246185"/>
                        <a:pt x="326706" y="233875"/>
                      </a:cubicBezTo>
                      <a:lnTo>
                        <a:pt x="317046" y="220687"/>
                      </a:lnTo>
                      <a:cubicBezTo>
                        <a:pt x="315289" y="218049"/>
                        <a:pt x="315289" y="213653"/>
                        <a:pt x="317924" y="211015"/>
                      </a:cubicBezTo>
                      <a:lnTo>
                        <a:pt x="328463" y="202223"/>
                      </a:lnTo>
                      <a:lnTo>
                        <a:pt x="328463" y="202223"/>
                      </a:lnTo>
                      <a:lnTo>
                        <a:pt x="328463" y="203982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7443C785-7BDA-F950-1012-07668480D3C6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77F0ADE5-5B91-DD64-6DD4-40D6A78C4077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736447C8-5D9B-9EAF-64FF-AC5AD3432668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311B382C-BE6D-2B68-3C4B-21A1094E913B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82D153F7-5F55-69BE-30C0-442C386E83F8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B94DF912-32DE-A60C-E12D-0480ECFC1381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7D89D581-E36A-0C5F-3989-70CA31A14AD8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4E5DD3CB-1121-0168-9A37-FDF28551499D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1DEA8991-987D-9489-AE51-9CE22ACCBBA9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22137266-236D-E82A-1969-93A9A897D9B3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C2D5D3E6-B1AD-8216-CB1E-43E5329D0F9A}"/>
                    </a:ext>
                  </a:extLst>
                </p:cNvPr>
                <p:cNvSpPr/>
                <p:nvPr/>
              </p:nvSpPr>
              <p:spPr>
                <a:xfrm>
                  <a:off x="-10164051" y="2785601"/>
                  <a:ext cx="173697" cy="310719"/>
                </a:xfrm>
                <a:custGeom>
                  <a:avLst/>
                  <a:gdLst>
                    <a:gd name="connsiteX0" fmla="*/ 170607 w 173697"/>
                    <a:gd name="connsiteY0" fmla="*/ 68370 h 310719"/>
                    <a:gd name="connsiteX1" fmla="*/ 155677 w 173697"/>
                    <a:gd name="connsiteY1" fmla="*/ 77162 h 310719"/>
                    <a:gd name="connsiteX2" fmla="*/ 137234 w 173697"/>
                    <a:gd name="connsiteY2" fmla="*/ 135192 h 310719"/>
                    <a:gd name="connsiteX3" fmla="*/ 139869 w 173697"/>
                    <a:gd name="connsiteY3" fmla="*/ 28805 h 310719"/>
                    <a:gd name="connsiteX4" fmla="*/ 124061 w 173697"/>
                    <a:gd name="connsiteY4" fmla="*/ 42873 h 310719"/>
                    <a:gd name="connsiteX5" fmla="*/ 115278 w 173697"/>
                    <a:gd name="connsiteY5" fmla="*/ 100902 h 310719"/>
                    <a:gd name="connsiteX6" fmla="*/ 110887 w 173697"/>
                    <a:gd name="connsiteY6" fmla="*/ 119366 h 310719"/>
                    <a:gd name="connsiteX7" fmla="*/ 101226 w 173697"/>
                    <a:gd name="connsiteY7" fmla="*/ 2428 h 310719"/>
                    <a:gd name="connsiteX8" fmla="*/ 84540 w 173697"/>
                    <a:gd name="connsiteY8" fmla="*/ 34080 h 310719"/>
                    <a:gd name="connsiteX9" fmla="*/ 84540 w 173697"/>
                    <a:gd name="connsiteY9" fmla="*/ 100902 h 310719"/>
                    <a:gd name="connsiteX10" fmla="*/ 81905 w 173697"/>
                    <a:gd name="connsiteY10" fmla="*/ 105298 h 310719"/>
                    <a:gd name="connsiteX11" fmla="*/ 65218 w 173697"/>
                    <a:gd name="connsiteY11" fmla="*/ 25288 h 310719"/>
                    <a:gd name="connsiteX12" fmla="*/ 49410 w 173697"/>
                    <a:gd name="connsiteY12" fmla="*/ 25288 h 310719"/>
                    <a:gd name="connsiteX13" fmla="*/ 47654 w 173697"/>
                    <a:gd name="connsiteY13" fmla="*/ 133433 h 310719"/>
                    <a:gd name="connsiteX14" fmla="*/ 37993 w 173697"/>
                    <a:gd name="connsiteY14" fmla="*/ 156293 h 310719"/>
                    <a:gd name="connsiteX15" fmla="*/ 29210 w 173697"/>
                    <a:gd name="connsiteY15" fmla="*/ 119366 h 310719"/>
                    <a:gd name="connsiteX16" fmla="*/ 3741 w 173697"/>
                    <a:gd name="connsiteY16" fmla="*/ 84196 h 310719"/>
                    <a:gd name="connsiteX17" fmla="*/ 228 w 173697"/>
                    <a:gd name="connsiteY17" fmla="*/ 88592 h 310719"/>
                    <a:gd name="connsiteX18" fmla="*/ 1985 w 173697"/>
                    <a:gd name="connsiteY18" fmla="*/ 151897 h 310719"/>
                    <a:gd name="connsiteX19" fmla="*/ 1985 w 173697"/>
                    <a:gd name="connsiteY19" fmla="*/ 151897 h 310719"/>
                    <a:gd name="connsiteX20" fmla="*/ 7254 w 173697"/>
                    <a:gd name="connsiteY20" fmla="*/ 185308 h 310719"/>
                    <a:gd name="connsiteX21" fmla="*/ 35358 w 173697"/>
                    <a:gd name="connsiteY21" fmla="*/ 294332 h 310719"/>
                    <a:gd name="connsiteX22" fmla="*/ 37993 w 173697"/>
                    <a:gd name="connsiteY22" fmla="*/ 296970 h 310719"/>
                    <a:gd name="connsiteX23" fmla="*/ 108252 w 173697"/>
                    <a:gd name="connsiteY23" fmla="*/ 310159 h 310719"/>
                    <a:gd name="connsiteX24" fmla="*/ 132843 w 173697"/>
                    <a:gd name="connsiteY24" fmla="*/ 251250 h 310719"/>
                    <a:gd name="connsiteX25" fmla="*/ 155677 w 173697"/>
                    <a:gd name="connsiteY25" fmla="*/ 182670 h 310719"/>
                    <a:gd name="connsiteX26" fmla="*/ 161825 w 173697"/>
                    <a:gd name="connsiteY26" fmla="*/ 159810 h 310719"/>
                    <a:gd name="connsiteX27" fmla="*/ 169729 w 173697"/>
                    <a:gd name="connsiteY27" fmla="*/ 70129 h 310719"/>
                    <a:gd name="connsiteX28" fmla="*/ 169729 w 173697"/>
                    <a:gd name="connsiteY28" fmla="*/ 70129 h 310719"/>
                    <a:gd name="connsiteX29" fmla="*/ 169729 w 173697"/>
                    <a:gd name="connsiteY29" fmla="*/ 68370 h 310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3697" h="310719">
                      <a:moveTo>
                        <a:pt x="170607" y="68370"/>
                      </a:moveTo>
                      <a:cubicBezTo>
                        <a:pt x="158312" y="56940"/>
                        <a:pt x="155677" y="77162"/>
                        <a:pt x="155677" y="77162"/>
                      </a:cubicBezTo>
                      <a:cubicBezTo>
                        <a:pt x="155677" y="77162"/>
                        <a:pt x="145138" y="125520"/>
                        <a:pt x="137234" y="135192"/>
                      </a:cubicBezTo>
                      <a:cubicBezTo>
                        <a:pt x="138112" y="129037"/>
                        <a:pt x="155677" y="56061"/>
                        <a:pt x="139869" y="28805"/>
                      </a:cubicBezTo>
                      <a:cubicBezTo>
                        <a:pt x="139869" y="28805"/>
                        <a:pt x="124061" y="13858"/>
                        <a:pt x="124061" y="42873"/>
                      </a:cubicBezTo>
                      <a:cubicBezTo>
                        <a:pt x="124061" y="71887"/>
                        <a:pt x="115278" y="100902"/>
                        <a:pt x="115278" y="100902"/>
                      </a:cubicBezTo>
                      <a:lnTo>
                        <a:pt x="110887" y="119366"/>
                      </a:lnTo>
                      <a:cubicBezTo>
                        <a:pt x="110887" y="119366"/>
                        <a:pt x="118791" y="15616"/>
                        <a:pt x="101226" y="2428"/>
                      </a:cubicBezTo>
                      <a:cubicBezTo>
                        <a:pt x="83662" y="-10761"/>
                        <a:pt x="84540" y="34080"/>
                        <a:pt x="84540" y="34080"/>
                      </a:cubicBezTo>
                      <a:cubicBezTo>
                        <a:pt x="84540" y="34080"/>
                        <a:pt x="87174" y="86834"/>
                        <a:pt x="84540" y="100902"/>
                      </a:cubicBezTo>
                      <a:lnTo>
                        <a:pt x="81905" y="105298"/>
                      </a:lnTo>
                      <a:cubicBezTo>
                        <a:pt x="81905" y="105298"/>
                        <a:pt x="76635" y="40235"/>
                        <a:pt x="65218" y="25288"/>
                      </a:cubicBezTo>
                      <a:cubicBezTo>
                        <a:pt x="54679" y="10341"/>
                        <a:pt x="49410" y="13858"/>
                        <a:pt x="49410" y="25288"/>
                      </a:cubicBezTo>
                      <a:cubicBezTo>
                        <a:pt x="49410" y="36718"/>
                        <a:pt x="52923" y="120245"/>
                        <a:pt x="47654" y="133433"/>
                      </a:cubicBezTo>
                      <a:cubicBezTo>
                        <a:pt x="46775" y="136071"/>
                        <a:pt x="42384" y="148380"/>
                        <a:pt x="37993" y="156293"/>
                      </a:cubicBezTo>
                      <a:cubicBezTo>
                        <a:pt x="33602" y="144863"/>
                        <a:pt x="30089" y="128158"/>
                        <a:pt x="29210" y="119366"/>
                      </a:cubicBezTo>
                      <a:cubicBezTo>
                        <a:pt x="29210" y="92109"/>
                        <a:pt x="12524" y="85955"/>
                        <a:pt x="3741" y="84196"/>
                      </a:cubicBezTo>
                      <a:cubicBezTo>
                        <a:pt x="1107" y="84196"/>
                        <a:pt x="-650" y="85955"/>
                        <a:pt x="228" y="88592"/>
                      </a:cubicBezTo>
                      <a:cubicBezTo>
                        <a:pt x="6376" y="107056"/>
                        <a:pt x="3741" y="129916"/>
                        <a:pt x="1985" y="151897"/>
                      </a:cubicBezTo>
                      <a:lnTo>
                        <a:pt x="1985" y="151897"/>
                      </a:lnTo>
                      <a:cubicBezTo>
                        <a:pt x="1985" y="153656"/>
                        <a:pt x="1985" y="171240"/>
                        <a:pt x="7254" y="185308"/>
                      </a:cubicBezTo>
                      <a:cubicBezTo>
                        <a:pt x="11646" y="198496"/>
                        <a:pt x="32723" y="281144"/>
                        <a:pt x="35358" y="294332"/>
                      </a:cubicBezTo>
                      <a:cubicBezTo>
                        <a:pt x="35358" y="295212"/>
                        <a:pt x="36236" y="296091"/>
                        <a:pt x="37993" y="296970"/>
                      </a:cubicBezTo>
                      <a:cubicBezTo>
                        <a:pt x="48532" y="299608"/>
                        <a:pt x="102983" y="313676"/>
                        <a:pt x="108252" y="310159"/>
                      </a:cubicBezTo>
                      <a:cubicBezTo>
                        <a:pt x="117913" y="304004"/>
                        <a:pt x="122304" y="275869"/>
                        <a:pt x="132843" y="251250"/>
                      </a:cubicBezTo>
                      <a:cubicBezTo>
                        <a:pt x="150408" y="205530"/>
                        <a:pt x="154799" y="183549"/>
                        <a:pt x="155677" y="182670"/>
                      </a:cubicBezTo>
                      <a:lnTo>
                        <a:pt x="161825" y="159810"/>
                      </a:lnTo>
                      <a:cubicBezTo>
                        <a:pt x="161825" y="157173"/>
                        <a:pt x="182025" y="81559"/>
                        <a:pt x="169729" y="70129"/>
                      </a:cubicBezTo>
                      <a:lnTo>
                        <a:pt x="169729" y="70129"/>
                      </a:lnTo>
                      <a:lnTo>
                        <a:pt x="169729" y="68370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A62BADC6-8C41-ADB2-BB3B-1ACBFCAB9253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DD56409E-3291-F9B7-1F47-10A57517FF4E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00B90E16-26E6-B511-E158-11AD805B1B93}"/>
                    </a:ext>
                  </a:extLst>
                </p:cNvPr>
                <p:cNvSpPr/>
                <p:nvPr/>
              </p:nvSpPr>
              <p:spPr>
                <a:xfrm>
                  <a:off x="-11320983" y="2913759"/>
                  <a:ext cx="1280114" cy="783067"/>
                </a:xfrm>
                <a:custGeom>
                  <a:avLst/>
                  <a:gdLst>
                    <a:gd name="connsiteX0" fmla="*/ 376403 w 1280114"/>
                    <a:gd name="connsiteY0" fmla="*/ 725365 h 783067"/>
                    <a:gd name="connsiteX1" fmla="*/ 861193 w 1280114"/>
                    <a:gd name="connsiteY1" fmla="*/ 701626 h 783067"/>
                    <a:gd name="connsiteX2" fmla="*/ 848897 w 1280114"/>
                    <a:gd name="connsiteY2" fmla="*/ 524022 h 783067"/>
                    <a:gd name="connsiteX3" fmla="*/ 956921 w 1280114"/>
                    <a:gd name="connsiteY3" fmla="*/ 707781 h 783067"/>
                    <a:gd name="connsiteX4" fmla="*/ 1126422 w 1280114"/>
                    <a:gd name="connsiteY4" fmla="*/ 610186 h 783067"/>
                    <a:gd name="connsiteX5" fmla="*/ 1280115 w 1280114"/>
                    <a:gd name="connsiteY5" fmla="*/ 168812 h 783067"/>
                    <a:gd name="connsiteX6" fmla="*/ 1184386 w 1280114"/>
                    <a:gd name="connsiteY6" fmla="*/ 145952 h 783067"/>
                    <a:gd name="connsiteX7" fmla="*/ 1184386 w 1280114"/>
                    <a:gd name="connsiteY7" fmla="*/ 145952 h 783067"/>
                    <a:gd name="connsiteX8" fmla="*/ 1021033 w 1280114"/>
                    <a:gd name="connsiteY8" fmla="*/ 406205 h 783067"/>
                    <a:gd name="connsiteX9" fmla="*/ 989416 w 1280114"/>
                    <a:gd name="connsiteY9" fmla="*/ 291905 h 783067"/>
                    <a:gd name="connsiteX10" fmla="*/ 933209 w 1280114"/>
                    <a:gd name="connsiteY10" fmla="*/ 124851 h 783067"/>
                    <a:gd name="connsiteX11" fmla="*/ 858558 w 1280114"/>
                    <a:gd name="connsiteY11" fmla="*/ 50995 h 783067"/>
                    <a:gd name="connsiteX12" fmla="*/ 807620 w 1280114"/>
                    <a:gd name="connsiteY12" fmla="*/ 30773 h 783067"/>
                    <a:gd name="connsiteX13" fmla="*/ 670614 w 1280114"/>
                    <a:gd name="connsiteY13" fmla="*/ 0 h 783067"/>
                    <a:gd name="connsiteX14" fmla="*/ 457201 w 1280114"/>
                    <a:gd name="connsiteY14" fmla="*/ 0 h 783067"/>
                    <a:gd name="connsiteX15" fmla="*/ 307900 w 1280114"/>
                    <a:gd name="connsiteY15" fmla="*/ 54512 h 783067"/>
                    <a:gd name="connsiteX16" fmla="*/ 204267 w 1280114"/>
                    <a:gd name="connsiteY16" fmla="*/ 139798 h 783067"/>
                    <a:gd name="connsiteX17" fmla="*/ 1393 w 1280114"/>
                    <a:gd name="connsiteY17" fmla="*/ 654148 h 783067"/>
                    <a:gd name="connsiteX18" fmla="*/ 572251 w 1280114"/>
                    <a:gd name="connsiteY18" fmla="*/ 640080 h 783067"/>
                    <a:gd name="connsiteX19" fmla="*/ 536243 w 1280114"/>
                    <a:gd name="connsiteY19" fmla="*/ 545123 h 783067"/>
                    <a:gd name="connsiteX20" fmla="*/ 244667 w 1280114"/>
                    <a:gd name="connsiteY20" fmla="*/ 589964 h 783067"/>
                    <a:gd name="connsiteX21" fmla="*/ 328978 w 1280114"/>
                    <a:gd name="connsiteY21" fmla="*/ 436098 h 783067"/>
                    <a:gd name="connsiteX22" fmla="*/ 339517 w 1280114"/>
                    <a:gd name="connsiteY22" fmla="*/ 552157 h 783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80114" h="783067">
                      <a:moveTo>
                        <a:pt x="376403" y="725365"/>
                      </a:moveTo>
                      <a:lnTo>
                        <a:pt x="861193" y="701626"/>
                      </a:lnTo>
                      <a:lnTo>
                        <a:pt x="848897" y="524022"/>
                      </a:lnTo>
                      <a:cubicBezTo>
                        <a:pt x="867341" y="559191"/>
                        <a:pt x="905105" y="648872"/>
                        <a:pt x="956921" y="707781"/>
                      </a:cubicBezTo>
                      <a:cubicBezTo>
                        <a:pt x="1024546" y="785153"/>
                        <a:pt x="1107101" y="643597"/>
                        <a:pt x="1126422" y="610186"/>
                      </a:cubicBezTo>
                      <a:cubicBezTo>
                        <a:pt x="1209855" y="465113"/>
                        <a:pt x="1280115" y="168812"/>
                        <a:pt x="1280115" y="168812"/>
                      </a:cubicBezTo>
                      <a:lnTo>
                        <a:pt x="1184386" y="145952"/>
                      </a:lnTo>
                      <a:lnTo>
                        <a:pt x="1184386" y="145952"/>
                      </a:lnTo>
                      <a:lnTo>
                        <a:pt x="1021033" y="406205"/>
                      </a:lnTo>
                      <a:cubicBezTo>
                        <a:pt x="1011372" y="368398"/>
                        <a:pt x="1000833" y="329712"/>
                        <a:pt x="989416" y="291905"/>
                      </a:cubicBezTo>
                      <a:cubicBezTo>
                        <a:pt x="972730" y="226842"/>
                        <a:pt x="953408" y="166175"/>
                        <a:pt x="933209" y="124851"/>
                      </a:cubicBezTo>
                      <a:cubicBezTo>
                        <a:pt x="913887" y="85285"/>
                        <a:pt x="885784" y="65063"/>
                        <a:pt x="858558" y="50995"/>
                      </a:cubicBezTo>
                      <a:cubicBezTo>
                        <a:pt x="831333" y="36928"/>
                        <a:pt x="824307" y="35169"/>
                        <a:pt x="807620" y="30773"/>
                      </a:cubicBezTo>
                      <a:lnTo>
                        <a:pt x="670614" y="0"/>
                      </a:lnTo>
                      <a:cubicBezTo>
                        <a:pt x="657441" y="70338"/>
                        <a:pt x="516922" y="53633"/>
                        <a:pt x="457201" y="0"/>
                      </a:cubicBezTo>
                      <a:lnTo>
                        <a:pt x="307900" y="54512"/>
                      </a:lnTo>
                      <a:cubicBezTo>
                        <a:pt x="275405" y="58908"/>
                        <a:pt x="237641" y="79131"/>
                        <a:pt x="204267" y="139798"/>
                      </a:cubicBezTo>
                      <a:cubicBezTo>
                        <a:pt x="47940" y="427306"/>
                        <a:pt x="-10024" y="596118"/>
                        <a:pt x="1393" y="654148"/>
                      </a:cubicBezTo>
                      <a:cubicBezTo>
                        <a:pt x="57601" y="952207"/>
                        <a:pt x="572251" y="640080"/>
                        <a:pt x="572251" y="640080"/>
                      </a:cubicBezTo>
                      <a:lnTo>
                        <a:pt x="536243" y="545123"/>
                      </a:lnTo>
                      <a:cubicBezTo>
                        <a:pt x="536243" y="545123"/>
                        <a:pt x="250814" y="601394"/>
                        <a:pt x="244667" y="589964"/>
                      </a:cubicBezTo>
                      <a:lnTo>
                        <a:pt x="328978" y="436098"/>
                      </a:lnTo>
                      <a:cubicBezTo>
                        <a:pt x="328978" y="441374"/>
                        <a:pt x="333369" y="493248"/>
                        <a:pt x="339517" y="552157"/>
                      </a:cubicBezTo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770AB1CA-0E16-19FC-5390-152B13ADEA85}"/>
                    </a:ext>
                  </a:extLst>
                </p:cNvPr>
                <p:cNvSpPr/>
                <p:nvPr/>
              </p:nvSpPr>
              <p:spPr>
                <a:xfrm>
                  <a:off x="-10720884" y="2450565"/>
                  <a:ext cx="89252" cy="179202"/>
                </a:xfrm>
                <a:custGeom>
                  <a:avLst/>
                  <a:gdLst>
                    <a:gd name="connsiteX0" fmla="*/ 18698 w 89252"/>
                    <a:gd name="connsiteY0" fmla="*/ 178323 h 179202"/>
                    <a:gd name="connsiteX1" fmla="*/ 88080 w 89252"/>
                    <a:gd name="connsiteY1" fmla="*/ 20941 h 179202"/>
                    <a:gd name="connsiteX2" fmla="*/ 27481 w 89252"/>
                    <a:gd name="connsiteY2" fmla="*/ 719 h 179202"/>
                    <a:gd name="connsiteX3" fmla="*/ 18698 w 89252"/>
                    <a:gd name="connsiteY3" fmla="*/ 179202 h 179202"/>
                    <a:gd name="connsiteX4" fmla="*/ 18698 w 89252"/>
                    <a:gd name="connsiteY4" fmla="*/ 179202 h 17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252" h="179202">
                      <a:moveTo>
                        <a:pt x="18698" y="178323"/>
                      </a:moveTo>
                      <a:cubicBezTo>
                        <a:pt x="23968" y="120294"/>
                        <a:pt x="99497" y="83366"/>
                        <a:pt x="88080" y="20941"/>
                      </a:cubicBezTo>
                      <a:cubicBezTo>
                        <a:pt x="88080" y="20941"/>
                        <a:pt x="83688" y="-4557"/>
                        <a:pt x="27481" y="719"/>
                      </a:cubicBezTo>
                      <a:cubicBezTo>
                        <a:pt x="-28727" y="5994"/>
                        <a:pt x="18698" y="179202"/>
                        <a:pt x="18698" y="179202"/>
                      </a:cubicBezTo>
                      <a:lnTo>
                        <a:pt x="18698" y="179202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16FF1B71-56F3-775B-EF08-B644C1C7C482}"/>
                    </a:ext>
                  </a:extLst>
                </p:cNvPr>
                <p:cNvSpPr/>
                <p:nvPr/>
              </p:nvSpPr>
              <p:spPr>
                <a:xfrm>
                  <a:off x="-11045578" y="2762531"/>
                  <a:ext cx="272255" cy="216290"/>
                </a:xfrm>
                <a:custGeom>
                  <a:avLst/>
                  <a:gdLst>
                    <a:gd name="connsiteX0" fmla="*/ 272255 w 272255"/>
                    <a:gd name="connsiteY0" fmla="*/ 879 h 216290"/>
                    <a:gd name="connsiteX1" fmla="*/ 259960 w 272255"/>
                    <a:gd name="connsiteY1" fmla="*/ 216291 h 216290"/>
                    <a:gd name="connsiteX2" fmla="*/ 0 w 272255"/>
                    <a:gd name="connsiteY2" fmla="*/ 216291 h 216290"/>
                    <a:gd name="connsiteX3" fmla="*/ 62355 w 272255"/>
                    <a:gd name="connsiteY3" fmla="*/ 0 h 216290"/>
                    <a:gd name="connsiteX4" fmla="*/ 272255 w 272255"/>
                    <a:gd name="connsiteY4" fmla="*/ 0 h 216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2255" h="216290">
                      <a:moveTo>
                        <a:pt x="272255" y="879"/>
                      </a:moveTo>
                      <a:cubicBezTo>
                        <a:pt x="272255" y="879"/>
                        <a:pt x="221317" y="162658"/>
                        <a:pt x="259960" y="216291"/>
                      </a:cubicBezTo>
                      <a:lnTo>
                        <a:pt x="0" y="216291"/>
                      </a:lnTo>
                      <a:lnTo>
                        <a:pt x="62355" y="0"/>
                      </a:lnTo>
                      <a:lnTo>
                        <a:pt x="272255" y="0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3C825090-6A1C-9378-EDC1-1F9FB518C703}"/>
                  </a:ext>
                </a:extLst>
              </p:cNvPr>
              <p:cNvSpPr/>
              <p:nvPr/>
            </p:nvSpPr>
            <p:spPr>
              <a:xfrm>
                <a:off x="-10873775" y="3549442"/>
                <a:ext cx="180674" cy="261131"/>
              </a:xfrm>
              <a:custGeom>
                <a:avLst/>
                <a:gdLst>
                  <a:gd name="connsiteX0" fmla="*/ 180372 w 180674"/>
                  <a:gd name="connsiteY0" fmla="*/ 220687 h 261131"/>
                  <a:gd name="connsiteX1" fmla="*/ 149633 w 180674"/>
                  <a:gd name="connsiteY1" fmla="*/ 182001 h 261131"/>
                  <a:gd name="connsiteX2" fmla="*/ 93426 w 180674"/>
                  <a:gd name="connsiteY2" fmla="*/ 149469 h 261131"/>
                  <a:gd name="connsiteX3" fmla="*/ 122408 w 180674"/>
                  <a:gd name="connsiteY3" fmla="*/ 0 h 261131"/>
                  <a:gd name="connsiteX4" fmla="*/ 37218 w 180674"/>
                  <a:gd name="connsiteY4" fmla="*/ 0 h 261131"/>
                  <a:gd name="connsiteX5" fmla="*/ 18775 w 180674"/>
                  <a:gd name="connsiteY5" fmla="*/ 135401 h 261131"/>
                  <a:gd name="connsiteX6" fmla="*/ 3845 w 180674"/>
                  <a:gd name="connsiteY6" fmla="*/ 186397 h 261131"/>
                  <a:gd name="connsiteX7" fmla="*/ 86400 w 180674"/>
                  <a:gd name="connsiteY7" fmla="*/ 232117 h 261131"/>
                  <a:gd name="connsiteX8" fmla="*/ 136460 w 180674"/>
                  <a:gd name="connsiteY8" fmla="*/ 249701 h 261131"/>
                  <a:gd name="connsiteX9" fmla="*/ 166320 w 180674"/>
                  <a:gd name="connsiteY9" fmla="*/ 261131 h 261131"/>
                  <a:gd name="connsiteX10" fmla="*/ 179494 w 180674"/>
                  <a:gd name="connsiteY10" fmla="*/ 220687 h 261131"/>
                  <a:gd name="connsiteX11" fmla="*/ 180372 w 180674"/>
                  <a:gd name="connsiteY11" fmla="*/ 220687 h 26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0674" h="261131">
                    <a:moveTo>
                      <a:pt x="180372" y="220687"/>
                    </a:moveTo>
                    <a:cubicBezTo>
                      <a:pt x="183007" y="188155"/>
                      <a:pt x="168076" y="188155"/>
                      <a:pt x="149633" y="182001"/>
                    </a:cubicBezTo>
                    <a:cubicBezTo>
                      <a:pt x="123286" y="172329"/>
                      <a:pt x="93426" y="149469"/>
                      <a:pt x="93426" y="149469"/>
                    </a:cubicBezTo>
                    <a:lnTo>
                      <a:pt x="122408" y="0"/>
                    </a:lnTo>
                    <a:lnTo>
                      <a:pt x="37218" y="0"/>
                    </a:lnTo>
                    <a:lnTo>
                      <a:pt x="18775" y="135401"/>
                    </a:lnTo>
                    <a:cubicBezTo>
                      <a:pt x="18775" y="135401"/>
                      <a:pt x="-10207" y="163537"/>
                      <a:pt x="3845" y="186397"/>
                    </a:cubicBezTo>
                    <a:cubicBezTo>
                      <a:pt x="17019" y="209257"/>
                      <a:pt x="53905" y="201344"/>
                      <a:pt x="86400" y="232117"/>
                    </a:cubicBezTo>
                    <a:cubicBezTo>
                      <a:pt x="103087" y="247943"/>
                      <a:pt x="112747" y="246185"/>
                      <a:pt x="136460" y="249701"/>
                    </a:cubicBezTo>
                    <a:cubicBezTo>
                      <a:pt x="143486" y="250581"/>
                      <a:pt x="146999" y="261131"/>
                      <a:pt x="166320" y="261131"/>
                    </a:cubicBezTo>
                    <a:cubicBezTo>
                      <a:pt x="185641" y="261131"/>
                      <a:pt x="178616" y="235634"/>
                      <a:pt x="179494" y="220687"/>
                    </a:cubicBezTo>
                    <a:lnTo>
                      <a:pt x="180372" y="220687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519930F5-274C-60A9-1CB0-1C576481371F}"/>
                  </a:ext>
                </a:extLst>
              </p:cNvPr>
              <p:cNvSpPr/>
              <p:nvPr/>
            </p:nvSpPr>
            <p:spPr>
              <a:xfrm>
                <a:off x="-11018818" y="3375937"/>
                <a:ext cx="366021" cy="167529"/>
              </a:xfrm>
              <a:custGeom>
                <a:avLst/>
                <a:gdLst>
                  <a:gd name="connsiteX0" fmla="*/ 3979 w 366021"/>
                  <a:gd name="connsiteY0" fmla="*/ 97012 h 167529"/>
                  <a:gd name="connsiteX1" fmla="*/ 206853 w 366021"/>
                  <a:gd name="connsiteY1" fmla="*/ 125148 h 167529"/>
                  <a:gd name="connsiteX2" fmla="*/ 364058 w 366021"/>
                  <a:gd name="connsiteY2" fmla="*/ 154162 h 167529"/>
                  <a:gd name="connsiteX3" fmla="*/ 311364 w 366021"/>
                  <a:gd name="connsiteY3" fmla="*/ 52171 h 167529"/>
                  <a:gd name="connsiteX4" fmla="*/ 154158 w 366021"/>
                  <a:gd name="connsiteY4" fmla="*/ 297 h 167529"/>
                  <a:gd name="connsiteX5" fmla="*/ 3101 w 366021"/>
                  <a:gd name="connsiteY5" fmla="*/ 96133 h 167529"/>
                  <a:gd name="connsiteX6" fmla="*/ 3101 w 366021"/>
                  <a:gd name="connsiteY6" fmla="*/ 96133 h 16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021" h="167529">
                    <a:moveTo>
                      <a:pt x="3979" y="97012"/>
                    </a:moveTo>
                    <a:cubicBezTo>
                      <a:pt x="21544" y="145370"/>
                      <a:pt x="206853" y="125148"/>
                      <a:pt x="206853" y="125148"/>
                    </a:cubicBezTo>
                    <a:cubicBezTo>
                      <a:pt x="206853" y="125148"/>
                      <a:pt x="357910" y="196365"/>
                      <a:pt x="364058" y="154162"/>
                    </a:cubicBezTo>
                    <a:cubicBezTo>
                      <a:pt x="371084" y="111959"/>
                      <a:pt x="360545" y="62722"/>
                      <a:pt x="311364" y="52171"/>
                    </a:cubicBezTo>
                    <a:cubicBezTo>
                      <a:pt x="262182" y="41621"/>
                      <a:pt x="211244" y="-4099"/>
                      <a:pt x="154158" y="297"/>
                    </a:cubicBezTo>
                    <a:cubicBezTo>
                      <a:pt x="43500" y="11727"/>
                      <a:pt x="-14464" y="47775"/>
                      <a:pt x="3101" y="96133"/>
                    </a:cubicBezTo>
                    <a:lnTo>
                      <a:pt x="3101" y="9613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2EE8900E-CA8A-3872-9F65-43DDF02DA90F}"/>
                  </a:ext>
                </a:extLst>
              </p:cNvPr>
              <p:cNvSpPr/>
              <p:nvPr/>
            </p:nvSpPr>
            <p:spPr>
              <a:xfrm>
                <a:off x="-11008880" y="3582853"/>
                <a:ext cx="212722" cy="304647"/>
              </a:xfrm>
              <a:custGeom>
                <a:avLst/>
                <a:gdLst>
                  <a:gd name="connsiteX0" fmla="*/ 147733 w 212722"/>
                  <a:gd name="connsiteY0" fmla="*/ 229479 h 304647"/>
                  <a:gd name="connsiteX1" fmla="*/ 105577 w 212722"/>
                  <a:gd name="connsiteY1" fmla="*/ 181121 h 304647"/>
                  <a:gd name="connsiteX2" fmla="*/ 212723 w 212722"/>
                  <a:gd name="connsiteY2" fmla="*/ 0 h 304647"/>
                  <a:gd name="connsiteX3" fmla="*/ 89769 w 212722"/>
                  <a:gd name="connsiteY3" fmla="*/ 3517 h 304647"/>
                  <a:gd name="connsiteX4" fmla="*/ 31805 w 212722"/>
                  <a:gd name="connsiteY4" fmla="*/ 146831 h 304647"/>
                  <a:gd name="connsiteX5" fmla="*/ 1066 w 212722"/>
                  <a:gd name="connsiteY5" fmla="*/ 197827 h 304647"/>
                  <a:gd name="connsiteX6" fmla="*/ 48491 w 212722"/>
                  <a:gd name="connsiteY6" fmla="*/ 252339 h 304647"/>
                  <a:gd name="connsiteX7" fmla="*/ 90647 w 212722"/>
                  <a:gd name="connsiteY7" fmla="*/ 293663 h 304647"/>
                  <a:gd name="connsiteX8" fmla="*/ 113481 w 212722"/>
                  <a:gd name="connsiteY8" fmla="*/ 290146 h 304647"/>
                  <a:gd name="connsiteX9" fmla="*/ 134559 w 212722"/>
                  <a:gd name="connsiteY9" fmla="*/ 290146 h 304647"/>
                  <a:gd name="connsiteX10" fmla="*/ 156515 w 212722"/>
                  <a:gd name="connsiteY10" fmla="*/ 286629 h 304647"/>
                  <a:gd name="connsiteX11" fmla="*/ 169689 w 212722"/>
                  <a:gd name="connsiteY11" fmla="*/ 275199 h 304647"/>
                  <a:gd name="connsiteX12" fmla="*/ 146854 w 212722"/>
                  <a:gd name="connsiteY12" fmla="*/ 227721 h 304647"/>
                  <a:gd name="connsiteX13" fmla="*/ 146854 w 212722"/>
                  <a:gd name="connsiteY13" fmla="*/ 229479 h 30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2722" h="304647">
                    <a:moveTo>
                      <a:pt x="147733" y="229479"/>
                    </a:moveTo>
                    <a:cubicBezTo>
                      <a:pt x="124898" y="213653"/>
                      <a:pt x="105577" y="181121"/>
                      <a:pt x="105577" y="181121"/>
                    </a:cubicBezTo>
                    <a:cubicBezTo>
                      <a:pt x="120507" y="123971"/>
                      <a:pt x="212723" y="0"/>
                      <a:pt x="212723" y="0"/>
                    </a:cubicBezTo>
                    <a:lnTo>
                      <a:pt x="89769" y="3517"/>
                    </a:lnTo>
                    <a:lnTo>
                      <a:pt x="31805" y="146831"/>
                    </a:lnTo>
                    <a:cubicBezTo>
                      <a:pt x="31805" y="146831"/>
                      <a:pt x="-6838" y="172329"/>
                      <a:pt x="1066" y="197827"/>
                    </a:cubicBezTo>
                    <a:cubicBezTo>
                      <a:pt x="8970" y="223325"/>
                      <a:pt x="22144" y="215412"/>
                      <a:pt x="48491" y="252339"/>
                    </a:cubicBezTo>
                    <a:cubicBezTo>
                      <a:pt x="62543" y="273441"/>
                      <a:pt x="67813" y="288388"/>
                      <a:pt x="90647" y="293663"/>
                    </a:cubicBezTo>
                    <a:cubicBezTo>
                      <a:pt x="100307" y="311248"/>
                      <a:pt x="117872" y="305972"/>
                      <a:pt x="113481" y="290146"/>
                    </a:cubicBezTo>
                    <a:cubicBezTo>
                      <a:pt x="116994" y="303335"/>
                      <a:pt x="139828" y="305972"/>
                      <a:pt x="134559" y="290146"/>
                    </a:cubicBezTo>
                    <a:cubicBezTo>
                      <a:pt x="138072" y="302455"/>
                      <a:pt x="158271" y="294542"/>
                      <a:pt x="156515" y="286629"/>
                    </a:cubicBezTo>
                    <a:cubicBezTo>
                      <a:pt x="161784" y="294542"/>
                      <a:pt x="181106" y="286629"/>
                      <a:pt x="169689" y="275199"/>
                    </a:cubicBezTo>
                    <a:cubicBezTo>
                      <a:pt x="197792" y="262011"/>
                      <a:pt x="179349" y="248822"/>
                      <a:pt x="146854" y="227721"/>
                    </a:cubicBezTo>
                    <a:lnTo>
                      <a:pt x="146854" y="22947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187C5C15-EC15-B73A-2318-16E3C3A2E9CC}"/>
                  </a:ext>
                </a:extLst>
              </p:cNvPr>
              <p:cNvSpPr/>
              <p:nvPr/>
            </p:nvSpPr>
            <p:spPr>
              <a:xfrm>
                <a:off x="-10950752" y="2820159"/>
                <a:ext cx="273395" cy="309206"/>
              </a:xfrm>
              <a:custGeom>
                <a:avLst/>
                <a:gdLst>
                  <a:gd name="connsiteX0" fmla="*/ 158986 w 273395"/>
                  <a:gd name="connsiteY0" fmla="*/ 250103 h 309206"/>
                  <a:gd name="connsiteX1" fmla="*/ 218707 w 273395"/>
                  <a:gd name="connsiteY1" fmla="*/ 260653 h 309206"/>
                  <a:gd name="connsiteX2" fmla="*/ 241541 w 273395"/>
                  <a:gd name="connsiteY2" fmla="*/ 232518 h 309206"/>
                  <a:gd name="connsiteX3" fmla="*/ 249445 w 273395"/>
                  <a:gd name="connsiteY3" fmla="*/ 211417 h 309206"/>
                  <a:gd name="connsiteX4" fmla="*/ 239784 w 273395"/>
                  <a:gd name="connsiteY4" fmla="*/ 207900 h 309206"/>
                  <a:gd name="connsiteX5" fmla="*/ 258228 w 273395"/>
                  <a:gd name="connsiteY5" fmla="*/ 211417 h 309206"/>
                  <a:gd name="connsiteX6" fmla="*/ 256471 w 273395"/>
                  <a:gd name="connsiteY6" fmla="*/ 185919 h 309206"/>
                  <a:gd name="connsiteX7" fmla="*/ 267888 w 273395"/>
                  <a:gd name="connsiteY7" fmla="*/ 181523 h 309206"/>
                  <a:gd name="connsiteX8" fmla="*/ 270523 w 273395"/>
                  <a:gd name="connsiteY8" fmla="*/ 162180 h 309206"/>
                  <a:gd name="connsiteX9" fmla="*/ 255593 w 273395"/>
                  <a:gd name="connsiteY9" fmla="*/ 135803 h 309206"/>
                  <a:gd name="connsiteX10" fmla="*/ 263497 w 273395"/>
                  <a:gd name="connsiteY10" fmla="*/ 112064 h 309206"/>
                  <a:gd name="connsiteX11" fmla="*/ 91361 w 273395"/>
                  <a:gd name="connsiteY11" fmla="*/ 401 h 309206"/>
                  <a:gd name="connsiteX12" fmla="*/ 24 w 273395"/>
                  <a:gd name="connsiteY12" fmla="*/ 131407 h 309206"/>
                  <a:gd name="connsiteX13" fmla="*/ 38667 w 273395"/>
                  <a:gd name="connsiteY13" fmla="*/ 233397 h 309206"/>
                  <a:gd name="connsiteX14" fmla="*/ 7928 w 273395"/>
                  <a:gd name="connsiteY14" fmla="*/ 300219 h 309206"/>
                  <a:gd name="connsiteX15" fmla="*/ 154595 w 273395"/>
                  <a:gd name="connsiteY15" fmla="*/ 300219 h 309206"/>
                  <a:gd name="connsiteX16" fmla="*/ 158108 w 273395"/>
                  <a:gd name="connsiteY16" fmla="*/ 250982 h 30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3395" h="309206">
                    <a:moveTo>
                      <a:pt x="158986" y="250103"/>
                    </a:moveTo>
                    <a:cubicBezTo>
                      <a:pt x="195872" y="258895"/>
                      <a:pt x="205533" y="260653"/>
                      <a:pt x="218707" y="260653"/>
                    </a:cubicBezTo>
                    <a:cubicBezTo>
                      <a:pt x="231880" y="260653"/>
                      <a:pt x="236271" y="243948"/>
                      <a:pt x="241541" y="232518"/>
                    </a:cubicBezTo>
                    <a:cubicBezTo>
                      <a:pt x="254715" y="231639"/>
                      <a:pt x="258228" y="214934"/>
                      <a:pt x="249445" y="211417"/>
                    </a:cubicBezTo>
                    <a:cubicBezTo>
                      <a:pt x="240663" y="207900"/>
                      <a:pt x="244176" y="210537"/>
                      <a:pt x="239784" y="207900"/>
                    </a:cubicBezTo>
                    <a:cubicBezTo>
                      <a:pt x="248567" y="211417"/>
                      <a:pt x="252958" y="214054"/>
                      <a:pt x="258228" y="211417"/>
                    </a:cubicBezTo>
                    <a:cubicBezTo>
                      <a:pt x="263497" y="202624"/>
                      <a:pt x="256471" y="191194"/>
                      <a:pt x="256471" y="185919"/>
                    </a:cubicBezTo>
                    <a:cubicBezTo>
                      <a:pt x="256471" y="185919"/>
                      <a:pt x="260862" y="184160"/>
                      <a:pt x="267888" y="181523"/>
                    </a:cubicBezTo>
                    <a:cubicBezTo>
                      <a:pt x="273158" y="178885"/>
                      <a:pt x="275792" y="170093"/>
                      <a:pt x="270523" y="162180"/>
                    </a:cubicBezTo>
                    <a:cubicBezTo>
                      <a:pt x="265254" y="154267"/>
                      <a:pt x="258228" y="147233"/>
                      <a:pt x="255593" y="135803"/>
                    </a:cubicBezTo>
                    <a:cubicBezTo>
                      <a:pt x="259984" y="126131"/>
                      <a:pt x="263497" y="112064"/>
                      <a:pt x="263497" y="112064"/>
                    </a:cubicBezTo>
                    <a:cubicBezTo>
                      <a:pt x="292479" y="-12787"/>
                      <a:pt x="91361" y="401"/>
                      <a:pt x="91361" y="401"/>
                    </a:cubicBezTo>
                    <a:cubicBezTo>
                      <a:pt x="21980" y="10952"/>
                      <a:pt x="-854" y="80411"/>
                      <a:pt x="24" y="131407"/>
                    </a:cubicBezTo>
                    <a:cubicBezTo>
                      <a:pt x="903" y="182402"/>
                      <a:pt x="38667" y="233397"/>
                      <a:pt x="38667" y="233397"/>
                    </a:cubicBezTo>
                    <a:cubicBezTo>
                      <a:pt x="38667" y="233397"/>
                      <a:pt x="14954" y="279997"/>
                      <a:pt x="7928" y="300219"/>
                    </a:cubicBezTo>
                    <a:cubicBezTo>
                      <a:pt x="903" y="320441"/>
                      <a:pt x="154595" y="300219"/>
                      <a:pt x="154595" y="300219"/>
                    </a:cubicBezTo>
                    <a:lnTo>
                      <a:pt x="158108" y="250982"/>
                    </a:lnTo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E697AF1C-DBD2-E86B-4FD2-993A1C9F5EDD}"/>
                  </a:ext>
                </a:extLst>
              </p:cNvPr>
              <p:cNvSpPr/>
              <p:nvPr/>
            </p:nvSpPr>
            <p:spPr>
              <a:xfrm>
                <a:off x="-10796157" y="3405134"/>
                <a:ext cx="209436" cy="177361"/>
              </a:xfrm>
              <a:custGeom>
                <a:avLst/>
                <a:gdLst>
                  <a:gd name="connsiteX0" fmla="*/ 75529 w 209436"/>
                  <a:gd name="connsiteY0" fmla="*/ 33525 h 177361"/>
                  <a:gd name="connsiteX1" fmla="*/ 0 w 209436"/>
                  <a:gd name="connsiteY1" fmla="*/ 107380 h 177361"/>
                  <a:gd name="connsiteX2" fmla="*/ 11417 w 209436"/>
                  <a:gd name="connsiteY2" fmla="*/ 168047 h 177361"/>
                  <a:gd name="connsiteX3" fmla="*/ 155449 w 209436"/>
                  <a:gd name="connsiteY3" fmla="*/ 172444 h 177361"/>
                  <a:gd name="connsiteX4" fmla="*/ 196726 w 209436"/>
                  <a:gd name="connsiteY4" fmla="*/ 152221 h 177361"/>
                  <a:gd name="connsiteX5" fmla="*/ 196726 w 209436"/>
                  <a:gd name="connsiteY5" fmla="*/ 124965 h 177361"/>
                  <a:gd name="connsiteX6" fmla="*/ 167744 w 209436"/>
                  <a:gd name="connsiteY6" fmla="*/ 138154 h 177361"/>
                  <a:gd name="connsiteX7" fmla="*/ 196726 w 209436"/>
                  <a:gd name="connsiteY7" fmla="*/ 124965 h 177361"/>
                  <a:gd name="connsiteX8" fmla="*/ 202874 w 209436"/>
                  <a:gd name="connsiteY8" fmla="*/ 91554 h 177361"/>
                  <a:gd name="connsiteX9" fmla="*/ 165109 w 209436"/>
                  <a:gd name="connsiteY9" fmla="*/ 110018 h 177361"/>
                  <a:gd name="connsiteX10" fmla="*/ 202874 w 209436"/>
                  <a:gd name="connsiteY10" fmla="*/ 90675 h 177361"/>
                  <a:gd name="connsiteX11" fmla="*/ 194970 w 209436"/>
                  <a:gd name="connsiteY11" fmla="*/ 51110 h 177361"/>
                  <a:gd name="connsiteX12" fmla="*/ 160718 w 209436"/>
                  <a:gd name="connsiteY12" fmla="*/ 81883 h 177361"/>
                  <a:gd name="connsiteX13" fmla="*/ 187944 w 209436"/>
                  <a:gd name="connsiteY13" fmla="*/ 68694 h 177361"/>
                  <a:gd name="connsiteX14" fmla="*/ 185309 w 209436"/>
                  <a:gd name="connsiteY14" fmla="*/ 30887 h 177361"/>
                  <a:gd name="connsiteX15" fmla="*/ 136128 w 209436"/>
                  <a:gd name="connsiteY15" fmla="*/ 30008 h 177361"/>
                  <a:gd name="connsiteX16" fmla="*/ 159840 w 209436"/>
                  <a:gd name="connsiteY16" fmla="*/ 48472 h 177361"/>
                  <a:gd name="connsiteX17" fmla="*/ 140519 w 209436"/>
                  <a:gd name="connsiteY17" fmla="*/ 55506 h 177361"/>
                  <a:gd name="connsiteX18" fmla="*/ 108024 w 209436"/>
                  <a:gd name="connsiteY18" fmla="*/ 56385 h 177361"/>
                  <a:gd name="connsiteX19" fmla="*/ 144032 w 209436"/>
                  <a:gd name="connsiteY19" fmla="*/ 4510 h 177361"/>
                  <a:gd name="connsiteX20" fmla="*/ 75529 w 209436"/>
                  <a:gd name="connsiteY20" fmla="*/ 33525 h 17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09436" h="177361">
                    <a:moveTo>
                      <a:pt x="75529" y="33525"/>
                    </a:moveTo>
                    <a:cubicBezTo>
                      <a:pt x="64112" y="43197"/>
                      <a:pt x="0" y="107380"/>
                      <a:pt x="0" y="107380"/>
                    </a:cubicBezTo>
                    <a:cubicBezTo>
                      <a:pt x="0" y="107380"/>
                      <a:pt x="7904" y="151342"/>
                      <a:pt x="11417" y="168047"/>
                    </a:cubicBezTo>
                    <a:cubicBezTo>
                      <a:pt x="20199" y="174202"/>
                      <a:pt x="120319" y="182994"/>
                      <a:pt x="155449" y="172444"/>
                    </a:cubicBezTo>
                    <a:cubicBezTo>
                      <a:pt x="187066" y="162772"/>
                      <a:pt x="190578" y="159255"/>
                      <a:pt x="196726" y="152221"/>
                    </a:cubicBezTo>
                    <a:cubicBezTo>
                      <a:pt x="202874" y="145187"/>
                      <a:pt x="206387" y="118810"/>
                      <a:pt x="196726" y="124965"/>
                    </a:cubicBezTo>
                    <a:cubicBezTo>
                      <a:pt x="186187" y="136395"/>
                      <a:pt x="167744" y="138154"/>
                      <a:pt x="167744" y="138154"/>
                    </a:cubicBezTo>
                    <a:cubicBezTo>
                      <a:pt x="167744" y="138154"/>
                      <a:pt x="178283" y="138154"/>
                      <a:pt x="196726" y="124965"/>
                    </a:cubicBezTo>
                    <a:cubicBezTo>
                      <a:pt x="209900" y="114414"/>
                      <a:pt x="214291" y="98588"/>
                      <a:pt x="202874" y="91554"/>
                    </a:cubicBezTo>
                    <a:cubicBezTo>
                      <a:pt x="183553" y="110897"/>
                      <a:pt x="165109" y="110018"/>
                      <a:pt x="165109" y="110018"/>
                    </a:cubicBezTo>
                    <a:cubicBezTo>
                      <a:pt x="165109" y="110018"/>
                      <a:pt x="193213" y="104743"/>
                      <a:pt x="202874" y="90675"/>
                    </a:cubicBezTo>
                    <a:cubicBezTo>
                      <a:pt x="215169" y="73090"/>
                      <a:pt x="194970" y="44955"/>
                      <a:pt x="194970" y="51110"/>
                    </a:cubicBezTo>
                    <a:cubicBezTo>
                      <a:pt x="194970" y="65177"/>
                      <a:pt x="187066" y="72211"/>
                      <a:pt x="160718" y="81883"/>
                    </a:cubicBezTo>
                    <a:cubicBezTo>
                      <a:pt x="160718" y="81883"/>
                      <a:pt x="176527" y="81883"/>
                      <a:pt x="187944" y="68694"/>
                    </a:cubicBezTo>
                    <a:cubicBezTo>
                      <a:pt x="199361" y="55506"/>
                      <a:pt x="196726" y="40559"/>
                      <a:pt x="185309" y="30887"/>
                    </a:cubicBezTo>
                    <a:cubicBezTo>
                      <a:pt x="174770" y="21216"/>
                      <a:pt x="137884" y="23854"/>
                      <a:pt x="136128" y="30008"/>
                    </a:cubicBezTo>
                    <a:cubicBezTo>
                      <a:pt x="122076" y="69574"/>
                      <a:pt x="163353" y="45834"/>
                      <a:pt x="159840" y="48472"/>
                    </a:cubicBezTo>
                    <a:cubicBezTo>
                      <a:pt x="149301" y="54627"/>
                      <a:pt x="147545" y="53747"/>
                      <a:pt x="140519" y="55506"/>
                    </a:cubicBezTo>
                    <a:cubicBezTo>
                      <a:pt x="133493" y="57264"/>
                      <a:pt x="117684" y="57264"/>
                      <a:pt x="108024" y="56385"/>
                    </a:cubicBezTo>
                    <a:cubicBezTo>
                      <a:pt x="105389" y="53747"/>
                      <a:pt x="156327" y="22974"/>
                      <a:pt x="144032" y="4510"/>
                    </a:cubicBezTo>
                    <a:cubicBezTo>
                      <a:pt x="131736" y="-13953"/>
                      <a:pt x="79920" y="30008"/>
                      <a:pt x="75529" y="33525"/>
                    </a:cubicBez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60CB4E27-0D96-B831-7373-5D6F5BB57FBA}"/>
                  </a:ext>
                </a:extLst>
              </p:cNvPr>
              <p:cNvSpPr/>
              <p:nvPr/>
            </p:nvSpPr>
            <p:spPr>
              <a:xfrm>
                <a:off x="-10852365" y="3844864"/>
                <a:ext cx="13173" cy="14947"/>
              </a:xfrm>
              <a:custGeom>
                <a:avLst/>
                <a:gdLst>
                  <a:gd name="connsiteX0" fmla="*/ 0 w 13173"/>
                  <a:gd name="connsiteY0" fmla="*/ 0 h 14947"/>
                  <a:gd name="connsiteX1" fmla="*/ 13174 w 13173"/>
                  <a:gd name="connsiteY1" fmla="*/ 14947 h 14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73" h="14947">
                    <a:moveTo>
                      <a:pt x="0" y="0"/>
                    </a:moveTo>
                    <a:cubicBezTo>
                      <a:pt x="0" y="0"/>
                      <a:pt x="9660" y="7034"/>
                      <a:pt x="13174" y="14947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8AD474A2-C68B-80FB-9BFD-B51D1F503BB0}"/>
                  </a:ext>
                </a:extLst>
              </p:cNvPr>
              <p:cNvSpPr/>
              <p:nvPr/>
            </p:nvSpPr>
            <p:spPr>
              <a:xfrm>
                <a:off x="-10864660" y="3857173"/>
                <a:ext cx="12295" cy="13188"/>
              </a:xfrm>
              <a:custGeom>
                <a:avLst/>
                <a:gdLst>
                  <a:gd name="connsiteX0" fmla="*/ 0 w 12295"/>
                  <a:gd name="connsiteY0" fmla="*/ 0 h 13188"/>
                  <a:gd name="connsiteX1" fmla="*/ 12296 w 12295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5" h="13188">
                    <a:moveTo>
                      <a:pt x="0" y="0"/>
                    </a:moveTo>
                    <a:cubicBezTo>
                      <a:pt x="0" y="0"/>
                      <a:pt x="7904" y="5275"/>
                      <a:pt x="12296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3E68533B-DD3B-8007-4BFF-3B5001F43F32}"/>
                  </a:ext>
                </a:extLst>
              </p:cNvPr>
              <p:cNvSpPr/>
              <p:nvPr/>
            </p:nvSpPr>
            <p:spPr>
              <a:xfrm>
                <a:off x="-10881347" y="3861569"/>
                <a:ext cx="7904" cy="13188"/>
              </a:xfrm>
              <a:custGeom>
                <a:avLst/>
                <a:gdLst>
                  <a:gd name="connsiteX0" fmla="*/ 0 w 7904"/>
                  <a:gd name="connsiteY0" fmla="*/ 0 h 13188"/>
                  <a:gd name="connsiteX1" fmla="*/ 7904 w 7904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4" h="13188">
                    <a:moveTo>
                      <a:pt x="0" y="0"/>
                    </a:moveTo>
                    <a:cubicBezTo>
                      <a:pt x="0" y="0"/>
                      <a:pt x="4391" y="3517"/>
                      <a:pt x="7904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1076C015-C795-6FFF-2699-CE6C8DD920B1}"/>
                  </a:ext>
                </a:extLst>
              </p:cNvPr>
              <p:cNvSpPr/>
              <p:nvPr/>
            </p:nvSpPr>
            <p:spPr>
              <a:xfrm>
                <a:off x="-10903303" y="3862448"/>
                <a:ext cx="8782" cy="12309"/>
              </a:xfrm>
              <a:custGeom>
                <a:avLst/>
                <a:gdLst>
                  <a:gd name="connsiteX0" fmla="*/ 0 w 8782"/>
                  <a:gd name="connsiteY0" fmla="*/ 0 h 12309"/>
                  <a:gd name="connsiteX1" fmla="*/ 8782 w 8782"/>
                  <a:gd name="connsiteY1" fmla="*/ 12309 h 1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2" h="12309">
                    <a:moveTo>
                      <a:pt x="0" y="0"/>
                    </a:moveTo>
                    <a:cubicBezTo>
                      <a:pt x="0" y="0"/>
                      <a:pt x="5270" y="2638"/>
                      <a:pt x="8782" y="12309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C0D49CF7-1E6D-4B7D-11E8-472FC02E60F7}"/>
                  </a:ext>
                </a:extLst>
              </p:cNvPr>
              <p:cNvSpPr/>
              <p:nvPr/>
            </p:nvSpPr>
            <p:spPr>
              <a:xfrm>
                <a:off x="-10717115" y="3779801"/>
                <a:ext cx="25468" cy="20222"/>
              </a:xfrm>
              <a:custGeom>
                <a:avLst/>
                <a:gdLst>
                  <a:gd name="connsiteX0" fmla="*/ 0 w 25468"/>
                  <a:gd name="connsiteY0" fmla="*/ 0 h 20222"/>
                  <a:gd name="connsiteX1" fmla="*/ 25469 w 25468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68" h="20222">
                    <a:moveTo>
                      <a:pt x="0" y="0"/>
                    </a:moveTo>
                    <a:cubicBezTo>
                      <a:pt x="0" y="0"/>
                      <a:pt x="25469" y="4396"/>
                      <a:pt x="25469" y="20222"/>
                    </a:cubicBezTo>
                  </a:path>
                </a:pathLst>
              </a:custGeom>
              <a:solidFill>
                <a:srgbClr val="FA69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F27F05B9-885A-5710-C8DD-5BDCDE052932}"/>
                  </a:ext>
                </a:extLst>
              </p:cNvPr>
              <p:cNvSpPr/>
              <p:nvPr/>
            </p:nvSpPr>
            <p:spPr>
              <a:xfrm>
                <a:off x="-10712724" y="3765733"/>
                <a:ext cx="20199" cy="17584"/>
              </a:xfrm>
              <a:custGeom>
                <a:avLst/>
                <a:gdLst>
                  <a:gd name="connsiteX0" fmla="*/ 0 w 20199"/>
                  <a:gd name="connsiteY0" fmla="*/ 0 h 17584"/>
                  <a:gd name="connsiteX1" fmla="*/ 20199 w 20199"/>
                  <a:gd name="connsiteY1" fmla="*/ 17585 h 17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99" h="17584">
                    <a:moveTo>
                      <a:pt x="0" y="0"/>
                    </a:moveTo>
                    <a:cubicBezTo>
                      <a:pt x="0" y="0"/>
                      <a:pt x="19321" y="0"/>
                      <a:pt x="20199" y="17585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7BB1371-AF59-CE54-0C17-CC6255E4823F}"/>
                  </a:ext>
                </a:extLst>
              </p:cNvPr>
              <p:cNvSpPr/>
              <p:nvPr/>
            </p:nvSpPr>
            <p:spPr>
              <a:xfrm>
                <a:off x="-10709211" y="3752545"/>
                <a:ext cx="18815" cy="20222"/>
              </a:xfrm>
              <a:custGeom>
                <a:avLst/>
                <a:gdLst>
                  <a:gd name="connsiteX0" fmla="*/ 0 w 18815"/>
                  <a:gd name="connsiteY0" fmla="*/ 0 h 20222"/>
                  <a:gd name="connsiteX1" fmla="*/ 16687 w 18815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15" h="20222">
                    <a:moveTo>
                      <a:pt x="0" y="0"/>
                    </a:moveTo>
                    <a:cubicBezTo>
                      <a:pt x="0" y="0"/>
                      <a:pt x="26347" y="2638"/>
                      <a:pt x="16687" y="20222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036FEBAA-9BE8-0DFF-1308-CED64FA4A4A2}"/>
                  </a:ext>
                </a:extLst>
              </p:cNvPr>
              <p:cNvSpPr/>
              <p:nvPr/>
            </p:nvSpPr>
            <p:spPr>
              <a:xfrm>
                <a:off x="-10873076" y="3190858"/>
                <a:ext cx="325400" cy="137155"/>
              </a:xfrm>
              <a:custGeom>
                <a:avLst/>
                <a:gdLst>
                  <a:gd name="connsiteX0" fmla="*/ 23346 w 325400"/>
                  <a:gd name="connsiteY0" fmla="*/ 55249 h 137155"/>
                  <a:gd name="connsiteX1" fmla="*/ 10173 w 325400"/>
                  <a:gd name="connsiteY1" fmla="*/ 137018 h 137155"/>
                  <a:gd name="connsiteX2" fmla="*/ 184065 w 325400"/>
                  <a:gd name="connsiteY2" fmla="*/ 103607 h 137155"/>
                  <a:gd name="connsiteX3" fmla="*/ 262228 w 325400"/>
                  <a:gd name="connsiteY3" fmla="*/ 107124 h 137155"/>
                  <a:gd name="connsiteX4" fmla="*/ 306141 w 325400"/>
                  <a:gd name="connsiteY4" fmla="*/ 90419 h 137155"/>
                  <a:gd name="connsiteX5" fmla="*/ 306141 w 325400"/>
                  <a:gd name="connsiteY5" fmla="*/ 70196 h 137155"/>
                  <a:gd name="connsiteX6" fmla="*/ 275402 w 325400"/>
                  <a:gd name="connsiteY6" fmla="*/ 85143 h 137155"/>
                  <a:gd name="connsiteX7" fmla="*/ 312288 w 325400"/>
                  <a:gd name="connsiteY7" fmla="*/ 65800 h 137155"/>
                  <a:gd name="connsiteX8" fmla="*/ 306141 w 325400"/>
                  <a:gd name="connsiteY8" fmla="*/ 47336 h 137155"/>
                  <a:gd name="connsiteX9" fmla="*/ 271011 w 325400"/>
                  <a:gd name="connsiteY9" fmla="*/ 64921 h 137155"/>
                  <a:gd name="connsiteX10" fmla="*/ 313166 w 325400"/>
                  <a:gd name="connsiteY10" fmla="*/ 41182 h 137155"/>
                  <a:gd name="connsiteX11" fmla="*/ 306141 w 325400"/>
                  <a:gd name="connsiteY11" fmla="*/ 23597 h 137155"/>
                  <a:gd name="connsiteX12" fmla="*/ 269254 w 325400"/>
                  <a:gd name="connsiteY12" fmla="*/ 46457 h 137155"/>
                  <a:gd name="connsiteX13" fmla="*/ 295601 w 325400"/>
                  <a:gd name="connsiteY13" fmla="*/ 31510 h 137155"/>
                  <a:gd name="connsiteX14" fmla="*/ 293845 w 325400"/>
                  <a:gd name="connsiteY14" fmla="*/ 10409 h 137155"/>
                  <a:gd name="connsiteX15" fmla="*/ 265741 w 325400"/>
                  <a:gd name="connsiteY15" fmla="*/ 29752 h 137155"/>
                  <a:gd name="connsiteX16" fmla="*/ 243785 w 325400"/>
                  <a:gd name="connsiteY16" fmla="*/ 35027 h 137155"/>
                  <a:gd name="connsiteX17" fmla="*/ 260472 w 325400"/>
                  <a:gd name="connsiteY17" fmla="*/ 2496 h 137155"/>
                  <a:gd name="connsiteX18" fmla="*/ 219194 w 325400"/>
                  <a:gd name="connsiteY18" fmla="*/ 30631 h 137155"/>
                  <a:gd name="connsiteX19" fmla="*/ 180552 w 325400"/>
                  <a:gd name="connsiteY19" fmla="*/ 60525 h 137155"/>
                  <a:gd name="connsiteX20" fmla="*/ 22468 w 325400"/>
                  <a:gd name="connsiteY20" fmla="*/ 57008 h 137155"/>
                  <a:gd name="connsiteX21" fmla="*/ 22468 w 325400"/>
                  <a:gd name="connsiteY21" fmla="*/ 55249 h 13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5400" h="137155">
                    <a:moveTo>
                      <a:pt x="23346" y="55249"/>
                    </a:moveTo>
                    <a:cubicBezTo>
                      <a:pt x="23346" y="59646"/>
                      <a:pt x="-18809" y="134380"/>
                      <a:pt x="10173" y="137018"/>
                    </a:cubicBezTo>
                    <a:cubicBezTo>
                      <a:pt x="39155" y="139656"/>
                      <a:pt x="184065" y="103607"/>
                      <a:pt x="184065" y="103607"/>
                    </a:cubicBezTo>
                    <a:cubicBezTo>
                      <a:pt x="188456" y="108003"/>
                      <a:pt x="235881" y="111520"/>
                      <a:pt x="262228" y="107124"/>
                    </a:cubicBezTo>
                    <a:cubicBezTo>
                      <a:pt x="288576" y="102728"/>
                      <a:pt x="294723" y="95694"/>
                      <a:pt x="306141" y="90419"/>
                    </a:cubicBezTo>
                    <a:cubicBezTo>
                      <a:pt x="323705" y="81626"/>
                      <a:pt x="317558" y="63162"/>
                      <a:pt x="306141" y="70196"/>
                    </a:cubicBezTo>
                    <a:cubicBezTo>
                      <a:pt x="294723" y="77230"/>
                      <a:pt x="275402" y="85143"/>
                      <a:pt x="275402" y="85143"/>
                    </a:cubicBezTo>
                    <a:cubicBezTo>
                      <a:pt x="275402" y="85143"/>
                      <a:pt x="302627" y="75472"/>
                      <a:pt x="312288" y="65800"/>
                    </a:cubicBezTo>
                    <a:cubicBezTo>
                      <a:pt x="326340" y="53491"/>
                      <a:pt x="324583" y="33269"/>
                      <a:pt x="306141" y="47336"/>
                    </a:cubicBezTo>
                    <a:cubicBezTo>
                      <a:pt x="289454" y="57887"/>
                      <a:pt x="271011" y="64921"/>
                      <a:pt x="271011" y="64921"/>
                    </a:cubicBezTo>
                    <a:cubicBezTo>
                      <a:pt x="271011" y="64921"/>
                      <a:pt x="299114" y="53491"/>
                      <a:pt x="313166" y="41182"/>
                    </a:cubicBezTo>
                    <a:cubicBezTo>
                      <a:pt x="339514" y="18322"/>
                      <a:pt x="316679" y="13046"/>
                      <a:pt x="306141" y="23597"/>
                    </a:cubicBezTo>
                    <a:cubicBezTo>
                      <a:pt x="295601" y="34148"/>
                      <a:pt x="283306" y="40303"/>
                      <a:pt x="269254" y="46457"/>
                    </a:cubicBezTo>
                    <a:cubicBezTo>
                      <a:pt x="269254" y="46457"/>
                      <a:pt x="282428" y="41182"/>
                      <a:pt x="295601" y="31510"/>
                    </a:cubicBezTo>
                    <a:cubicBezTo>
                      <a:pt x="308775" y="21839"/>
                      <a:pt x="303506" y="3375"/>
                      <a:pt x="293845" y="10409"/>
                    </a:cubicBezTo>
                    <a:cubicBezTo>
                      <a:pt x="284184" y="17443"/>
                      <a:pt x="273645" y="27114"/>
                      <a:pt x="265741" y="29752"/>
                    </a:cubicBezTo>
                    <a:cubicBezTo>
                      <a:pt x="257837" y="32389"/>
                      <a:pt x="249055" y="35906"/>
                      <a:pt x="243785" y="35027"/>
                    </a:cubicBezTo>
                    <a:cubicBezTo>
                      <a:pt x="242029" y="33269"/>
                      <a:pt x="268376" y="13046"/>
                      <a:pt x="260472" y="2496"/>
                    </a:cubicBezTo>
                    <a:cubicBezTo>
                      <a:pt x="252568" y="-8055"/>
                      <a:pt x="228855" y="17443"/>
                      <a:pt x="219194" y="30631"/>
                    </a:cubicBezTo>
                    <a:cubicBezTo>
                      <a:pt x="209534" y="43819"/>
                      <a:pt x="180552" y="60525"/>
                      <a:pt x="180552" y="60525"/>
                    </a:cubicBezTo>
                    <a:cubicBezTo>
                      <a:pt x="180552" y="60525"/>
                      <a:pt x="21590" y="53491"/>
                      <a:pt x="22468" y="57008"/>
                    </a:cubicBezTo>
                    <a:lnTo>
                      <a:pt x="22468" y="5524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EE84DAEA-DD1F-1B3A-004C-A825B4A5B5C8}"/>
                  </a:ext>
                </a:extLst>
              </p:cNvPr>
              <p:cNvSpPr/>
              <p:nvPr/>
            </p:nvSpPr>
            <p:spPr>
              <a:xfrm>
                <a:off x="-11123877" y="3076153"/>
                <a:ext cx="353347" cy="527140"/>
              </a:xfrm>
              <a:custGeom>
                <a:avLst/>
                <a:gdLst>
                  <a:gd name="connsiteX0" fmla="*/ 347041 w 353347"/>
                  <a:gd name="connsiteY0" fmla="*/ 59171 h 527140"/>
                  <a:gd name="connsiteX1" fmla="*/ 124846 w 353347"/>
                  <a:gd name="connsiteY1" fmla="*/ 41587 h 527140"/>
                  <a:gd name="connsiteX2" fmla="*/ 1013 w 353347"/>
                  <a:gd name="connsiteY2" fmla="*/ 360748 h 527140"/>
                  <a:gd name="connsiteX3" fmla="*/ 195983 w 353347"/>
                  <a:gd name="connsiteY3" fmla="*/ 474168 h 527140"/>
                  <a:gd name="connsiteX4" fmla="*/ 318937 w 353347"/>
                  <a:gd name="connsiteY4" fmla="*/ 518130 h 527140"/>
                  <a:gd name="connsiteX5" fmla="*/ 306642 w 353347"/>
                  <a:gd name="connsiteY5" fmla="*/ 409985 h 527140"/>
                  <a:gd name="connsiteX6" fmla="*/ 243408 w 353347"/>
                  <a:gd name="connsiteY6" fmla="*/ 346680 h 527140"/>
                  <a:gd name="connsiteX7" fmla="*/ 346163 w 353347"/>
                  <a:gd name="connsiteY7" fmla="*/ 59171 h 527140"/>
                  <a:gd name="connsiteX8" fmla="*/ 347041 w 353347"/>
                  <a:gd name="connsiteY8" fmla="*/ 59171 h 527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347" h="527140">
                    <a:moveTo>
                      <a:pt x="347041" y="59171"/>
                    </a:moveTo>
                    <a:cubicBezTo>
                      <a:pt x="306642" y="-15563"/>
                      <a:pt x="172271" y="-17322"/>
                      <a:pt x="124846" y="41587"/>
                    </a:cubicBezTo>
                    <a:cubicBezTo>
                      <a:pt x="77421" y="100495"/>
                      <a:pt x="-10404" y="242052"/>
                      <a:pt x="1013" y="360748"/>
                    </a:cubicBezTo>
                    <a:cubicBezTo>
                      <a:pt x="12431" y="479444"/>
                      <a:pt x="195983" y="474168"/>
                      <a:pt x="195983" y="474168"/>
                    </a:cubicBezTo>
                    <a:cubicBezTo>
                      <a:pt x="195983" y="474168"/>
                      <a:pt x="294346" y="553299"/>
                      <a:pt x="318937" y="518130"/>
                    </a:cubicBezTo>
                    <a:cubicBezTo>
                      <a:pt x="341772" y="486478"/>
                      <a:pt x="336502" y="450429"/>
                      <a:pt x="306642" y="409985"/>
                    </a:cubicBezTo>
                    <a:cubicBezTo>
                      <a:pt x="282929" y="377453"/>
                      <a:pt x="243408" y="346680"/>
                      <a:pt x="243408" y="346680"/>
                    </a:cubicBezTo>
                    <a:cubicBezTo>
                      <a:pt x="243408" y="346680"/>
                      <a:pt x="386562" y="133906"/>
                      <a:pt x="346163" y="59171"/>
                    </a:cubicBezTo>
                    <a:lnTo>
                      <a:pt x="347041" y="59171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22F4A8E3-A0E1-FB47-6851-008F8339F410}"/>
                  </a:ext>
                </a:extLst>
              </p:cNvPr>
              <p:cNvSpPr/>
              <p:nvPr/>
            </p:nvSpPr>
            <p:spPr>
              <a:xfrm>
                <a:off x="-11149211" y="3460640"/>
                <a:ext cx="378522" cy="220686"/>
              </a:xfrm>
              <a:custGeom>
                <a:avLst/>
                <a:gdLst>
                  <a:gd name="connsiteX0" fmla="*/ 0 w 378522"/>
                  <a:gd name="connsiteY0" fmla="*/ 0 h 220686"/>
                  <a:gd name="connsiteX1" fmla="*/ 361836 w 378522"/>
                  <a:gd name="connsiteY1" fmla="*/ 34290 h 220686"/>
                  <a:gd name="connsiteX2" fmla="*/ 378523 w 378522"/>
                  <a:gd name="connsiteY2" fmla="*/ 119575 h 220686"/>
                  <a:gd name="connsiteX3" fmla="*/ 82555 w 378522"/>
                  <a:gd name="connsiteY3" fmla="*/ 220687 h 220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22" h="220686">
                    <a:moveTo>
                      <a:pt x="0" y="0"/>
                    </a:moveTo>
                    <a:lnTo>
                      <a:pt x="361836" y="34290"/>
                    </a:lnTo>
                    <a:lnTo>
                      <a:pt x="378523" y="119575"/>
                    </a:lnTo>
                    <a:cubicBezTo>
                      <a:pt x="378523" y="119575"/>
                      <a:pt x="201996" y="198706"/>
                      <a:pt x="82555" y="22068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C3AD53ED-CB25-EF31-5D50-D4FA51C26707}"/>
                  </a:ext>
                </a:extLst>
              </p:cNvPr>
              <p:cNvSpPr/>
              <p:nvPr/>
            </p:nvSpPr>
            <p:spPr>
              <a:xfrm>
                <a:off x="-13480067" y="1704817"/>
                <a:ext cx="8782" cy="8792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8792"/>
                </a:pathLst>
              </a:custGeom>
              <a:solidFill>
                <a:srgbClr val="DD9C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EBF6A7CB-FFAA-959D-8B53-B994682B5095}"/>
                  </a:ext>
                </a:extLst>
              </p:cNvPr>
              <p:cNvSpPr/>
              <p:nvPr/>
            </p:nvSpPr>
            <p:spPr>
              <a:xfrm>
                <a:off x="-10950752" y="2817590"/>
                <a:ext cx="263053" cy="235087"/>
              </a:xfrm>
              <a:custGeom>
                <a:avLst/>
                <a:gdLst>
                  <a:gd name="connsiteX0" fmla="*/ 39545 w 263053"/>
                  <a:gd name="connsiteY0" fmla="*/ 235087 h 235087"/>
                  <a:gd name="connsiteX1" fmla="*/ 24 w 263053"/>
                  <a:gd name="connsiteY1" fmla="*/ 133096 h 235087"/>
                  <a:gd name="connsiteX2" fmla="*/ 91361 w 263053"/>
                  <a:gd name="connsiteY2" fmla="*/ 2091 h 235087"/>
                  <a:gd name="connsiteX3" fmla="*/ 259984 w 263053"/>
                  <a:gd name="connsiteY3" fmla="*/ 51328 h 235087"/>
                  <a:gd name="connsiteX4" fmla="*/ 189725 w 263053"/>
                  <a:gd name="connsiteY4" fmla="*/ 82980 h 235087"/>
                  <a:gd name="connsiteX5" fmla="*/ 173916 w 263053"/>
                  <a:gd name="connsiteY5" fmla="*/ 125183 h 235087"/>
                  <a:gd name="connsiteX6" fmla="*/ 144056 w 263053"/>
                  <a:gd name="connsiteY6" fmla="*/ 148043 h 235087"/>
                  <a:gd name="connsiteX7" fmla="*/ 122978 w 263053"/>
                  <a:gd name="connsiteY7" fmla="*/ 107599 h 235087"/>
                  <a:gd name="connsiteX8" fmla="*/ 124735 w 263053"/>
                  <a:gd name="connsiteY8" fmla="*/ 172662 h 235087"/>
                  <a:gd name="connsiteX9" fmla="*/ 82579 w 263053"/>
                  <a:gd name="connsiteY9" fmla="*/ 228053 h 235087"/>
                  <a:gd name="connsiteX10" fmla="*/ 37789 w 263053"/>
                  <a:gd name="connsiteY10" fmla="*/ 232449 h 235087"/>
                  <a:gd name="connsiteX11" fmla="*/ 39545 w 263053"/>
                  <a:gd name="connsiteY11" fmla="*/ 235087 h 23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3053" h="235087">
                    <a:moveTo>
                      <a:pt x="39545" y="235087"/>
                    </a:moveTo>
                    <a:cubicBezTo>
                      <a:pt x="39545" y="235087"/>
                      <a:pt x="1781" y="184092"/>
                      <a:pt x="24" y="133096"/>
                    </a:cubicBezTo>
                    <a:cubicBezTo>
                      <a:pt x="-854" y="82101"/>
                      <a:pt x="21980" y="13521"/>
                      <a:pt x="91361" y="2091"/>
                    </a:cubicBezTo>
                    <a:cubicBezTo>
                      <a:pt x="91361" y="2091"/>
                      <a:pt x="226611" y="-15494"/>
                      <a:pt x="259984" y="51328"/>
                    </a:cubicBezTo>
                    <a:cubicBezTo>
                      <a:pt x="276671" y="86497"/>
                      <a:pt x="221341" y="61879"/>
                      <a:pt x="189725" y="82980"/>
                    </a:cubicBezTo>
                    <a:cubicBezTo>
                      <a:pt x="172160" y="95289"/>
                      <a:pt x="173916" y="117270"/>
                      <a:pt x="173916" y="125183"/>
                    </a:cubicBezTo>
                    <a:cubicBezTo>
                      <a:pt x="173916" y="146285"/>
                      <a:pt x="158108" y="159473"/>
                      <a:pt x="144056" y="148043"/>
                    </a:cubicBezTo>
                    <a:cubicBezTo>
                      <a:pt x="137030" y="141889"/>
                      <a:pt x="155473" y="119908"/>
                      <a:pt x="122978" y="107599"/>
                    </a:cubicBezTo>
                    <a:cubicBezTo>
                      <a:pt x="81701" y="100565"/>
                      <a:pt x="90483" y="162990"/>
                      <a:pt x="124735" y="172662"/>
                    </a:cubicBezTo>
                    <a:cubicBezTo>
                      <a:pt x="104535" y="183212"/>
                      <a:pt x="105413" y="227174"/>
                      <a:pt x="82579" y="228053"/>
                    </a:cubicBezTo>
                    <a:lnTo>
                      <a:pt x="37789" y="232449"/>
                    </a:lnTo>
                    <a:lnTo>
                      <a:pt x="39545" y="235087"/>
                    </a:lnTo>
                    <a:close/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6137C620-3E58-3D09-C757-7FA10B7A1FDA}"/>
                  </a:ext>
                </a:extLst>
              </p:cNvPr>
              <p:cNvSpPr/>
              <p:nvPr/>
            </p:nvSpPr>
            <p:spPr>
              <a:xfrm>
                <a:off x="-11051904" y="2954985"/>
                <a:ext cx="132793" cy="93781"/>
              </a:xfrm>
              <a:custGeom>
                <a:avLst/>
                <a:gdLst>
                  <a:gd name="connsiteX0" fmla="*/ 122254 w 132793"/>
                  <a:gd name="connsiteY0" fmla="*/ 10648 h 93781"/>
                  <a:gd name="connsiteX1" fmla="*/ 39699 w 132793"/>
                  <a:gd name="connsiteY1" fmla="*/ 22957 h 93781"/>
                  <a:gd name="connsiteX2" fmla="*/ 13352 w 132793"/>
                  <a:gd name="connsiteY2" fmla="*/ 73074 h 93781"/>
                  <a:gd name="connsiteX3" fmla="*/ 44091 w 132793"/>
                  <a:gd name="connsiteY3" fmla="*/ 91537 h 93781"/>
                  <a:gd name="connsiteX4" fmla="*/ 132793 w 132793"/>
                  <a:gd name="connsiteY4" fmla="*/ 37904 h 9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793" h="93781">
                    <a:moveTo>
                      <a:pt x="122254" y="10648"/>
                    </a:moveTo>
                    <a:cubicBezTo>
                      <a:pt x="122254" y="10648"/>
                      <a:pt x="49360" y="-20125"/>
                      <a:pt x="39699" y="22957"/>
                    </a:cubicBezTo>
                    <a:cubicBezTo>
                      <a:pt x="30039" y="66040"/>
                      <a:pt x="29160" y="65161"/>
                      <a:pt x="13352" y="73074"/>
                    </a:cubicBezTo>
                    <a:cubicBezTo>
                      <a:pt x="-2456" y="80987"/>
                      <a:pt x="-15630" y="100330"/>
                      <a:pt x="44091" y="91537"/>
                    </a:cubicBezTo>
                    <a:cubicBezTo>
                      <a:pt x="103811" y="82745"/>
                      <a:pt x="132793" y="37904"/>
                      <a:pt x="132793" y="37904"/>
                    </a:cubicBezTo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D554ED38-1F12-E7E3-8974-957B7E737A14}"/>
                  </a:ext>
                </a:extLst>
              </p:cNvPr>
              <p:cNvSpPr/>
              <p:nvPr/>
            </p:nvSpPr>
            <p:spPr>
              <a:xfrm>
                <a:off x="-11003024" y="3268022"/>
                <a:ext cx="361090" cy="247097"/>
              </a:xfrm>
              <a:custGeom>
                <a:avLst/>
                <a:gdLst>
                  <a:gd name="connsiteX0" fmla="*/ 256048 w 361090"/>
                  <a:gd name="connsiteY0" fmla="*/ 231304 h 247097"/>
                  <a:gd name="connsiteX1" fmla="*/ 296447 w 361090"/>
                  <a:gd name="connsiteY1" fmla="*/ 246251 h 247097"/>
                  <a:gd name="connsiteX2" fmla="*/ 321916 w 361090"/>
                  <a:gd name="connsiteY2" fmla="*/ 230425 h 247097"/>
                  <a:gd name="connsiteX3" fmla="*/ 287665 w 361090"/>
                  <a:gd name="connsiteY3" fmla="*/ 224270 h 247097"/>
                  <a:gd name="connsiteX4" fmla="*/ 312256 w 361090"/>
                  <a:gd name="connsiteY4" fmla="*/ 231304 h 247097"/>
                  <a:gd name="connsiteX5" fmla="*/ 335090 w 361090"/>
                  <a:gd name="connsiteY5" fmla="*/ 208444 h 247097"/>
                  <a:gd name="connsiteX6" fmla="*/ 295569 w 361090"/>
                  <a:gd name="connsiteY6" fmla="*/ 205807 h 247097"/>
                  <a:gd name="connsiteX7" fmla="*/ 343873 w 361090"/>
                  <a:gd name="connsiteY7" fmla="*/ 205807 h 247097"/>
                  <a:gd name="connsiteX8" fmla="*/ 346507 w 361090"/>
                  <a:gd name="connsiteY8" fmla="*/ 188222 h 247097"/>
                  <a:gd name="connsiteX9" fmla="*/ 309621 w 361090"/>
                  <a:gd name="connsiteY9" fmla="*/ 188222 h 247097"/>
                  <a:gd name="connsiteX10" fmla="*/ 337725 w 361090"/>
                  <a:gd name="connsiteY10" fmla="*/ 190860 h 247097"/>
                  <a:gd name="connsiteX11" fmla="*/ 357046 w 361090"/>
                  <a:gd name="connsiteY11" fmla="*/ 169758 h 247097"/>
                  <a:gd name="connsiteX12" fmla="*/ 314890 w 361090"/>
                  <a:gd name="connsiteY12" fmla="*/ 166241 h 247097"/>
                  <a:gd name="connsiteX13" fmla="*/ 298204 w 361090"/>
                  <a:gd name="connsiteY13" fmla="*/ 154811 h 247097"/>
                  <a:gd name="connsiteX14" fmla="*/ 335968 w 361090"/>
                  <a:gd name="connsiteY14" fmla="*/ 130193 h 247097"/>
                  <a:gd name="connsiteX15" fmla="*/ 290300 w 361090"/>
                  <a:gd name="connsiteY15" fmla="*/ 132830 h 247097"/>
                  <a:gd name="connsiteX16" fmla="*/ 221797 w 361090"/>
                  <a:gd name="connsiteY16" fmla="*/ 143381 h 247097"/>
                  <a:gd name="connsiteX17" fmla="*/ 117286 w 361090"/>
                  <a:gd name="connsiteY17" fmla="*/ 52821 h 247097"/>
                  <a:gd name="connsiteX18" fmla="*/ 1358 w 361090"/>
                  <a:gd name="connsiteY18" fmla="*/ 1825 h 247097"/>
                  <a:gd name="connsiteX19" fmla="*/ 31218 w 361090"/>
                  <a:gd name="connsiteY19" fmla="*/ 117004 h 247097"/>
                  <a:gd name="connsiteX20" fmla="*/ 205110 w 361090"/>
                  <a:gd name="connsiteY20" fmla="*/ 197894 h 247097"/>
                  <a:gd name="connsiteX21" fmla="*/ 257805 w 361090"/>
                  <a:gd name="connsiteY21" fmla="*/ 233942 h 247097"/>
                  <a:gd name="connsiteX22" fmla="*/ 256048 w 361090"/>
                  <a:gd name="connsiteY22" fmla="*/ 231304 h 24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61090" h="247097">
                    <a:moveTo>
                      <a:pt x="256048" y="231304"/>
                    </a:moveTo>
                    <a:cubicBezTo>
                      <a:pt x="277126" y="242734"/>
                      <a:pt x="288543" y="244493"/>
                      <a:pt x="296447" y="246251"/>
                    </a:cubicBezTo>
                    <a:cubicBezTo>
                      <a:pt x="314890" y="251527"/>
                      <a:pt x="323673" y="230425"/>
                      <a:pt x="321916" y="230425"/>
                    </a:cubicBezTo>
                    <a:cubicBezTo>
                      <a:pt x="302595" y="233063"/>
                      <a:pt x="287665" y="224270"/>
                      <a:pt x="287665" y="224270"/>
                    </a:cubicBezTo>
                    <a:cubicBezTo>
                      <a:pt x="287665" y="224270"/>
                      <a:pt x="296447" y="230425"/>
                      <a:pt x="312256" y="231304"/>
                    </a:cubicBezTo>
                    <a:cubicBezTo>
                      <a:pt x="331577" y="233942"/>
                      <a:pt x="350020" y="216357"/>
                      <a:pt x="335090" y="208444"/>
                    </a:cubicBezTo>
                    <a:cubicBezTo>
                      <a:pt x="315769" y="211082"/>
                      <a:pt x="295569" y="205807"/>
                      <a:pt x="295569" y="205807"/>
                    </a:cubicBezTo>
                    <a:cubicBezTo>
                      <a:pt x="295569" y="205807"/>
                      <a:pt x="330699" y="214599"/>
                      <a:pt x="343873" y="205807"/>
                    </a:cubicBezTo>
                    <a:cubicBezTo>
                      <a:pt x="356168" y="196135"/>
                      <a:pt x="350898" y="186464"/>
                      <a:pt x="346507" y="188222"/>
                    </a:cubicBezTo>
                    <a:cubicBezTo>
                      <a:pt x="342116" y="189980"/>
                      <a:pt x="327186" y="196135"/>
                      <a:pt x="309621" y="188222"/>
                    </a:cubicBezTo>
                    <a:cubicBezTo>
                      <a:pt x="309621" y="188222"/>
                      <a:pt x="324551" y="192618"/>
                      <a:pt x="337725" y="190860"/>
                    </a:cubicBezTo>
                    <a:cubicBezTo>
                      <a:pt x="350898" y="189101"/>
                      <a:pt x="369342" y="175913"/>
                      <a:pt x="357046" y="169758"/>
                    </a:cubicBezTo>
                    <a:cubicBezTo>
                      <a:pt x="344751" y="163603"/>
                      <a:pt x="327186" y="172396"/>
                      <a:pt x="314890" y="166241"/>
                    </a:cubicBezTo>
                    <a:cubicBezTo>
                      <a:pt x="313134" y="165362"/>
                      <a:pt x="302595" y="158328"/>
                      <a:pt x="298204" y="154811"/>
                    </a:cubicBezTo>
                    <a:cubicBezTo>
                      <a:pt x="298204" y="152174"/>
                      <a:pt x="333334" y="145140"/>
                      <a:pt x="335968" y="130193"/>
                    </a:cubicBezTo>
                    <a:cubicBezTo>
                      <a:pt x="338603" y="115246"/>
                      <a:pt x="294691" y="132830"/>
                      <a:pt x="290300" y="132830"/>
                    </a:cubicBezTo>
                    <a:cubicBezTo>
                      <a:pt x="279761" y="133710"/>
                      <a:pt x="221797" y="143381"/>
                      <a:pt x="221797" y="143381"/>
                    </a:cubicBezTo>
                    <a:cubicBezTo>
                      <a:pt x="221797" y="143381"/>
                      <a:pt x="121677" y="45787"/>
                      <a:pt x="117286" y="52821"/>
                    </a:cubicBezTo>
                    <a:cubicBezTo>
                      <a:pt x="112895" y="59854"/>
                      <a:pt x="-14451" y="-12243"/>
                      <a:pt x="1358" y="1825"/>
                    </a:cubicBezTo>
                    <a:cubicBezTo>
                      <a:pt x="17166" y="15893"/>
                      <a:pt x="-13572" y="94144"/>
                      <a:pt x="31218" y="117004"/>
                    </a:cubicBezTo>
                    <a:cubicBezTo>
                      <a:pt x="76009" y="139864"/>
                      <a:pt x="206867" y="195256"/>
                      <a:pt x="205110" y="197894"/>
                    </a:cubicBezTo>
                    <a:cubicBezTo>
                      <a:pt x="205110" y="197894"/>
                      <a:pt x="236727" y="222512"/>
                      <a:pt x="257805" y="233942"/>
                    </a:cubicBezTo>
                    <a:lnTo>
                      <a:pt x="256048" y="231304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AE8AB3A4-3C49-6063-ECA2-F8BE6E22978D}"/>
                  </a:ext>
                </a:extLst>
              </p:cNvPr>
              <p:cNvSpPr/>
              <p:nvPr/>
            </p:nvSpPr>
            <p:spPr>
              <a:xfrm>
                <a:off x="-11006568" y="3174890"/>
                <a:ext cx="157715" cy="150238"/>
              </a:xfrm>
              <a:custGeom>
                <a:avLst/>
                <a:gdLst>
                  <a:gd name="connsiteX0" fmla="*/ 157716 w 157715"/>
                  <a:gd name="connsiteY0" fmla="*/ 29894 h 150238"/>
                  <a:gd name="connsiteX1" fmla="*/ 134003 w 157715"/>
                  <a:gd name="connsiteY1" fmla="*/ 126609 h 150238"/>
                  <a:gd name="connsiteX2" fmla="*/ 1389 w 157715"/>
                  <a:gd name="connsiteY2" fmla="*/ 123092 h 150238"/>
                  <a:gd name="connsiteX3" fmla="*/ 35640 w 157715"/>
                  <a:gd name="connsiteY3" fmla="*/ 0 h 15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715" h="150238">
                    <a:moveTo>
                      <a:pt x="157716" y="29894"/>
                    </a:moveTo>
                    <a:cubicBezTo>
                      <a:pt x="157716" y="29894"/>
                      <a:pt x="149812" y="96715"/>
                      <a:pt x="134003" y="126609"/>
                    </a:cubicBezTo>
                    <a:cubicBezTo>
                      <a:pt x="116438" y="167054"/>
                      <a:pt x="22467" y="148590"/>
                      <a:pt x="1389" y="123092"/>
                    </a:cubicBezTo>
                    <a:cubicBezTo>
                      <a:pt x="-8272" y="57150"/>
                      <a:pt x="35640" y="0"/>
                      <a:pt x="35640" y="0"/>
                    </a:cubicBezTo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922028-2E14-3967-4907-745822809B03}"/>
                </a:ext>
              </a:extLst>
            </p:cNvPr>
            <p:cNvGrpSpPr/>
            <p:nvPr userDrawn="1"/>
          </p:nvGrpSpPr>
          <p:grpSpPr>
            <a:xfrm>
              <a:off x="-12394315" y="2136257"/>
              <a:ext cx="4006717" cy="3669345"/>
              <a:chOff x="-12394315" y="2136257"/>
              <a:chExt cx="4006717" cy="3669345"/>
            </a:xfrm>
          </p:grpSpPr>
          <p:grpSp>
            <p:nvGrpSpPr>
              <p:cNvPr id="19" name="Graphic 6">
                <a:extLst>
                  <a:ext uri="{FF2B5EF4-FFF2-40B4-BE49-F238E27FC236}">
                    <a16:creationId xmlns:a16="http://schemas.microsoft.com/office/drawing/2014/main" id="{8A86297F-7303-E8B3-D96D-CA4A682827E6}"/>
                  </a:ext>
                </a:extLst>
              </p:cNvPr>
              <p:cNvGrpSpPr/>
              <p:nvPr/>
            </p:nvGrpSpPr>
            <p:grpSpPr>
              <a:xfrm>
                <a:off x="-12394315" y="2136257"/>
                <a:ext cx="2480746" cy="3669345"/>
                <a:chOff x="-12394315" y="2136257"/>
                <a:chExt cx="2480746" cy="3669345"/>
              </a:xfrm>
            </p:grpSpPr>
            <p:grpSp>
              <p:nvGrpSpPr>
                <p:cNvPr id="36" name="Graphic 6">
                  <a:extLst>
                    <a:ext uri="{FF2B5EF4-FFF2-40B4-BE49-F238E27FC236}">
                      <a16:creationId xmlns:a16="http://schemas.microsoft.com/office/drawing/2014/main" id="{A3250312-0A6D-3492-D890-0D97ADB8A4AD}"/>
                    </a:ext>
                  </a:extLst>
                </p:cNvPr>
                <p:cNvGrpSpPr/>
                <p:nvPr/>
              </p:nvGrpSpPr>
              <p:grpSpPr>
                <a:xfrm>
                  <a:off x="-12394315" y="2136257"/>
                  <a:ext cx="2480746" cy="3669345"/>
                  <a:chOff x="-12394315" y="2136257"/>
                  <a:chExt cx="2480746" cy="3669345"/>
                </a:xfrm>
              </p:grpSpPr>
              <p:sp>
                <p:nvSpPr>
                  <p:cNvPr id="40" name="Freeform 39">
                    <a:extLst>
                      <a:ext uri="{FF2B5EF4-FFF2-40B4-BE49-F238E27FC236}">
                        <a16:creationId xmlns:a16="http://schemas.microsoft.com/office/drawing/2014/main" id="{9026859B-9900-3307-C7F5-7F38057F7961}"/>
                      </a:ext>
                    </a:extLst>
                  </p:cNvPr>
                  <p:cNvSpPr/>
                  <p:nvPr/>
                </p:nvSpPr>
                <p:spPr>
                  <a:xfrm>
                    <a:off x="-12178674" y="3689240"/>
                    <a:ext cx="836249" cy="1834954"/>
                  </a:xfrm>
                  <a:custGeom>
                    <a:avLst/>
                    <a:gdLst>
                      <a:gd name="connsiteX0" fmla="*/ 163 w 836249"/>
                      <a:gd name="connsiteY0" fmla="*/ 1557117 h 1834954"/>
                      <a:gd name="connsiteX1" fmla="*/ 29145 w 836249"/>
                      <a:gd name="connsiteY1" fmla="*/ 1353136 h 1834954"/>
                      <a:gd name="connsiteX2" fmla="*/ 95891 w 836249"/>
                      <a:gd name="connsiteY2" fmla="*/ 0 h 1834954"/>
                      <a:gd name="connsiteX3" fmla="*/ 813416 w 836249"/>
                      <a:gd name="connsiteY3" fmla="*/ 31652 h 1834954"/>
                      <a:gd name="connsiteX4" fmla="*/ 826589 w 836249"/>
                      <a:gd name="connsiteY4" fmla="*/ 371915 h 1834954"/>
                      <a:gd name="connsiteX5" fmla="*/ 836250 w 836249"/>
                      <a:gd name="connsiteY5" fmla="*/ 1670538 h 1834954"/>
                      <a:gd name="connsiteX6" fmla="*/ 775651 w 836249"/>
                      <a:gd name="connsiteY6" fmla="*/ 1762858 h 1834954"/>
                      <a:gd name="connsiteX7" fmla="*/ 746669 w 836249"/>
                      <a:gd name="connsiteY7" fmla="*/ 1825283 h 1834954"/>
                      <a:gd name="connsiteX8" fmla="*/ 614055 w 836249"/>
                      <a:gd name="connsiteY8" fmla="*/ 1834954 h 1834954"/>
                      <a:gd name="connsiteX9" fmla="*/ 597368 w 836249"/>
                      <a:gd name="connsiteY9" fmla="*/ 1776046 h 1834954"/>
                      <a:gd name="connsiteX10" fmla="*/ 518326 w 836249"/>
                      <a:gd name="connsiteY10" fmla="*/ 1664384 h 1834954"/>
                      <a:gd name="connsiteX11" fmla="*/ 451580 w 836249"/>
                      <a:gd name="connsiteY11" fmla="*/ 534572 h 1834954"/>
                      <a:gd name="connsiteX12" fmla="*/ 451580 w 836249"/>
                      <a:gd name="connsiteY12" fmla="*/ 232117 h 1834954"/>
                      <a:gd name="connsiteX13" fmla="*/ 257488 w 836249"/>
                      <a:gd name="connsiteY13" fmla="*/ 1753186 h 1834954"/>
                      <a:gd name="connsiteX14" fmla="*/ 250462 w 836249"/>
                      <a:gd name="connsiteY14" fmla="*/ 1753186 h 1834954"/>
                      <a:gd name="connsiteX15" fmla="*/ 236410 w 836249"/>
                      <a:gd name="connsiteY15" fmla="*/ 1804181 h 1834954"/>
                      <a:gd name="connsiteX16" fmla="*/ 80083 w 836249"/>
                      <a:gd name="connsiteY16" fmla="*/ 1795389 h 1834954"/>
                      <a:gd name="connsiteX17" fmla="*/ 61640 w 836249"/>
                      <a:gd name="connsiteY17" fmla="*/ 1738239 h 1834954"/>
                      <a:gd name="connsiteX18" fmla="*/ 51101 w 836249"/>
                      <a:gd name="connsiteY18" fmla="*/ 1738239 h 1834954"/>
                      <a:gd name="connsiteX19" fmla="*/ 163 w 836249"/>
                      <a:gd name="connsiteY19" fmla="*/ 1556238 h 1834954"/>
                      <a:gd name="connsiteX20" fmla="*/ 163 w 836249"/>
                      <a:gd name="connsiteY20" fmla="*/ 1556238 h 1834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836249" h="1834954">
                        <a:moveTo>
                          <a:pt x="163" y="1557117"/>
                        </a:moveTo>
                        <a:cubicBezTo>
                          <a:pt x="3676" y="1442817"/>
                          <a:pt x="29145" y="1353136"/>
                          <a:pt x="29145" y="1353136"/>
                        </a:cubicBezTo>
                        <a:lnTo>
                          <a:pt x="95891" y="0"/>
                        </a:lnTo>
                        <a:lnTo>
                          <a:pt x="813416" y="31652"/>
                        </a:lnTo>
                        <a:lnTo>
                          <a:pt x="826589" y="371915"/>
                        </a:lnTo>
                        <a:lnTo>
                          <a:pt x="836250" y="1670538"/>
                        </a:lnTo>
                        <a:cubicBezTo>
                          <a:pt x="836250" y="1670538"/>
                          <a:pt x="807268" y="1747031"/>
                          <a:pt x="775651" y="1762858"/>
                        </a:cubicBezTo>
                        <a:lnTo>
                          <a:pt x="746669" y="1825283"/>
                        </a:lnTo>
                        <a:lnTo>
                          <a:pt x="614055" y="1834954"/>
                        </a:lnTo>
                        <a:lnTo>
                          <a:pt x="597368" y="1776046"/>
                        </a:lnTo>
                        <a:cubicBezTo>
                          <a:pt x="597368" y="1776046"/>
                          <a:pt x="518326" y="1734722"/>
                          <a:pt x="518326" y="1664384"/>
                        </a:cubicBezTo>
                        <a:cubicBezTo>
                          <a:pt x="518326" y="1594045"/>
                          <a:pt x="451580" y="534572"/>
                          <a:pt x="451580" y="534572"/>
                        </a:cubicBezTo>
                        <a:lnTo>
                          <a:pt x="451580" y="232117"/>
                        </a:lnTo>
                        <a:cubicBezTo>
                          <a:pt x="451580" y="232117"/>
                          <a:pt x="362877" y="1674055"/>
                          <a:pt x="257488" y="1753186"/>
                        </a:cubicBezTo>
                        <a:lnTo>
                          <a:pt x="250462" y="1753186"/>
                        </a:lnTo>
                        <a:lnTo>
                          <a:pt x="236410" y="1804181"/>
                        </a:lnTo>
                        <a:lnTo>
                          <a:pt x="80083" y="1795389"/>
                        </a:lnTo>
                        <a:lnTo>
                          <a:pt x="61640" y="1738239"/>
                        </a:lnTo>
                        <a:lnTo>
                          <a:pt x="51101" y="1738239"/>
                        </a:lnTo>
                        <a:cubicBezTo>
                          <a:pt x="51101" y="1738239"/>
                          <a:pt x="-3350" y="1670538"/>
                          <a:pt x="163" y="1556238"/>
                        </a:cubicBezTo>
                        <a:lnTo>
                          <a:pt x="163" y="1556238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eform 40">
                    <a:extLst>
                      <a:ext uri="{FF2B5EF4-FFF2-40B4-BE49-F238E27FC236}">
                        <a16:creationId xmlns:a16="http://schemas.microsoft.com/office/drawing/2014/main" id="{204B21E7-C4D2-08FA-7422-C6598575CB38}"/>
                      </a:ext>
                    </a:extLst>
                  </p:cNvPr>
                  <p:cNvSpPr/>
                  <p:nvPr/>
                </p:nvSpPr>
                <p:spPr>
                  <a:xfrm>
                    <a:off x="-12394315" y="2721448"/>
                    <a:ext cx="481974" cy="928012"/>
                  </a:xfrm>
                  <a:custGeom>
                    <a:avLst/>
                    <a:gdLst>
                      <a:gd name="connsiteX0" fmla="*/ 435365 w 481974"/>
                      <a:gd name="connsiteY0" fmla="*/ 1517 h 928012"/>
                      <a:gd name="connsiteX1" fmla="*/ 95485 w 481974"/>
                      <a:gd name="connsiteY1" fmla="*/ 95595 h 928012"/>
                      <a:gd name="connsiteX2" fmla="*/ 6782 w 481974"/>
                      <a:gd name="connsiteY2" fmla="*/ 864043 h 928012"/>
                      <a:gd name="connsiteX3" fmla="*/ 304507 w 481974"/>
                      <a:gd name="connsiteY3" fmla="*/ 921193 h 928012"/>
                      <a:gd name="connsiteX4" fmla="*/ 435365 w 481974"/>
                      <a:gd name="connsiteY4" fmla="*/ 638 h 928012"/>
                      <a:gd name="connsiteX5" fmla="*/ 435365 w 481974"/>
                      <a:gd name="connsiteY5" fmla="*/ 638 h 928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81974" h="928012">
                        <a:moveTo>
                          <a:pt x="435365" y="1517"/>
                        </a:moveTo>
                        <a:cubicBezTo>
                          <a:pt x="435365" y="1517"/>
                          <a:pt x="179796" y="-19584"/>
                          <a:pt x="95485" y="95595"/>
                        </a:cubicBezTo>
                        <a:cubicBezTo>
                          <a:pt x="95485" y="95595"/>
                          <a:pt x="-30104" y="576534"/>
                          <a:pt x="6782" y="864043"/>
                        </a:cubicBezTo>
                        <a:cubicBezTo>
                          <a:pt x="6782" y="864043"/>
                          <a:pt x="6782" y="952845"/>
                          <a:pt x="304507" y="921193"/>
                        </a:cubicBezTo>
                        <a:cubicBezTo>
                          <a:pt x="602231" y="889540"/>
                          <a:pt x="435365" y="638"/>
                          <a:pt x="435365" y="638"/>
                        </a:cubicBezTo>
                        <a:lnTo>
                          <a:pt x="435365" y="6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eform 41">
                    <a:extLst>
                      <a:ext uri="{FF2B5EF4-FFF2-40B4-BE49-F238E27FC236}">
                        <a16:creationId xmlns:a16="http://schemas.microsoft.com/office/drawing/2014/main" id="{03C0D732-24A3-FEBA-1752-E16809F4A388}"/>
                      </a:ext>
                    </a:extLst>
                  </p:cNvPr>
                  <p:cNvSpPr/>
                  <p:nvPr/>
                </p:nvSpPr>
                <p:spPr>
                  <a:xfrm>
                    <a:off x="-12347065" y="2669332"/>
                    <a:ext cx="1228076" cy="1249386"/>
                  </a:xfrm>
                  <a:custGeom>
                    <a:avLst/>
                    <a:gdLst>
                      <a:gd name="connsiteX0" fmla="*/ 97416 w 1228076"/>
                      <a:gd name="connsiteY0" fmla="*/ 886265 h 1249386"/>
                      <a:gd name="connsiteX1" fmla="*/ 158015 w 1228076"/>
                      <a:gd name="connsiteY1" fmla="*/ 914400 h 1249386"/>
                      <a:gd name="connsiteX2" fmla="*/ 158015 w 1228076"/>
                      <a:gd name="connsiteY2" fmla="*/ 911762 h 1249386"/>
                      <a:gd name="connsiteX3" fmla="*/ 185240 w 1228076"/>
                      <a:gd name="connsiteY3" fmla="*/ 911762 h 1249386"/>
                      <a:gd name="connsiteX4" fmla="*/ 220370 w 1228076"/>
                      <a:gd name="connsiteY4" fmla="*/ 903849 h 1249386"/>
                      <a:gd name="connsiteX5" fmla="*/ 220370 w 1228076"/>
                      <a:gd name="connsiteY5" fmla="*/ 917038 h 1249386"/>
                      <a:gd name="connsiteX6" fmla="*/ 245839 w 1228076"/>
                      <a:gd name="connsiteY6" fmla="*/ 1215097 h 1249386"/>
                      <a:gd name="connsiteX7" fmla="*/ 929990 w 1228076"/>
                      <a:gd name="connsiteY7" fmla="*/ 1227406 h 1249386"/>
                      <a:gd name="connsiteX8" fmla="*/ 1035379 w 1228076"/>
                      <a:gd name="connsiteY8" fmla="*/ 1249387 h 1249386"/>
                      <a:gd name="connsiteX9" fmla="*/ 1080169 w 1228076"/>
                      <a:gd name="connsiteY9" fmla="*/ 1227406 h 1249386"/>
                      <a:gd name="connsiteX10" fmla="*/ 1217175 w 1228076"/>
                      <a:gd name="connsiteY10" fmla="*/ 891540 h 1249386"/>
                      <a:gd name="connsiteX11" fmla="*/ 1224201 w 1228076"/>
                      <a:gd name="connsiteY11" fmla="*/ 762293 h 1249386"/>
                      <a:gd name="connsiteX12" fmla="*/ 1153064 w 1228076"/>
                      <a:gd name="connsiteY12" fmla="*/ 324436 h 1249386"/>
                      <a:gd name="connsiteX13" fmla="*/ 785958 w 1228076"/>
                      <a:gd name="connsiteY13" fmla="*/ 0 h 1249386"/>
                      <a:gd name="connsiteX14" fmla="*/ 522485 w 1228076"/>
                      <a:gd name="connsiteY14" fmla="*/ 21981 h 1249386"/>
                      <a:gd name="connsiteX15" fmla="*/ 508433 w 1228076"/>
                      <a:gd name="connsiteY15" fmla="*/ 19343 h 1249386"/>
                      <a:gd name="connsiteX16" fmla="*/ 503164 w 1228076"/>
                      <a:gd name="connsiteY16" fmla="*/ 19343 h 1249386"/>
                      <a:gd name="connsiteX17" fmla="*/ 491747 w 1228076"/>
                      <a:gd name="connsiteY17" fmla="*/ 22860 h 1249386"/>
                      <a:gd name="connsiteX18" fmla="*/ 200170 w 1228076"/>
                      <a:gd name="connsiteY18" fmla="*/ 144194 h 1249386"/>
                      <a:gd name="connsiteX19" fmla="*/ 4322 w 1228076"/>
                      <a:gd name="connsiteY19" fmla="*/ 659423 h 1249386"/>
                      <a:gd name="connsiteX20" fmla="*/ 98294 w 1228076"/>
                      <a:gd name="connsiteY20" fmla="*/ 888023 h 1249386"/>
                      <a:gd name="connsiteX21" fmla="*/ 97416 w 1228076"/>
                      <a:gd name="connsiteY21" fmla="*/ 888023 h 1249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228076" h="1249386">
                        <a:moveTo>
                          <a:pt x="97416" y="886265"/>
                        </a:moveTo>
                        <a:cubicBezTo>
                          <a:pt x="123763" y="901211"/>
                          <a:pt x="127276" y="902970"/>
                          <a:pt x="158015" y="914400"/>
                        </a:cubicBezTo>
                        <a:lnTo>
                          <a:pt x="158015" y="911762"/>
                        </a:lnTo>
                        <a:cubicBezTo>
                          <a:pt x="166797" y="912641"/>
                          <a:pt x="175580" y="912641"/>
                          <a:pt x="185240" y="911762"/>
                        </a:cubicBezTo>
                        <a:cubicBezTo>
                          <a:pt x="197536" y="910004"/>
                          <a:pt x="208953" y="906487"/>
                          <a:pt x="220370" y="903849"/>
                        </a:cubicBezTo>
                        <a:lnTo>
                          <a:pt x="220370" y="917038"/>
                        </a:lnTo>
                        <a:cubicBezTo>
                          <a:pt x="225639" y="1131570"/>
                          <a:pt x="245839" y="1215097"/>
                          <a:pt x="245839" y="1215097"/>
                        </a:cubicBezTo>
                        <a:cubicBezTo>
                          <a:pt x="245839" y="1215097"/>
                          <a:pt x="763124" y="1237957"/>
                          <a:pt x="929990" y="1227406"/>
                        </a:cubicBezTo>
                        <a:lnTo>
                          <a:pt x="1035379" y="1249387"/>
                        </a:lnTo>
                        <a:lnTo>
                          <a:pt x="1080169" y="1227406"/>
                        </a:lnTo>
                        <a:cubicBezTo>
                          <a:pt x="1159211" y="1187841"/>
                          <a:pt x="1182924" y="1014632"/>
                          <a:pt x="1217175" y="891540"/>
                        </a:cubicBezTo>
                        <a:cubicBezTo>
                          <a:pt x="1228592" y="849337"/>
                          <a:pt x="1231227" y="805375"/>
                          <a:pt x="1224201" y="762293"/>
                        </a:cubicBezTo>
                        <a:lnTo>
                          <a:pt x="1153064" y="324436"/>
                        </a:lnTo>
                        <a:cubicBezTo>
                          <a:pt x="1124082" y="86165"/>
                          <a:pt x="785958" y="0"/>
                          <a:pt x="785958" y="0"/>
                        </a:cubicBezTo>
                        <a:cubicBezTo>
                          <a:pt x="680569" y="43962"/>
                          <a:pt x="566398" y="29894"/>
                          <a:pt x="522485" y="21981"/>
                        </a:cubicBezTo>
                        <a:cubicBezTo>
                          <a:pt x="518094" y="20222"/>
                          <a:pt x="512825" y="19343"/>
                          <a:pt x="508433" y="19343"/>
                        </a:cubicBezTo>
                        <a:cubicBezTo>
                          <a:pt x="504042" y="19343"/>
                          <a:pt x="503164" y="19343"/>
                          <a:pt x="503164" y="19343"/>
                        </a:cubicBezTo>
                        <a:lnTo>
                          <a:pt x="491747" y="22860"/>
                        </a:lnTo>
                        <a:cubicBezTo>
                          <a:pt x="431148" y="36049"/>
                          <a:pt x="260769" y="96715"/>
                          <a:pt x="200170" y="144194"/>
                        </a:cubicBezTo>
                        <a:cubicBezTo>
                          <a:pt x="125520" y="202223"/>
                          <a:pt x="45600" y="465113"/>
                          <a:pt x="4322" y="659423"/>
                        </a:cubicBezTo>
                        <a:cubicBezTo>
                          <a:pt x="-13243" y="743829"/>
                          <a:pt x="23644" y="844941"/>
                          <a:pt x="98294" y="888023"/>
                        </a:cubicBezTo>
                        <a:lnTo>
                          <a:pt x="97416" y="8880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eform 42">
                    <a:extLst>
                      <a:ext uri="{FF2B5EF4-FFF2-40B4-BE49-F238E27FC236}">
                        <a16:creationId xmlns:a16="http://schemas.microsoft.com/office/drawing/2014/main" id="{284033AB-6B30-E9EB-7F66-0D0D3B866B18}"/>
                      </a:ext>
                    </a:extLst>
                  </p:cNvPr>
                  <p:cNvSpPr/>
                  <p:nvPr/>
                </p:nvSpPr>
                <p:spPr>
                  <a:xfrm>
                    <a:off x="-11912333" y="2136257"/>
                    <a:ext cx="421914" cy="572934"/>
                  </a:xfrm>
                  <a:custGeom>
                    <a:avLst/>
                    <a:gdLst>
                      <a:gd name="connsiteX0" fmla="*/ 35937 w 421914"/>
                      <a:gd name="connsiteY0" fmla="*/ 108407 h 572934"/>
                      <a:gd name="connsiteX1" fmla="*/ 63163 w 421914"/>
                      <a:gd name="connsiteY1" fmla="*/ 60050 h 572934"/>
                      <a:gd name="connsiteX2" fmla="*/ 173821 w 421914"/>
                      <a:gd name="connsiteY2" fmla="*/ 8175 h 572934"/>
                      <a:gd name="connsiteX3" fmla="*/ 288871 w 421914"/>
                      <a:gd name="connsiteY3" fmla="*/ 21364 h 572934"/>
                      <a:gd name="connsiteX4" fmla="*/ 306436 w 421914"/>
                      <a:gd name="connsiteY4" fmla="*/ 73238 h 572934"/>
                      <a:gd name="connsiteX5" fmla="*/ 367913 w 421914"/>
                      <a:gd name="connsiteY5" fmla="*/ 169074 h 572934"/>
                      <a:gd name="connsiteX6" fmla="*/ 421486 w 421914"/>
                      <a:gd name="connsiteY6" fmla="*/ 229741 h 572934"/>
                      <a:gd name="connsiteX7" fmla="*/ 406556 w 421914"/>
                      <a:gd name="connsiteY7" fmla="*/ 255239 h 572934"/>
                      <a:gd name="connsiteX8" fmla="*/ 407434 w 421914"/>
                      <a:gd name="connsiteY8" fmla="*/ 286012 h 572934"/>
                      <a:gd name="connsiteX9" fmla="*/ 389869 w 421914"/>
                      <a:gd name="connsiteY9" fmla="*/ 307113 h 572934"/>
                      <a:gd name="connsiteX10" fmla="*/ 407434 w 421914"/>
                      <a:gd name="connsiteY10" fmla="*/ 304476 h 572934"/>
                      <a:gd name="connsiteX11" fmla="*/ 407434 w 421914"/>
                      <a:gd name="connsiteY11" fmla="*/ 325577 h 572934"/>
                      <a:gd name="connsiteX12" fmla="*/ 411825 w 421914"/>
                      <a:gd name="connsiteY12" fmla="*/ 375693 h 572934"/>
                      <a:gd name="connsiteX13" fmla="*/ 325757 w 421914"/>
                      <a:gd name="connsiteY13" fmla="*/ 407346 h 572934"/>
                      <a:gd name="connsiteX14" fmla="*/ 309949 w 421914"/>
                      <a:gd name="connsiteY14" fmla="*/ 511974 h 572934"/>
                      <a:gd name="connsiteX15" fmla="*/ 350348 w 421914"/>
                      <a:gd name="connsiteY15" fmla="*/ 533955 h 572934"/>
                      <a:gd name="connsiteX16" fmla="*/ 53502 w 421914"/>
                      <a:gd name="connsiteY16" fmla="*/ 555057 h 572934"/>
                      <a:gd name="connsiteX17" fmla="*/ 103562 w 421914"/>
                      <a:gd name="connsiteY17" fmla="*/ 520767 h 572934"/>
                      <a:gd name="connsiteX18" fmla="*/ 128153 w 421914"/>
                      <a:gd name="connsiteY18" fmla="*/ 395916 h 572934"/>
                      <a:gd name="connsiteX19" fmla="*/ 116736 w 421914"/>
                      <a:gd name="connsiteY19" fmla="*/ 384486 h 572934"/>
                      <a:gd name="connsiteX20" fmla="*/ 49111 w 421914"/>
                      <a:gd name="connsiteY20" fmla="*/ 309751 h 572934"/>
                      <a:gd name="connsiteX21" fmla="*/ 35059 w 421914"/>
                      <a:gd name="connsiteY21" fmla="*/ 108407 h 572934"/>
                      <a:gd name="connsiteX22" fmla="*/ 35059 w 421914"/>
                      <a:gd name="connsiteY22" fmla="*/ 108407 h 572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421914" h="572934">
                        <a:moveTo>
                          <a:pt x="35937" y="108407"/>
                        </a:moveTo>
                        <a:cubicBezTo>
                          <a:pt x="41207" y="90823"/>
                          <a:pt x="49989" y="74117"/>
                          <a:pt x="63163" y="60050"/>
                        </a:cubicBezTo>
                        <a:cubicBezTo>
                          <a:pt x="102684" y="16967"/>
                          <a:pt x="173821" y="8175"/>
                          <a:pt x="173821" y="8175"/>
                        </a:cubicBezTo>
                        <a:cubicBezTo>
                          <a:pt x="239689" y="-11168"/>
                          <a:pt x="266037" y="8175"/>
                          <a:pt x="288871" y="21364"/>
                        </a:cubicBezTo>
                        <a:cubicBezTo>
                          <a:pt x="330148" y="47740"/>
                          <a:pt x="312584" y="67084"/>
                          <a:pt x="306436" y="73238"/>
                        </a:cubicBezTo>
                        <a:cubicBezTo>
                          <a:pt x="314340" y="79393"/>
                          <a:pt x="370548" y="126871"/>
                          <a:pt x="367913" y="169074"/>
                        </a:cubicBezTo>
                        <a:cubicBezTo>
                          <a:pt x="367913" y="181383"/>
                          <a:pt x="421486" y="229741"/>
                          <a:pt x="421486" y="229741"/>
                        </a:cubicBezTo>
                        <a:cubicBezTo>
                          <a:pt x="421486" y="229741"/>
                          <a:pt x="425877" y="247326"/>
                          <a:pt x="406556" y="255239"/>
                        </a:cubicBezTo>
                        <a:cubicBezTo>
                          <a:pt x="388112" y="263152"/>
                          <a:pt x="407434" y="286012"/>
                          <a:pt x="407434" y="286012"/>
                        </a:cubicBezTo>
                        <a:cubicBezTo>
                          <a:pt x="407434" y="286012"/>
                          <a:pt x="417094" y="298321"/>
                          <a:pt x="389869" y="307113"/>
                        </a:cubicBezTo>
                        <a:cubicBezTo>
                          <a:pt x="383721" y="308872"/>
                          <a:pt x="402164" y="302717"/>
                          <a:pt x="407434" y="304476"/>
                        </a:cubicBezTo>
                        <a:cubicBezTo>
                          <a:pt x="407434" y="304476"/>
                          <a:pt x="413582" y="315027"/>
                          <a:pt x="407434" y="325577"/>
                        </a:cubicBezTo>
                        <a:cubicBezTo>
                          <a:pt x="401286" y="335249"/>
                          <a:pt x="415338" y="364263"/>
                          <a:pt x="411825" y="375693"/>
                        </a:cubicBezTo>
                        <a:cubicBezTo>
                          <a:pt x="407434" y="392399"/>
                          <a:pt x="360009" y="402070"/>
                          <a:pt x="325757" y="407346"/>
                        </a:cubicBezTo>
                        <a:lnTo>
                          <a:pt x="309949" y="511974"/>
                        </a:lnTo>
                        <a:cubicBezTo>
                          <a:pt x="324879" y="531317"/>
                          <a:pt x="350348" y="533955"/>
                          <a:pt x="350348" y="533955"/>
                        </a:cubicBezTo>
                        <a:cubicBezTo>
                          <a:pt x="264280" y="606931"/>
                          <a:pt x="53502" y="555057"/>
                          <a:pt x="53502" y="555057"/>
                        </a:cubicBezTo>
                        <a:cubicBezTo>
                          <a:pt x="85119" y="548902"/>
                          <a:pt x="98292" y="530438"/>
                          <a:pt x="103562" y="520767"/>
                        </a:cubicBezTo>
                        <a:lnTo>
                          <a:pt x="128153" y="395916"/>
                        </a:lnTo>
                        <a:cubicBezTo>
                          <a:pt x="124640" y="395916"/>
                          <a:pt x="120248" y="391520"/>
                          <a:pt x="116736" y="384486"/>
                        </a:cubicBezTo>
                        <a:cubicBezTo>
                          <a:pt x="109710" y="370418"/>
                          <a:pt x="85997" y="340524"/>
                          <a:pt x="49111" y="309751"/>
                        </a:cubicBezTo>
                        <a:cubicBezTo>
                          <a:pt x="-71" y="268427"/>
                          <a:pt x="-24662" y="198089"/>
                          <a:pt x="35059" y="108407"/>
                        </a:cubicBezTo>
                        <a:lnTo>
                          <a:pt x="35059" y="10840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eform 43">
                    <a:extLst>
                      <a:ext uri="{FF2B5EF4-FFF2-40B4-BE49-F238E27FC236}">
                        <a16:creationId xmlns:a16="http://schemas.microsoft.com/office/drawing/2014/main" id="{49472F55-37E2-1094-D66F-E34753745EC6}"/>
                      </a:ext>
                    </a:extLst>
                  </p:cNvPr>
                  <p:cNvSpPr/>
                  <p:nvPr/>
                </p:nvSpPr>
                <p:spPr>
                  <a:xfrm>
                    <a:off x="-11908820" y="2136257"/>
                    <a:ext cx="419414" cy="414617"/>
                  </a:xfrm>
                  <a:custGeom>
                    <a:avLst/>
                    <a:gdLst>
                      <a:gd name="connsiteX0" fmla="*/ 32424 w 419414"/>
                      <a:gd name="connsiteY0" fmla="*/ 108407 h 414617"/>
                      <a:gd name="connsiteX1" fmla="*/ 59650 w 419414"/>
                      <a:gd name="connsiteY1" fmla="*/ 60050 h 414617"/>
                      <a:gd name="connsiteX2" fmla="*/ 170308 w 419414"/>
                      <a:gd name="connsiteY2" fmla="*/ 8175 h 414617"/>
                      <a:gd name="connsiteX3" fmla="*/ 285358 w 419414"/>
                      <a:gd name="connsiteY3" fmla="*/ 21364 h 414617"/>
                      <a:gd name="connsiteX4" fmla="*/ 302923 w 419414"/>
                      <a:gd name="connsiteY4" fmla="*/ 73238 h 414617"/>
                      <a:gd name="connsiteX5" fmla="*/ 302923 w 419414"/>
                      <a:gd name="connsiteY5" fmla="*/ 73238 h 414617"/>
                      <a:gd name="connsiteX6" fmla="*/ 249350 w 419414"/>
                      <a:gd name="connsiteY6" fmla="*/ 122475 h 414617"/>
                      <a:gd name="connsiteX7" fmla="*/ 217733 w 419414"/>
                      <a:gd name="connsiteY7" fmla="*/ 223587 h 414617"/>
                      <a:gd name="connsiteX8" fmla="*/ 325757 w 419414"/>
                      <a:gd name="connsiteY8" fmla="*/ 344920 h 414617"/>
                      <a:gd name="connsiteX9" fmla="*/ 339809 w 419414"/>
                      <a:gd name="connsiteY9" fmla="*/ 290408 h 414617"/>
                      <a:gd name="connsiteX10" fmla="*/ 396017 w 419414"/>
                      <a:gd name="connsiteY10" fmla="*/ 261394 h 414617"/>
                      <a:gd name="connsiteX11" fmla="*/ 403043 w 419414"/>
                      <a:gd name="connsiteY11" fmla="*/ 282495 h 414617"/>
                      <a:gd name="connsiteX12" fmla="*/ 361765 w 419414"/>
                      <a:gd name="connsiteY12" fmla="*/ 304476 h 414617"/>
                      <a:gd name="connsiteX13" fmla="*/ 361765 w 419414"/>
                      <a:gd name="connsiteY13" fmla="*/ 355471 h 414617"/>
                      <a:gd name="connsiteX14" fmla="*/ 410069 w 419414"/>
                      <a:gd name="connsiteY14" fmla="*/ 344920 h 414617"/>
                      <a:gd name="connsiteX15" fmla="*/ 413581 w 419414"/>
                      <a:gd name="connsiteY15" fmla="*/ 395916 h 414617"/>
                      <a:gd name="connsiteX16" fmla="*/ 288871 w 419414"/>
                      <a:gd name="connsiteY16" fmla="*/ 403829 h 414617"/>
                      <a:gd name="connsiteX17" fmla="*/ 217733 w 419414"/>
                      <a:gd name="connsiteY17" fmla="*/ 272823 h 414617"/>
                      <a:gd name="connsiteX18" fmla="*/ 210707 w 419414"/>
                      <a:gd name="connsiteY18" fmla="*/ 263152 h 414617"/>
                      <a:gd name="connsiteX19" fmla="*/ 141326 w 419414"/>
                      <a:gd name="connsiteY19" fmla="*/ 311510 h 414617"/>
                      <a:gd name="connsiteX20" fmla="*/ 162404 w 419414"/>
                      <a:gd name="connsiteY20" fmla="*/ 337887 h 414617"/>
                      <a:gd name="connsiteX21" fmla="*/ 142205 w 419414"/>
                      <a:gd name="connsiteY21" fmla="*/ 383607 h 414617"/>
                      <a:gd name="connsiteX22" fmla="*/ 116735 w 419414"/>
                      <a:gd name="connsiteY22" fmla="*/ 385365 h 414617"/>
                      <a:gd name="connsiteX23" fmla="*/ 49111 w 419414"/>
                      <a:gd name="connsiteY23" fmla="*/ 310630 h 414617"/>
                      <a:gd name="connsiteX24" fmla="*/ 35059 w 419414"/>
                      <a:gd name="connsiteY24" fmla="*/ 109287 h 414617"/>
                      <a:gd name="connsiteX25" fmla="*/ 33302 w 419414"/>
                      <a:gd name="connsiteY25" fmla="*/ 109287 h 4146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19414" h="414617">
                        <a:moveTo>
                          <a:pt x="32424" y="108407"/>
                        </a:moveTo>
                        <a:cubicBezTo>
                          <a:pt x="37694" y="90823"/>
                          <a:pt x="46476" y="74117"/>
                          <a:pt x="59650" y="60050"/>
                        </a:cubicBezTo>
                        <a:cubicBezTo>
                          <a:pt x="99171" y="16967"/>
                          <a:pt x="170308" y="8175"/>
                          <a:pt x="170308" y="8175"/>
                        </a:cubicBezTo>
                        <a:cubicBezTo>
                          <a:pt x="236176" y="-11168"/>
                          <a:pt x="262524" y="8175"/>
                          <a:pt x="285358" y="21364"/>
                        </a:cubicBezTo>
                        <a:cubicBezTo>
                          <a:pt x="326636" y="47740"/>
                          <a:pt x="309071" y="67084"/>
                          <a:pt x="302923" y="73238"/>
                        </a:cubicBezTo>
                        <a:lnTo>
                          <a:pt x="302923" y="73238"/>
                        </a:lnTo>
                        <a:cubicBezTo>
                          <a:pt x="302923" y="73238"/>
                          <a:pt x="286236" y="107528"/>
                          <a:pt x="249350" y="122475"/>
                        </a:cubicBezTo>
                        <a:cubicBezTo>
                          <a:pt x="170308" y="153248"/>
                          <a:pt x="214220" y="214794"/>
                          <a:pt x="217733" y="223587"/>
                        </a:cubicBezTo>
                        <a:cubicBezTo>
                          <a:pt x="224759" y="240292"/>
                          <a:pt x="287115" y="322060"/>
                          <a:pt x="325757" y="344920"/>
                        </a:cubicBezTo>
                        <a:cubicBezTo>
                          <a:pt x="327514" y="330853"/>
                          <a:pt x="331905" y="303597"/>
                          <a:pt x="339809" y="290408"/>
                        </a:cubicBezTo>
                        <a:cubicBezTo>
                          <a:pt x="352104" y="270186"/>
                          <a:pt x="396017" y="261394"/>
                          <a:pt x="396017" y="261394"/>
                        </a:cubicBezTo>
                        <a:cubicBezTo>
                          <a:pt x="400408" y="266669"/>
                          <a:pt x="403043" y="276340"/>
                          <a:pt x="403043" y="282495"/>
                        </a:cubicBezTo>
                        <a:cubicBezTo>
                          <a:pt x="403043" y="282495"/>
                          <a:pt x="381087" y="278978"/>
                          <a:pt x="361765" y="304476"/>
                        </a:cubicBezTo>
                        <a:cubicBezTo>
                          <a:pt x="354739" y="313268"/>
                          <a:pt x="358252" y="344920"/>
                          <a:pt x="361765" y="355471"/>
                        </a:cubicBezTo>
                        <a:cubicBezTo>
                          <a:pt x="399530" y="351075"/>
                          <a:pt x="410069" y="344920"/>
                          <a:pt x="410069" y="344920"/>
                        </a:cubicBezTo>
                        <a:cubicBezTo>
                          <a:pt x="410069" y="344920"/>
                          <a:pt x="428512" y="379210"/>
                          <a:pt x="413581" y="395916"/>
                        </a:cubicBezTo>
                        <a:cubicBezTo>
                          <a:pt x="397773" y="412621"/>
                          <a:pt x="311705" y="424051"/>
                          <a:pt x="288871" y="403829"/>
                        </a:cubicBezTo>
                        <a:cubicBezTo>
                          <a:pt x="267793" y="385365"/>
                          <a:pt x="226516" y="292167"/>
                          <a:pt x="217733" y="272823"/>
                        </a:cubicBezTo>
                        <a:cubicBezTo>
                          <a:pt x="215977" y="271065"/>
                          <a:pt x="213342" y="268427"/>
                          <a:pt x="210707" y="263152"/>
                        </a:cubicBezTo>
                        <a:cubicBezTo>
                          <a:pt x="168552" y="192813"/>
                          <a:pt x="96536" y="231500"/>
                          <a:pt x="141326" y="311510"/>
                        </a:cubicBezTo>
                        <a:cubicBezTo>
                          <a:pt x="147474" y="322060"/>
                          <a:pt x="154500" y="330853"/>
                          <a:pt x="162404" y="337887"/>
                        </a:cubicBezTo>
                        <a:cubicBezTo>
                          <a:pt x="150987" y="358109"/>
                          <a:pt x="146596" y="373056"/>
                          <a:pt x="142205" y="383607"/>
                        </a:cubicBezTo>
                        <a:cubicBezTo>
                          <a:pt x="135179" y="400312"/>
                          <a:pt x="124640" y="401191"/>
                          <a:pt x="116735" y="385365"/>
                        </a:cubicBezTo>
                        <a:cubicBezTo>
                          <a:pt x="109709" y="371297"/>
                          <a:pt x="85997" y="341403"/>
                          <a:pt x="49111" y="310630"/>
                        </a:cubicBezTo>
                        <a:cubicBezTo>
                          <a:pt x="-71" y="269307"/>
                          <a:pt x="-24662" y="198968"/>
                          <a:pt x="35059" y="109287"/>
                        </a:cubicBezTo>
                        <a:lnTo>
                          <a:pt x="33302" y="109287"/>
                        </a:lnTo>
                        <a:close/>
                      </a:path>
                    </a:pathLst>
                  </a:custGeom>
                  <a:solidFill>
                    <a:srgbClr val="4D260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eform 44">
                    <a:extLst>
                      <a:ext uri="{FF2B5EF4-FFF2-40B4-BE49-F238E27FC236}">
                        <a16:creationId xmlns:a16="http://schemas.microsoft.com/office/drawing/2014/main" id="{B1F7E57D-74A7-92DA-C4C9-1ED4682052A5}"/>
                      </a:ext>
                    </a:extLst>
                  </p:cNvPr>
                  <p:cNvSpPr/>
                  <p:nvPr/>
                </p:nvSpPr>
                <p:spPr>
                  <a:xfrm>
                    <a:off x="-11589492" y="5467924"/>
                    <a:ext cx="418819" cy="329711"/>
                  </a:xfrm>
                  <a:custGeom>
                    <a:avLst/>
                    <a:gdLst>
                      <a:gd name="connsiteX0" fmla="*/ 32777 w 418819"/>
                      <a:gd name="connsiteY0" fmla="*/ 41324 h 329711"/>
                      <a:gd name="connsiteX1" fmla="*/ 6430 w 418819"/>
                      <a:gd name="connsiteY1" fmla="*/ 35169 h 329711"/>
                      <a:gd name="connsiteX2" fmla="*/ 14334 w 418819"/>
                      <a:gd name="connsiteY2" fmla="*/ 151228 h 329711"/>
                      <a:gd name="connsiteX3" fmla="*/ 282 w 418819"/>
                      <a:gd name="connsiteY3" fmla="*/ 277837 h 329711"/>
                      <a:gd name="connsiteX4" fmla="*/ 282 w 418819"/>
                      <a:gd name="connsiteY4" fmla="*/ 329712 h 329711"/>
                      <a:gd name="connsiteX5" fmla="*/ 129384 w 418819"/>
                      <a:gd name="connsiteY5" fmla="*/ 329712 h 329711"/>
                      <a:gd name="connsiteX6" fmla="*/ 138166 w 418819"/>
                      <a:gd name="connsiteY6" fmla="*/ 291025 h 329711"/>
                      <a:gd name="connsiteX7" fmla="*/ 209304 w 418819"/>
                      <a:gd name="connsiteY7" fmla="*/ 329712 h 329711"/>
                      <a:gd name="connsiteX8" fmla="*/ 413934 w 418819"/>
                      <a:gd name="connsiteY8" fmla="*/ 329712 h 329711"/>
                      <a:gd name="connsiteX9" fmla="*/ 418326 w 418819"/>
                      <a:gd name="connsiteY9" fmla="*/ 277837 h 329711"/>
                      <a:gd name="connsiteX10" fmla="*/ 378805 w 418819"/>
                      <a:gd name="connsiteY10" fmla="*/ 211895 h 329711"/>
                      <a:gd name="connsiteX11" fmla="*/ 204913 w 418819"/>
                      <a:gd name="connsiteY11" fmla="*/ 107266 h 329711"/>
                      <a:gd name="connsiteX12" fmla="*/ 179444 w 418819"/>
                      <a:gd name="connsiteY12" fmla="*/ 0 h 329711"/>
                      <a:gd name="connsiteX13" fmla="*/ 102158 w 418819"/>
                      <a:gd name="connsiteY13" fmla="*/ 21981 h 329711"/>
                      <a:gd name="connsiteX14" fmla="*/ 32777 w 418819"/>
                      <a:gd name="connsiteY14" fmla="*/ 41324 h 3297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18819" h="329711">
                        <a:moveTo>
                          <a:pt x="32777" y="41324"/>
                        </a:moveTo>
                        <a:cubicBezTo>
                          <a:pt x="32777" y="41324"/>
                          <a:pt x="-4987" y="10551"/>
                          <a:pt x="6430" y="35169"/>
                        </a:cubicBezTo>
                        <a:cubicBezTo>
                          <a:pt x="17847" y="59788"/>
                          <a:pt x="11699" y="137160"/>
                          <a:pt x="14334" y="151228"/>
                        </a:cubicBezTo>
                        <a:cubicBezTo>
                          <a:pt x="14334" y="151228"/>
                          <a:pt x="-2353" y="225962"/>
                          <a:pt x="282" y="277837"/>
                        </a:cubicBezTo>
                        <a:lnTo>
                          <a:pt x="282" y="329712"/>
                        </a:lnTo>
                        <a:lnTo>
                          <a:pt x="129384" y="329712"/>
                        </a:lnTo>
                        <a:lnTo>
                          <a:pt x="138166" y="291025"/>
                        </a:lnTo>
                        <a:cubicBezTo>
                          <a:pt x="138166" y="291025"/>
                          <a:pt x="179444" y="299818"/>
                          <a:pt x="209304" y="329712"/>
                        </a:cubicBezTo>
                        <a:lnTo>
                          <a:pt x="413934" y="329712"/>
                        </a:lnTo>
                        <a:lnTo>
                          <a:pt x="418326" y="277837"/>
                        </a:lnTo>
                        <a:cubicBezTo>
                          <a:pt x="418326" y="277837"/>
                          <a:pt x="426230" y="240030"/>
                          <a:pt x="378805" y="211895"/>
                        </a:cubicBezTo>
                        <a:cubicBezTo>
                          <a:pt x="356849" y="199585"/>
                          <a:pt x="261120" y="201344"/>
                          <a:pt x="204913" y="107266"/>
                        </a:cubicBezTo>
                        <a:cubicBezTo>
                          <a:pt x="166270" y="42203"/>
                          <a:pt x="179444" y="0"/>
                          <a:pt x="179444" y="0"/>
                        </a:cubicBezTo>
                        <a:cubicBezTo>
                          <a:pt x="179444" y="0"/>
                          <a:pt x="116210" y="0"/>
                          <a:pt x="102158" y="21981"/>
                        </a:cubicBezTo>
                        <a:cubicBezTo>
                          <a:pt x="88106" y="43962"/>
                          <a:pt x="32777" y="41324"/>
                          <a:pt x="32777" y="41324"/>
                        </a:cubicBez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eform 45">
                    <a:extLst>
                      <a:ext uri="{FF2B5EF4-FFF2-40B4-BE49-F238E27FC236}">
                        <a16:creationId xmlns:a16="http://schemas.microsoft.com/office/drawing/2014/main" id="{F1E2D671-21A6-8CA1-7314-B3C9BB4BFD46}"/>
                      </a:ext>
                    </a:extLst>
                  </p:cNvPr>
                  <p:cNvSpPr/>
                  <p:nvPr/>
                </p:nvSpPr>
                <p:spPr>
                  <a:xfrm>
                    <a:off x="-12205541" y="5475665"/>
                    <a:ext cx="265034" cy="329937"/>
                  </a:xfrm>
                  <a:custGeom>
                    <a:avLst/>
                    <a:gdLst>
                      <a:gd name="connsiteX0" fmla="*/ 108707 w 265034"/>
                      <a:gd name="connsiteY0" fmla="*/ 44133 h 329937"/>
                      <a:gd name="connsiteX1" fmla="*/ 55134 w 265034"/>
                      <a:gd name="connsiteY1" fmla="*/ 160192 h 329937"/>
                      <a:gd name="connsiteX2" fmla="*/ 1561 w 265034"/>
                      <a:gd name="connsiteY2" fmla="*/ 241081 h 329937"/>
                      <a:gd name="connsiteX3" fmla="*/ 1561 w 265034"/>
                      <a:gd name="connsiteY3" fmla="*/ 317574 h 329937"/>
                      <a:gd name="connsiteX4" fmla="*/ 245713 w 265034"/>
                      <a:gd name="connsiteY4" fmla="*/ 294714 h 329937"/>
                      <a:gd name="connsiteX5" fmla="*/ 263278 w 265034"/>
                      <a:gd name="connsiteY5" fmla="*/ 154037 h 329937"/>
                      <a:gd name="connsiteX6" fmla="*/ 265034 w 265034"/>
                      <a:gd name="connsiteY6" fmla="*/ 10723 h 329937"/>
                      <a:gd name="connsiteX7" fmla="*/ 125393 w 265034"/>
                      <a:gd name="connsiteY7" fmla="*/ 172 h 329937"/>
                      <a:gd name="connsiteX8" fmla="*/ 108707 w 265034"/>
                      <a:gd name="connsiteY8" fmla="*/ 44133 h 329937"/>
                      <a:gd name="connsiteX9" fmla="*/ 109585 w 265034"/>
                      <a:gd name="connsiteY9" fmla="*/ 44133 h 329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5034" h="329937">
                        <a:moveTo>
                          <a:pt x="108707" y="44133"/>
                        </a:moveTo>
                        <a:cubicBezTo>
                          <a:pt x="108707" y="44133"/>
                          <a:pt x="103437" y="117989"/>
                          <a:pt x="55134" y="160192"/>
                        </a:cubicBezTo>
                        <a:cubicBezTo>
                          <a:pt x="55134" y="160192"/>
                          <a:pt x="5074" y="192723"/>
                          <a:pt x="1561" y="241081"/>
                        </a:cubicBezTo>
                        <a:cubicBezTo>
                          <a:pt x="-1952" y="283284"/>
                          <a:pt x="1561" y="317574"/>
                          <a:pt x="1561" y="317574"/>
                        </a:cubicBezTo>
                        <a:cubicBezTo>
                          <a:pt x="1561" y="317574"/>
                          <a:pt x="200922" y="357140"/>
                          <a:pt x="245713" y="294714"/>
                        </a:cubicBezTo>
                        <a:cubicBezTo>
                          <a:pt x="245713" y="294714"/>
                          <a:pt x="268547" y="204154"/>
                          <a:pt x="263278" y="154037"/>
                        </a:cubicBezTo>
                        <a:cubicBezTo>
                          <a:pt x="258008" y="103921"/>
                          <a:pt x="265034" y="10723"/>
                          <a:pt x="265034" y="10723"/>
                        </a:cubicBezTo>
                        <a:cubicBezTo>
                          <a:pt x="265034" y="10723"/>
                          <a:pt x="133298" y="-1586"/>
                          <a:pt x="125393" y="172"/>
                        </a:cubicBezTo>
                        <a:cubicBezTo>
                          <a:pt x="118368" y="1930"/>
                          <a:pt x="108707" y="44133"/>
                          <a:pt x="108707" y="44133"/>
                        </a:cubicBezTo>
                        <a:lnTo>
                          <a:pt x="109585" y="44133"/>
                        </a:ln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eform 46">
                    <a:extLst>
                      <a:ext uri="{FF2B5EF4-FFF2-40B4-BE49-F238E27FC236}">
                        <a16:creationId xmlns:a16="http://schemas.microsoft.com/office/drawing/2014/main" id="{3B1AD537-B470-6695-F6B9-967349D10C25}"/>
                      </a:ext>
                    </a:extLst>
                  </p:cNvPr>
                  <p:cNvSpPr/>
                  <p:nvPr/>
                </p:nvSpPr>
                <p:spPr>
                  <a:xfrm>
                    <a:off x="-12144260" y="2715053"/>
                    <a:ext cx="329838" cy="862525"/>
                  </a:xfrm>
                  <a:custGeom>
                    <a:avLst/>
                    <a:gdLst>
                      <a:gd name="connsiteX0" fmla="*/ 103633 w 329838"/>
                      <a:gd name="connsiteY0" fmla="*/ 31652 h 862525"/>
                      <a:gd name="connsiteX1" fmla="*/ 189700 w 329838"/>
                      <a:gd name="connsiteY1" fmla="*/ 0 h 862525"/>
                      <a:gd name="connsiteX2" fmla="*/ 305628 w 329838"/>
                      <a:gd name="connsiteY2" fmla="*/ 504678 h 862525"/>
                      <a:gd name="connsiteX3" fmla="*/ 0 w 329838"/>
                      <a:gd name="connsiteY3" fmla="*/ 862525 h 862525"/>
                      <a:gd name="connsiteX4" fmla="*/ 103633 w 329838"/>
                      <a:gd name="connsiteY4" fmla="*/ 31652 h 862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9838" h="862525">
                        <a:moveTo>
                          <a:pt x="103633" y="31652"/>
                        </a:moveTo>
                        <a:lnTo>
                          <a:pt x="189700" y="0"/>
                        </a:lnTo>
                        <a:cubicBezTo>
                          <a:pt x="189700" y="0"/>
                          <a:pt x="399600" y="269924"/>
                          <a:pt x="305628" y="504678"/>
                        </a:cubicBezTo>
                        <a:cubicBezTo>
                          <a:pt x="211656" y="740312"/>
                          <a:pt x="0" y="862525"/>
                          <a:pt x="0" y="862525"/>
                        </a:cubicBezTo>
                        <a:cubicBezTo>
                          <a:pt x="0" y="862525"/>
                          <a:pt x="454051" y="622495"/>
                          <a:pt x="103633" y="3165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 47">
                    <a:extLst>
                      <a:ext uri="{FF2B5EF4-FFF2-40B4-BE49-F238E27FC236}">
                        <a16:creationId xmlns:a16="http://schemas.microsoft.com/office/drawing/2014/main" id="{C64B7A5E-A314-0262-DDDA-A0E3CFCF4C47}"/>
                      </a:ext>
                    </a:extLst>
                  </p:cNvPr>
                  <p:cNvSpPr/>
                  <p:nvPr/>
                </p:nvSpPr>
                <p:spPr>
                  <a:xfrm>
                    <a:off x="-12175876" y="2827120"/>
                    <a:ext cx="360797" cy="516625"/>
                  </a:xfrm>
                  <a:custGeom>
                    <a:avLst/>
                    <a:gdLst>
                      <a:gd name="connsiteX0" fmla="*/ 302994 w 360797"/>
                      <a:gd name="connsiteY0" fmla="*/ 35643 h 516625"/>
                      <a:gd name="connsiteX1" fmla="*/ 319680 w 360797"/>
                      <a:gd name="connsiteY1" fmla="*/ 8387 h 516625"/>
                      <a:gd name="connsiteX2" fmla="*/ 288942 w 360797"/>
                      <a:gd name="connsiteY2" fmla="*/ 3991 h 516625"/>
                      <a:gd name="connsiteX3" fmla="*/ 214291 w 360797"/>
                      <a:gd name="connsiteY3" fmla="*/ 47073 h 516625"/>
                      <a:gd name="connsiteX4" fmla="*/ 189700 w 360797"/>
                      <a:gd name="connsiteY4" fmla="*/ 149064 h 516625"/>
                      <a:gd name="connsiteX5" fmla="*/ 194970 w 360797"/>
                      <a:gd name="connsiteY5" fmla="*/ 210610 h 516625"/>
                      <a:gd name="connsiteX6" fmla="*/ 0 w 360797"/>
                      <a:gd name="connsiteY6" fmla="*/ 415471 h 516625"/>
                      <a:gd name="connsiteX7" fmla="*/ 132615 w 360797"/>
                      <a:gd name="connsiteY7" fmla="*/ 514824 h 516625"/>
                      <a:gd name="connsiteX8" fmla="*/ 262594 w 360797"/>
                      <a:gd name="connsiteY8" fmla="*/ 328427 h 516625"/>
                      <a:gd name="connsiteX9" fmla="*/ 286307 w 360797"/>
                      <a:gd name="connsiteY9" fmla="*/ 224678 h 516625"/>
                      <a:gd name="connsiteX10" fmla="*/ 309141 w 360797"/>
                      <a:gd name="connsiteY10" fmla="*/ 186871 h 516625"/>
                      <a:gd name="connsiteX11" fmla="*/ 355688 w 360797"/>
                      <a:gd name="connsiteY11" fmla="*/ 127083 h 516625"/>
                      <a:gd name="connsiteX12" fmla="*/ 339880 w 360797"/>
                      <a:gd name="connsiteY12" fmla="*/ 98069 h 516625"/>
                      <a:gd name="connsiteX13" fmla="*/ 279281 w 360797"/>
                      <a:gd name="connsiteY13" fmla="*/ 153460 h 516625"/>
                      <a:gd name="connsiteX14" fmla="*/ 346028 w 360797"/>
                      <a:gd name="connsiteY14" fmla="*/ 91914 h 516625"/>
                      <a:gd name="connsiteX15" fmla="*/ 335489 w 360797"/>
                      <a:gd name="connsiteY15" fmla="*/ 61141 h 516625"/>
                      <a:gd name="connsiteX16" fmla="*/ 262594 w 360797"/>
                      <a:gd name="connsiteY16" fmla="*/ 113016 h 516625"/>
                      <a:gd name="connsiteX17" fmla="*/ 329341 w 360797"/>
                      <a:gd name="connsiteY17" fmla="*/ 56745 h 516625"/>
                      <a:gd name="connsiteX18" fmla="*/ 302115 w 360797"/>
                      <a:gd name="connsiteY18" fmla="*/ 35643 h 516625"/>
                      <a:gd name="connsiteX19" fmla="*/ 247664 w 360797"/>
                      <a:gd name="connsiteY19" fmla="*/ 73450 h 516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60797" h="516625">
                        <a:moveTo>
                          <a:pt x="302994" y="35643"/>
                        </a:moveTo>
                        <a:cubicBezTo>
                          <a:pt x="302994" y="35643"/>
                          <a:pt x="328463" y="24213"/>
                          <a:pt x="319680" y="8387"/>
                        </a:cubicBezTo>
                        <a:cubicBezTo>
                          <a:pt x="311776" y="-7439"/>
                          <a:pt x="288942" y="3991"/>
                          <a:pt x="288942" y="3991"/>
                        </a:cubicBezTo>
                        <a:cubicBezTo>
                          <a:pt x="288942" y="3991"/>
                          <a:pt x="230978" y="35643"/>
                          <a:pt x="214291" y="47073"/>
                        </a:cubicBezTo>
                        <a:cubicBezTo>
                          <a:pt x="197605" y="58503"/>
                          <a:pt x="180918" y="84880"/>
                          <a:pt x="189700" y="149064"/>
                        </a:cubicBezTo>
                        <a:cubicBezTo>
                          <a:pt x="191457" y="180716"/>
                          <a:pt x="194970" y="210610"/>
                          <a:pt x="194970" y="210610"/>
                        </a:cubicBezTo>
                        <a:cubicBezTo>
                          <a:pt x="194970" y="232591"/>
                          <a:pt x="0" y="415471"/>
                          <a:pt x="0" y="415471"/>
                        </a:cubicBezTo>
                        <a:cubicBezTo>
                          <a:pt x="0" y="415471"/>
                          <a:pt x="26347" y="532409"/>
                          <a:pt x="132615" y="514824"/>
                        </a:cubicBezTo>
                        <a:lnTo>
                          <a:pt x="262594" y="328427"/>
                        </a:lnTo>
                        <a:cubicBezTo>
                          <a:pt x="283672" y="294137"/>
                          <a:pt x="285429" y="263364"/>
                          <a:pt x="286307" y="224678"/>
                        </a:cubicBezTo>
                        <a:cubicBezTo>
                          <a:pt x="290698" y="207973"/>
                          <a:pt x="304750" y="193026"/>
                          <a:pt x="309141" y="186871"/>
                        </a:cubicBezTo>
                        <a:cubicBezTo>
                          <a:pt x="309141" y="186871"/>
                          <a:pt x="344271" y="140272"/>
                          <a:pt x="355688" y="127083"/>
                        </a:cubicBezTo>
                        <a:cubicBezTo>
                          <a:pt x="367105" y="113895"/>
                          <a:pt x="358323" y="89276"/>
                          <a:pt x="339880" y="98069"/>
                        </a:cubicBezTo>
                        <a:cubicBezTo>
                          <a:pt x="329341" y="103344"/>
                          <a:pt x="279281" y="153460"/>
                          <a:pt x="279281" y="153460"/>
                        </a:cubicBezTo>
                        <a:lnTo>
                          <a:pt x="346028" y="91914"/>
                        </a:lnTo>
                        <a:cubicBezTo>
                          <a:pt x="353053" y="85759"/>
                          <a:pt x="352175" y="55866"/>
                          <a:pt x="335489" y="61141"/>
                        </a:cubicBezTo>
                        <a:cubicBezTo>
                          <a:pt x="324071" y="64658"/>
                          <a:pt x="262594" y="113016"/>
                          <a:pt x="262594" y="113016"/>
                        </a:cubicBezTo>
                        <a:lnTo>
                          <a:pt x="329341" y="56745"/>
                        </a:lnTo>
                        <a:cubicBezTo>
                          <a:pt x="339880" y="45315"/>
                          <a:pt x="329341" y="18059"/>
                          <a:pt x="302115" y="35643"/>
                        </a:cubicBezTo>
                        <a:cubicBezTo>
                          <a:pt x="274890" y="53228"/>
                          <a:pt x="272255" y="53228"/>
                          <a:pt x="247664" y="73450"/>
                        </a:cubicBezTo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 48">
                    <a:extLst>
                      <a:ext uri="{FF2B5EF4-FFF2-40B4-BE49-F238E27FC236}">
                        <a16:creationId xmlns:a16="http://schemas.microsoft.com/office/drawing/2014/main" id="{2D9F1366-CE26-20E6-DC4E-A0C271085FA9}"/>
                      </a:ext>
                    </a:extLst>
                  </p:cNvPr>
                  <p:cNvSpPr/>
                  <p:nvPr/>
                </p:nvSpPr>
                <p:spPr>
                  <a:xfrm>
                    <a:off x="-11478552" y="3895859"/>
                    <a:ext cx="167744" cy="84406"/>
                  </a:xfrm>
                  <a:custGeom>
                    <a:avLst/>
                    <a:gdLst>
                      <a:gd name="connsiteX0" fmla="*/ 123832 w 167744"/>
                      <a:gd name="connsiteY0" fmla="*/ 84406 h 84406"/>
                      <a:gd name="connsiteX1" fmla="*/ 167744 w 167744"/>
                      <a:gd name="connsiteY1" fmla="*/ 21981 h 84406"/>
                      <a:gd name="connsiteX2" fmla="*/ 62355 w 167744"/>
                      <a:gd name="connsiteY2" fmla="*/ 0 h 84406"/>
                      <a:gd name="connsiteX3" fmla="*/ 0 w 167744"/>
                      <a:gd name="connsiteY3" fmla="*/ 2638 h 84406"/>
                      <a:gd name="connsiteX4" fmla="*/ 123832 w 167744"/>
                      <a:gd name="connsiteY4" fmla="*/ 83527 h 84406"/>
                      <a:gd name="connsiteX5" fmla="*/ 123832 w 167744"/>
                      <a:gd name="connsiteY5" fmla="*/ 83527 h 84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7744" h="84406">
                        <a:moveTo>
                          <a:pt x="123832" y="84406"/>
                        </a:moveTo>
                        <a:lnTo>
                          <a:pt x="167744" y="21981"/>
                        </a:lnTo>
                        <a:lnTo>
                          <a:pt x="62355" y="0"/>
                        </a:lnTo>
                        <a:cubicBezTo>
                          <a:pt x="62355" y="0"/>
                          <a:pt x="26347" y="2638"/>
                          <a:pt x="0" y="2638"/>
                        </a:cubicBezTo>
                        <a:cubicBezTo>
                          <a:pt x="50938" y="60667"/>
                          <a:pt x="123832" y="83527"/>
                          <a:pt x="123832" y="83527"/>
                        </a:cubicBezTo>
                        <a:lnTo>
                          <a:pt x="123832" y="8352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F7E9CC43-AB89-BFD5-458C-49518D902D99}"/>
                    </a:ext>
                  </a:extLst>
                </p:cNvPr>
                <p:cNvSpPr/>
                <p:nvPr/>
              </p:nvSpPr>
              <p:spPr>
                <a:xfrm>
                  <a:off x="-11431157" y="3442176"/>
                  <a:ext cx="73802" cy="454562"/>
                </a:xfrm>
                <a:custGeom>
                  <a:avLst/>
                  <a:gdLst>
                    <a:gd name="connsiteX0" fmla="*/ 14960 w 73802"/>
                    <a:gd name="connsiteY0" fmla="*/ 454562 h 454562"/>
                    <a:gd name="connsiteX1" fmla="*/ 30 w 73802"/>
                    <a:gd name="connsiteY1" fmla="*/ 398291 h 454562"/>
                    <a:gd name="connsiteX2" fmla="*/ 73802 w 73802"/>
                    <a:gd name="connsiteY2" fmla="*/ 0 h 454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802" h="454562">
                      <a:moveTo>
                        <a:pt x="14960" y="454562"/>
                      </a:moveTo>
                      <a:cubicBezTo>
                        <a:pt x="30" y="437857"/>
                        <a:pt x="30" y="430823"/>
                        <a:pt x="30" y="398291"/>
                      </a:cubicBezTo>
                      <a:cubicBezTo>
                        <a:pt x="-1726" y="251460"/>
                        <a:pt x="73802" y="134522"/>
                        <a:pt x="73802" y="0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39D82144-8214-F6FA-AF90-E251BBC5A05F}"/>
                    </a:ext>
                  </a:extLst>
                </p:cNvPr>
                <p:cNvSpPr/>
                <p:nvPr/>
              </p:nvSpPr>
              <p:spPr>
                <a:xfrm>
                  <a:off x="-12279509" y="3211427"/>
                  <a:ext cx="132614" cy="54023"/>
                </a:xfrm>
                <a:custGeom>
                  <a:avLst/>
                  <a:gdLst>
                    <a:gd name="connsiteX0" fmla="*/ 132615 w 132614"/>
                    <a:gd name="connsiteY0" fmla="*/ 3908 h 54023"/>
                    <a:gd name="connsiteX1" fmla="*/ 92215 w 132614"/>
                    <a:gd name="connsiteY1" fmla="*/ 3908 h 54023"/>
                    <a:gd name="connsiteX2" fmla="*/ 0 w 132614"/>
                    <a:gd name="connsiteY2" fmla="*/ 54024 h 54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2614" h="54023">
                      <a:moveTo>
                        <a:pt x="132615" y="3908"/>
                      </a:moveTo>
                      <a:cubicBezTo>
                        <a:pt x="132615" y="3908"/>
                        <a:pt x="118563" y="-4885"/>
                        <a:pt x="92215" y="3908"/>
                      </a:cubicBezTo>
                      <a:cubicBezTo>
                        <a:pt x="74651" y="9183"/>
                        <a:pt x="0" y="54024"/>
                        <a:pt x="0" y="54024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B0C3588D-5561-822D-A6E3-62F4EE15BA6F}"/>
                    </a:ext>
                  </a:extLst>
                </p:cNvPr>
                <p:cNvSpPr/>
                <p:nvPr/>
              </p:nvSpPr>
              <p:spPr>
                <a:xfrm>
                  <a:off x="-12031845" y="3319084"/>
                  <a:ext cx="21923" cy="111662"/>
                </a:xfrm>
                <a:custGeom>
                  <a:avLst/>
                  <a:gdLst>
                    <a:gd name="connsiteX0" fmla="*/ 5270 w 21923"/>
                    <a:gd name="connsiteY0" fmla="*/ 0 h 111662"/>
                    <a:gd name="connsiteX1" fmla="*/ 21078 w 21923"/>
                    <a:gd name="connsiteY1" fmla="*/ 50116 h 111662"/>
                    <a:gd name="connsiteX2" fmla="*/ 0 w 21923"/>
                    <a:gd name="connsiteY2" fmla="*/ 111662 h 11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923" h="111662">
                      <a:moveTo>
                        <a:pt x="5270" y="0"/>
                      </a:moveTo>
                      <a:cubicBezTo>
                        <a:pt x="5270" y="0"/>
                        <a:pt x="26347" y="28135"/>
                        <a:pt x="21078" y="50116"/>
                      </a:cubicBezTo>
                      <a:cubicBezTo>
                        <a:pt x="15808" y="72976"/>
                        <a:pt x="0" y="111662"/>
                        <a:pt x="0" y="111662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" name="Graphic 6">
                <a:extLst>
                  <a:ext uri="{FF2B5EF4-FFF2-40B4-BE49-F238E27FC236}">
                    <a16:creationId xmlns:a16="http://schemas.microsoft.com/office/drawing/2014/main" id="{11D2ADC8-B80E-5CD9-DB64-44CB52CC69D7}"/>
                  </a:ext>
                </a:extLst>
              </p:cNvPr>
              <p:cNvGrpSpPr/>
              <p:nvPr/>
            </p:nvGrpSpPr>
            <p:grpSpPr>
              <a:xfrm>
                <a:off x="-10159651" y="3689492"/>
                <a:ext cx="1772053" cy="2111660"/>
                <a:chOff x="-10159651" y="3689492"/>
                <a:chExt cx="1772053" cy="2111660"/>
              </a:xfrm>
            </p:grpSpPr>
            <p:grpSp>
              <p:nvGrpSpPr>
                <p:cNvPr id="21" name="Graphic 6">
                  <a:extLst>
                    <a:ext uri="{FF2B5EF4-FFF2-40B4-BE49-F238E27FC236}">
                      <a16:creationId xmlns:a16="http://schemas.microsoft.com/office/drawing/2014/main" id="{53B3B48A-CE6A-6538-A37A-E7F360B2D84D}"/>
                    </a:ext>
                  </a:extLst>
                </p:cNvPr>
                <p:cNvGrpSpPr/>
                <p:nvPr/>
              </p:nvGrpSpPr>
              <p:grpSpPr>
                <a:xfrm>
                  <a:off x="-10145379" y="3689492"/>
                  <a:ext cx="1583761" cy="2111660"/>
                  <a:chOff x="-10145379" y="3689492"/>
                  <a:chExt cx="1583761" cy="2111660"/>
                </a:xfrm>
              </p:grpSpPr>
              <p:sp>
                <p:nvSpPr>
                  <p:cNvPr id="27" name="Freeform 26">
                    <a:extLst>
                      <a:ext uri="{FF2B5EF4-FFF2-40B4-BE49-F238E27FC236}">
                        <a16:creationId xmlns:a16="http://schemas.microsoft.com/office/drawing/2014/main" id="{215CB06D-B865-45BE-BB99-CA7A75311A02}"/>
                      </a:ext>
                    </a:extLst>
                  </p:cNvPr>
                  <p:cNvSpPr/>
                  <p:nvPr/>
                </p:nvSpPr>
                <p:spPr>
                  <a:xfrm>
                    <a:off x="-9701867" y="5162831"/>
                    <a:ext cx="224829" cy="623972"/>
                  </a:xfrm>
                  <a:custGeom>
                    <a:avLst/>
                    <a:gdLst>
                      <a:gd name="connsiteX0" fmla="*/ 103633 w 224829"/>
                      <a:gd name="connsiteY0" fmla="*/ 612824 h 623972"/>
                      <a:gd name="connsiteX1" fmla="*/ 90459 w 224829"/>
                      <a:gd name="connsiteY1" fmla="*/ 563587 h 623972"/>
                      <a:gd name="connsiteX2" fmla="*/ 96607 w 224829"/>
                      <a:gd name="connsiteY2" fmla="*/ 496765 h 623972"/>
                      <a:gd name="connsiteX3" fmla="*/ 28104 w 224829"/>
                      <a:gd name="connsiteY3" fmla="*/ 125730 h 623972"/>
                      <a:gd name="connsiteX4" fmla="*/ 0 w 224829"/>
                      <a:gd name="connsiteY4" fmla="*/ 4396 h 623972"/>
                      <a:gd name="connsiteX5" fmla="*/ 180040 w 224829"/>
                      <a:gd name="connsiteY5" fmla="*/ 0 h 623972"/>
                      <a:gd name="connsiteX6" fmla="*/ 185309 w 224829"/>
                      <a:gd name="connsiteY6" fmla="*/ 118696 h 623972"/>
                      <a:gd name="connsiteX7" fmla="*/ 194970 w 224829"/>
                      <a:gd name="connsiteY7" fmla="*/ 517867 h 623972"/>
                      <a:gd name="connsiteX8" fmla="*/ 224830 w 224829"/>
                      <a:gd name="connsiteY8" fmla="*/ 556553 h 623972"/>
                      <a:gd name="connsiteX9" fmla="*/ 103633 w 224829"/>
                      <a:gd name="connsiteY9" fmla="*/ 612824 h 623972"/>
                      <a:gd name="connsiteX10" fmla="*/ 103633 w 224829"/>
                      <a:gd name="connsiteY10" fmla="*/ 612824 h 623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24829" h="623972">
                        <a:moveTo>
                          <a:pt x="103633" y="612824"/>
                        </a:moveTo>
                        <a:cubicBezTo>
                          <a:pt x="103633" y="612824"/>
                          <a:pt x="83433" y="589964"/>
                          <a:pt x="90459" y="563587"/>
                        </a:cubicBezTo>
                        <a:cubicBezTo>
                          <a:pt x="97485" y="537210"/>
                          <a:pt x="108024" y="528418"/>
                          <a:pt x="96607" y="496765"/>
                        </a:cubicBezTo>
                        <a:cubicBezTo>
                          <a:pt x="96607" y="496765"/>
                          <a:pt x="10539" y="196069"/>
                          <a:pt x="28104" y="125730"/>
                        </a:cubicBezTo>
                        <a:cubicBezTo>
                          <a:pt x="18443" y="85285"/>
                          <a:pt x="0" y="4396"/>
                          <a:pt x="0" y="4396"/>
                        </a:cubicBezTo>
                        <a:lnTo>
                          <a:pt x="180040" y="0"/>
                        </a:lnTo>
                        <a:lnTo>
                          <a:pt x="185309" y="118696"/>
                        </a:lnTo>
                        <a:lnTo>
                          <a:pt x="194970" y="517867"/>
                        </a:lnTo>
                        <a:lnTo>
                          <a:pt x="224830" y="556553"/>
                        </a:lnTo>
                        <a:cubicBezTo>
                          <a:pt x="224830" y="556553"/>
                          <a:pt x="134371" y="656785"/>
                          <a:pt x="103633" y="612824"/>
                        </a:cubicBezTo>
                        <a:lnTo>
                          <a:pt x="103633" y="612824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eform 27">
                    <a:extLst>
                      <a:ext uri="{FF2B5EF4-FFF2-40B4-BE49-F238E27FC236}">
                        <a16:creationId xmlns:a16="http://schemas.microsoft.com/office/drawing/2014/main" id="{24327F31-FBDD-2E2F-8725-31F1109BB6F8}"/>
                      </a:ext>
                    </a:extLst>
                  </p:cNvPr>
                  <p:cNvSpPr/>
                  <p:nvPr/>
                </p:nvSpPr>
                <p:spPr>
                  <a:xfrm>
                    <a:off x="-9620519" y="5684214"/>
                    <a:ext cx="289335" cy="116937"/>
                  </a:xfrm>
                  <a:custGeom>
                    <a:avLst/>
                    <a:gdLst>
                      <a:gd name="connsiteX0" fmla="*/ 276096 w 289335"/>
                      <a:gd name="connsiteY0" fmla="*/ 61546 h 116937"/>
                      <a:gd name="connsiteX1" fmla="*/ 129430 w 289335"/>
                      <a:gd name="connsiteY1" fmla="*/ 0 h 116937"/>
                      <a:gd name="connsiteX2" fmla="*/ 99569 w 289335"/>
                      <a:gd name="connsiteY2" fmla="*/ 76493 h 116937"/>
                      <a:gd name="connsiteX3" fmla="*/ 328 w 289335"/>
                      <a:gd name="connsiteY3" fmla="*/ 76493 h 116937"/>
                      <a:gd name="connsiteX4" fmla="*/ 7354 w 289335"/>
                      <a:gd name="connsiteY4" fmla="*/ 114300 h 116937"/>
                      <a:gd name="connsiteX5" fmla="*/ 264679 w 289335"/>
                      <a:gd name="connsiteY5" fmla="*/ 116938 h 116937"/>
                      <a:gd name="connsiteX6" fmla="*/ 276096 w 289335"/>
                      <a:gd name="connsiteY6" fmla="*/ 60667 h 116937"/>
                      <a:gd name="connsiteX7" fmla="*/ 276096 w 289335"/>
                      <a:gd name="connsiteY7" fmla="*/ 60667 h 116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89335" h="116937">
                        <a:moveTo>
                          <a:pt x="276096" y="61546"/>
                        </a:moveTo>
                        <a:cubicBezTo>
                          <a:pt x="246236" y="36049"/>
                          <a:pt x="129430" y="0"/>
                          <a:pt x="129430" y="0"/>
                        </a:cubicBezTo>
                        <a:cubicBezTo>
                          <a:pt x="129430" y="0"/>
                          <a:pt x="125039" y="72097"/>
                          <a:pt x="99569" y="76493"/>
                        </a:cubicBezTo>
                        <a:cubicBezTo>
                          <a:pt x="74101" y="80889"/>
                          <a:pt x="328" y="76493"/>
                          <a:pt x="328" y="76493"/>
                        </a:cubicBezTo>
                        <a:cubicBezTo>
                          <a:pt x="328" y="76493"/>
                          <a:pt x="-2306" y="109904"/>
                          <a:pt x="7354" y="114300"/>
                        </a:cubicBezTo>
                        <a:cubicBezTo>
                          <a:pt x="14380" y="116938"/>
                          <a:pt x="249749" y="116938"/>
                          <a:pt x="264679" y="116938"/>
                        </a:cubicBezTo>
                        <a:cubicBezTo>
                          <a:pt x="279609" y="116938"/>
                          <a:pt x="305078" y="86164"/>
                          <a:pt x="276096" y="60667"/>
                        </a:cubicBezTo>
                        <a:lnTo>
                          <a:pt x="276096" y="60667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9" name="Graphic 6">
                    <a:extLst>
                      <a:ext uri="{FF2B5EF4-FFF2-40B4-BE49-F238E27FC236}">
                        <a16:creationId xmlns:a16="http://schemas.microsoft.com/office/drawing/2014/main" id="{72D6052B-7F44-A53C-7FEA-68868F6BD3A0}"/>
                      </a:ext>
                    </a:extLst>
                  </p:cNvPr>
                  <p:cNvGrpSpPr/>
                  <p:nvPr/>
                </p:nvGrpSpPr>
                <p:grpSpPr>
                  <a:xfrm>
                    <a:off x="-10000469" y="4565833"/>
                    <a:ext cx="972045" cy="1224518"/>
                    <a:chOff x="-10000469" y="4565833"/>
                    <a:chExt cx="972045" cy="1224518"/>
                  </a:xfrm>
                </p:grpSpPr>
                <p:sp>
                  <p:nvSpPr>
                    <p:cNvPr id="34" name="Freeform 33">
                      <a:extLst>
                        <a:ext uri="{FF2B5EF4-FFF2-40B4-BE49-F238E27FC236}">
                          <a16:creationId xmlns:a16="http://schemas.microsoft.com/office/drawing/2014/main" id="{47457D96-7C73-A710-8A43-A328156D61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967975" y="5144367"/>
                      <a:ext cx="182674" cy="645984"/>
                    </a:xfrm>
                    <a:custGeom>
                      <a:avLst/>
                      <a:gdLst>
                        <a:gd name="connsiteX0" fmla="*/ 113293 w 182674"/>
                        <a:gd name="connsiteY0" fmla="*/ 605790 h 645984"/>
                        <a:gd name="connsiteX1" fmla="*/ 106267 w 182674"/>
                        <a:gd name="connsiteY1" fmla="*/ 513471 h 645984"/>
                        <a:gd name="connsiteX2" fmla="*/ 182675 w 182674"/>
                        <a:gd name="connsiteY2" fmla="*/ 7034 h 645984"/>
                        <a:gd name="connsiteX3" fmla="*/ 0 w 182674"/>
                        <a:gd name="connsiteY3" fmla="*/ 0 h 645984"/>
                        <a:gd name="connsiteX4" fmla="*/ 20200 w 182674"/>
                        <a:gd name="connsiteY4" fmla="*/ 512591 h 645984"/>
                        <a:gd name="connsiteX5" fmla="*/ 2635 w 182674"/>
                        <a:gd name="connsiteY5" fmla="*/ 622495 h 645984"/>
                        <a:gd name="connsiteX6" fmla="*/ 113293 w 182674"/>
                        <a:gd name="connsiteY6" fmla="*/ 606669 h 645984"/>
                        <a:gd name="connsiteX7" fmla="*/ 113293 w 182674"/>
                        <a:gd name="connsiteY7" fmla="*/ 606669 h 6459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82674" h="645984">
                          <a:moveTo>
                            <a:pt x="113293" y="605790"/>
                          </a:moveTo>
                          <a:cubicBezTo>
                            <a:pt x="113293" y="605790"/>
                            <a:pt x="94850" y="545123"/>
                            <a:pt x="106267" y="513471"/>
                          </a:cubicBezTo>
                          <a:lnTo>
                            <a:pt x="182675" y="7034"/>
                          </a:lnTo>
                          <a:lnTo>
                            <a:pt x="0" y="0"/>
                          </a:lnTo>
                          <a:lnTo>
                            <a:pt x="20200" y="512591"/>
                          </a:lnTo>
                          <a:cubicBezTo>
                            <a:pt x="20200" y="512591"/>
                            <a:pt x="-6148" y="584688"/>
                            <a:pt x="2635" y="622495"/>
                          </a:cubicBezTo>
                          <a:cubicBezTo>
                            <a:pt x="10539" y="660302"/>
                            <a:pt x="83433" y="650631"/>
                            <a:pt x="113293" y="606669"/>
                          </a:cubicBezTo>
                          <a:lnTo>
                            <a:pt x="113293" y="606669"/>
                          </a:lnTo>
                          <a:close/>
                        </a:path>
                      </a:pathLst>
                    </a:custGeom>
                    <a:solidFill>
                      <a:srgbClr val="DE9C74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5" name="Freeform 34">
                      <a:extLst>
                        <a:ext uri="{FF2B5EF4-FFF2-40B4-BE49-F238E27FC236}">
                          <a16:creationId xmlns:a16="http://schemas.microsoft.com/office/drawing/2014/main" id="{1C558E9A-3546-C277-41A5-015CF2EE02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000469" y="4565833"/>
                      <a:ext cx="499719" cy="602272"/>
                    </a:xfrm>
                    <a:custGeom>
                      <a:avLst/>
                      <a:gdLst>
                        <a:gd name="connsiteX0" fmla="*/ 233612 w 499719"/>
                        <a:gd name="connsiteY0" fmla="*/ 601394 h 602272"/>
                        <a:gd name="connsiteX1" fmla="*/ 0 w 499719"/>
                        <a:gd name="connsiteY1" fmla="*/ 601394 h 602272"/>
                        <a:gd name="connsiteX2" fmla="*/ 20199 w 499719"/>
                        <a:gd name="connsiteY2" fmla="*/ 135401 h 602272"/>
                        <a:gd name="connsiteX3" fmla="*/ 44790 w 499719"/>
                        <a:gd name="connsiteY3" fmla="*/ 45720 h 602272"/>
                        <a:gd name="connsiteX4" fmla="*/ 388183 w 499719"/>
                        <a:gd name="connsiteY4" fmla="*/ 0 h 602272"/>
                        <a:gd name="connsiteX5" fmla="*/ 449660 w 499719"/>
                        <a:gd name="connsiteY5" fmla="*/ 124851 h 602272"/>
                        <a:gd name="connsiteX6" fmla="*/ 499720 w 499719"/>
                        <a:gd name="connsiteY6" fmla="*/ 596998 h 602272"/>
                        <a:gd name="connsiteX7" fmla="*/ 274890 w 499719"/>
                        <a:gd name="connsiteY7" fmla="*/ 602273 h 602272"/>
                        <a:gd name="connsiteX8" fmla="*/ 259960 w 499719"/>
                        <a:gd name="connsiteY8" fmla="*/ 366639 h 602272"/>
                        <a:gd name="connsiteX9" fmla="*/ 238882 w 499719"/>
                        <a:gd name="connsiteY9" fmla="*/ 371915 h 602272"/>
                        <a:gd name="connsiteX10" fmla="*/ 233612 w 499719"/>
                        <a:gd name="connsiteY10" fmla="*/ 602273 h 602272"/>
                        <a:gd name="connsiteX11" fmla="*/ 233612 w 499719"/>
                        <a:gd name="connsiteY11" fmla="*/ 602273 h 6022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499719" h="602272">
                          <a:moveTo>
                            <a:pt x="233612" y="601394"/>
                          </a:moveTo>
                          <a:lnTo>
                            <a:pt x="0" y="601394"/>
                          </a:lnTo>
                          <a:lnTo>
                            <a:pt x="20199" y="135401"/>
                          </a:lnTo>
                          <a:lnTo>
                            <a:pt x="44790" y="45720"/>
                          </a:lnTo>
                          <a:lnTo>
                            <a:pt x="388183" y="0"/>
                          </a:lnTo>
                          <a:lnTo>
                            <a:pt x="449660" y="124851"/>
                          </a:lnTo>
                          <a:cubicBezTo>
                            <a:pt x="462834" y="160020"/>
                            <a:pt x="499720" y="596998"/>
                            <a:pt x="499720" y="596998"/>
                          </a:cubicBezTo>
                          <a:lnTo>
                            <a:pt x="274890" y="602273"/>
                          </a:lnTo>
                          <a:lnTo>
                            <a:pt x="259960" y="366639"/>
                          </a:lnTo>
                          <a:lnTo>
                            <a:pt x="238882" y="371915"/>
                          </a:lnTo>
                          <a:lnTo>
                            <a:pt x="233612" y="602273"/>
                          </a:lnTo>
                          <a:lnTo>
                            <a:pt x="233612" y="602273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" name="Freeform 29">
                    <a:extLst>
                      <a:ext uri="{FF2B5EF4-FFF2-40B4-BE49-F238E27FC236}">
                        <a16:creationId xmlns:a16="http://schemas.microsoft.com/office/drawing/2014/main" id="{3FAA6EB5-56D0-7D18-DF60-66BAEDAC788F}"/>
                      </a:ext>
                    </a:extLst>
                  </p:cNvPr>
                  <p:cNvSpPr/>
                  <p:nvPr/>
                </p:nvSpPr>
                <p:spPr>
                  <a:xfrm>
                    <a:off x="-10145379" y="4042691"/>
                    <a:ext cx="736845" cy="653268"/>
                  </a:xfrm>
                  <a:custGeom>
                    <a:avLst/>
                    <a:gdLst>
                      <a:gd name="connsiteX0" fmla="*/ 95728 w 736845"/>
                      <a:gd name="connsiteY0" fmla="*/ 109025 h 653268"/>
                      <a:gd name="connsiteX1" fmla="*/ 230978 w 736845"/>
                      <a:gd name="connsiteY1" fmla="*/ 19343 h 653268"/>
                      <a:gd name="connsiteX2" fmla="*/ 413652 w 736845"/>
                      <a:gd name="connsiteY2" fmla="*/ 0 h 653268"/>
                      <a:gd name="connsiteX3" fmla="*/ 555049 w 736845"/>
                      <a:gd name="connsiteY3" fmla="*/ 23739 h 653268"/>
                      <a:gd name="connsiteX4" fmla="*/ 663951 w 736845"/>
                      <a:gd name="connsiteY4" fmla="*/ 91440 h 653268"/>
                      <a:gd name="connsiteX5" fmla="*/ 736845 w 736845"/>
                      <a:gd name="connsiteY5" fmla="*/ 383345 h 653268"/>
                      <a:gd name="connsiteX6" fmla="*/ 610379 w 736845"/>
                      <a:gd name="connsiteY6" fmla="*/ 413238 h 653268"/>
                      <a:gd name="connsiteX7" fmla="*/ 613892 w 736845"/>
                      <a:gd name="connsiteY7" fmla="*/ 302455 h 653268"/>
                      <a:gd name="connsiteX8" fmla="*/ 603352 w 736845"/>
                      <a:gd name="connsiteY8" fmla="*/ 648872 h 653268"/>
                      <a:gd name="connsiteX9" fmla="*/ 152814 w 736845"/>
                      <a:gd name="connsiteY9" fmla="*/ 653269 h 653268"/>
                      <a:gd name="connsiteX10" fmla="*/ 172135 w 736845"/>
                      <a:gd name="connsiteY10" fmla="*/ 314765 h 653268"/>
                      <a:gd name="connsiteX11" fmla="*/ 133493 w 736845"/>
                      <a:gd name="connsiteY11" fmla="*/ 414997 h 653268"/>
                      <a:gd name="connsiteX12" fmla="*/ 0 w 736845"/>
                      <a:gd name="connsiteY12" fmla="*/ 327074 h 653268"/>
                      <a:gd name="connsiteX13" fmla="*/ 96607 w 736845"/>
                      <a:gd name="connsiteY13" fmla="*/ 110783 h 653268"/>
                      <a:gd name="connsiteX14" fmla="*/ 96607 w 736845"/>
                      <a:gd name="connsiteY14" fmla="*/ 109025 h 6532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736845" h="653268">
                        <a:moveTo>
                          <a:pt x="95728" y="109025"/>
                        </a:moveTo>
                        <a:cubicBezTo>
                          <a:pt x="137006" y="36049"/>
                          <a:pt x="230978" y="19343"/>
                          <a:pt x="230978" y="19343"/>
                        </a:cubicBezTo>
                        <a:cubicBezTo>
                          <a:pt x="230978" y="19343"/>
                          <a:pt x="310898" y="2638"/>
                          <a:pt x="413652" y="0"/>
                        </a:cubicBezTo>
                        <a:cubicBezTo>
                          <a:pt x="518163" y="4396"/>
                          <a:pt x="555049" y="23739"/>
                          <a:pt x="555049" y="23739"/>
                        </a:cubicBezTo>
                        <a:cubicBezTo>
                          <a:pt x="598083" y="38686"/>
                          <a:pt x="645508" y="63305"/>
                          <a:pt x="663951" y="91440"/>
                        </a:cubicBezTo>
                        <a:cubicBezTo>
                          <a:pt x="685029" y="122213"/>
                          <a:pt x="716646" y="252339"/>
                          <a:pt x="736845" y="383345"/>
                        </a:cubicBezTo>
                        <a:lnTo>
                          <a:pt x="610379" y="413238"/>
                        </a:lnTo>
                        <a:lnTo>
                          <a:pt x="613892" y="302455"/>
                        </a:lnTo>
                        <a:lnTo>
                          <a:pt x="603352" y="648872"/>
                        </a:lnTo>
                        <a:lnTo>
                          <a:pt x="152814" y="653269"/>
                        </a:lnTo>
                        <a:cubicBezTo>
                          <a:pt x="152814" y="653269"/>
                          <a:pt x="170379" y="452804"/>
                          <a:pt x="172135" y="314765"/>
                        </a:cubicBezTo>
                        <a:lnTo>
                          <a:pt x="133493" y="414997"/>
                        </a:lnTo>
                        <a:cubicBezTo>
                          <a:pt x="133493" y="414997"/>
                          <a:pt x="36008" y="371915"/>
                          <a:pt x="0" y="327074"/>
                        </a:cubicBezTo>
                        <a:cubicBezTo>
                          <a:pt x="12295" y="284871"/>
                          <a:pt x="55329" y="182880"/>
                          <a:pt x="96607" y="110783"/>
                        </a:cubicBezTo>
                        <a:lnTo>
                          <a:pt x="96607" y="1090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eform 30">
                    <a:extLst>
                      <a:ext uri="{FF2B5EF4-FFF2-40B4-BE49-F238E27FC236}">
                        <a16:creationId xmlns:a16="http://schemas.microsoft.com/office/drawing/2014/main" id="{60350DBC-3891-D90E-D738-4F8E67B1ADB3}"/>
                      </a:ext>
                    </a:extLst>
                  </p:cNvPr>
                  <p:cNvSpPr/>
                  <p:nvPr/>
                </p:nvSpPr>
                <p:spPr>
                  <a:xfrm>
                    <a:off x="-9872246" y="3894980"/>
                    <a:ext cx="243273" cy="239150"/>
                  </a:xfrm>
                  <a:custGeom>
                    <a:avLst/>
                    <a:gdLst>
                      <a:gd name="connsiteX0" fmla="*/ 0 w 243273"/>
                      <a:gd name="connsiteY0" fmla="*/ 160899 h 239150"/>
                      <a:gd name="connsiteX1" fmla="*/ 58842 w 243273"/>
                      <a:gd name="connsiteY1" fmla="*/ 152107 h 239150"/>
                      <a:gd name="connsiteX2" fmla="*/ 65868 w 243273"/>
                      <a:gd name="connsiteY2" fmla="*/ 0 h 239150"/>
                      <a:gd name="connsiteX3" fmla="*/ 195848 w 243273"/>
                      <a:gd name="connsiteY3" fmla="*/ 43962 h 239150"/>
                      <a:gd name="connsiteX4" fmla="*/ 191457 w 243273"/>
                      <a:gd name="connsiteY4" fmla="*/ 150349 h 239150"/>
                      <a:gd name="connsiteX5" fmla="*/ 243273 w 243273"/>
                      <a:gd name="connsiteY5" fmla="*/ 159141 h 239150"/>
                      <a:gd name="connsiteX6" fmla="*/ 122076 w 243273"/>
                      <a:gd name="connsiteY6" fmla="*/ 239151 h 239150"/>
                      <a:gd name="connsiteX7" fmla="*/ 0 w 243273"/>
                      <a:gd name="connsiteY7" fmla="*/ 160899 h 239150"/>
                      <a:gd name="connsiteX8" fmla="*/ 0 w 243273"/>
                      <a:gd name="connsiteY8" fmla="*/ 160899 h 239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3273" h="239150">
                        <a:moveTo>
                          <a:pt x="0" y="160899"/>
                        </a:moveTo>
                        <a:lnTo>
                          <a:pt x="58842" y="152107"/>
                        </a:lnTo>
                        <a:lnTo>
                          <a:pt x="65868" y="0"/>
                        </a:lnTo>
                        <a:lnTo>
                          <a:pt x="195848" y="43962"/>
                        </a:lnTo>
                        <a:lnTo>
                          <a:pt x="191457" y="150349"/>
                        </a:lnTo>
                        <a:lnTo>
                          <a:pt x="243273" y="159141"/>
                        </a:lnTo>
                        <a:cubicBezTo>
                          <a:pt x="243273" y="159141"/>
                          <a:pt x="218683" y="239151"/>
                          <a:pt x="122076" y="239151"/>
                        </a:cubicBezTo>
                        <a:cubicBezTo>
                          <a:pt x="25469" y="239151"/>
                          <a:pt x="0" y="160899"/>
                          <a:pt x="0" y="160899"/>
                        </a:cubicBezTo>
                        <a:lnTo>
                          <a:pt x="0" y="160899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eform 31">
                    <a:extLst>
                      <a:ext uri="{FF2B5EF4-FFF2-40B4-BE49-F238E27FC236}">
                        <a16:creationId xmlns:a16="http://schemas.microsoft.com/office/drawing/2014/main" id="{175CEECE-86CF-0D5F-1CC4-DBE17644F9BA}"/>
                      </a:ext>
                    </a:extLst>
                  </p:cNvPr>
                  <p:cNvSpPr/>
                  <p:nvPr/>
                </p:nvSpPr>
                <p:spPr>
                  <a:xfrm>
                    <a:off x="-9812907" y="3743752"/>
                    <a:ext cx="230192" cy="262889"/>
                  </a:xfrm>
                  <a:custGeom>
                    <a:avLst/>
                    <a:gdLst>
                      <a:gd name="connsiteX0" fmla="*/ 23216 w 230192"/>
                      <a:gd name="connsiteY0" fmla="*/ 196068 h 262889"/>
                      <a:gd name="connsiteX1" fmla="*/ 10042 w 230192"/>
                      <a:gd name="connsiteY1" fmla="*/ 176725 h 262889"/>
                      <a:gd name="connsiteX2" fmla="*/ 8286 w 230192"/>
                      <a:gd name="connsiteY2" fmla="*/ 174088 h 262889"/>
                      <a:gd name="connsiteX3" fmla="*/ 48685 w 230192"/>
                      <a:gd name="connsiteY3" fmla="*/ 116059 h 262889"/>
                      <a:gd name="connsiteX4" fmla="*/ 53955 w 230192"/>
                      <a:gd name="connsiteY4" fmla="*/ 104629 h 262889"/>
                      <a:gd name="connsiteX5" fmla="*/ 73276 w 230192"/>
                      <a:gd name="connsiteY5" fmla="*/ 101991 h 262889"/>
                      <a:gd name="connsiteX6" fmla="*/ 68885 w 230192"/>
                      <a:gd name="connsiteY6" fmla="*/ 88802 h 262889"/>
                      <a:gd name="connsiteX7" fmla="*/ 107527 w 230192"/>
                      <a:gd name="connsiteY7" fmla="*/ 30773 h 262889"/>
                      <a:gd name="connsiteX8" fmla="*/ 159344 w 230192"/>
                      <a:gd name="connsiteY8" fmla="*/ 2638 h 262889"/>
                      <a:gd name="connsiteX9" fmla="*/ 167248 w 230192"/>
                      <a:gd name="connsiteY9" fmla="*/ 0 h 262889"/>
                      <a:gd name="connsiteX10" fmla="*/ 193595 w 230192"/>
                      <a:gd name="connsiteY10" fmla="*/ 74735 h 262889"/>
                      <a:gd name="connsiteX11" fmla="*/ 226090 w 230192"/>
                      <a:gd name="connsiteY11" fmla="*/ 116059 h 262889"/>
                      <a:gd name="connsiteX12" fmla="*/ 220821 w 230192"/>
                      <a:gd name="connsiteY12" fmla="*/ 141556 h 262889"/>
                      <a:gd name="connsiteX13" fmla="*/ 220821 w 230192"/>
                      <a:gd name="connsiteY13" fmla="*/ 171450 h 262889"/>
                      <a:gd name="connsiteX14" fmla="*/ 213795 w 230192"/>
                      <a:gd name="connsiteY14" fmla="*/ 186397 h 262889"/>
                      <a:gd name="connsiteX15" fmla="*/ 219064 w 230192"/>
                      <a:gd name="connsiteY15" fmla="*/ 203102 h 262889"/>
                      <a:gd name="connsiteX16" fmla="*/ 212916 w 230192"/>
                      <a:gd name="connsiteY16" fmla="*/ 245305 h 262889"/>
                      <a:gd name="connsiteX17" fmla="*/ 118945 w 230192"/>
                      <a:gd name="connsiteY17" fmla="*/ 262890 h 262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30192" h="262889">
                        <a:moveTo>
                          <a:pt x="23216" y="196068"/>
                        </a:moveTo>
                        <a:cubicBezTo>
                          <a:pt x="17947" y="190793"/>
                          <a:pt x="13555" y="183759"/>
                          <a:pt x="10042" y="176725"/>
                        </a:cubicBezTo>
                        <a:cubicBezTo>
                          <a:pt x="10042" y="175846"/>
                          <a:pt x="9164" y="174967"/>
                          <a:pt x="8286" y="174088"/>
                        </a:cubicBezTo>
                        <a:cubicBezTo>
                          <a:pt x="-16305" y="119575"/>
                          <a:pt x="18825" y="92319"/>
                          <a:pt x="48685" y="116059"/>
                        </a:cubicBezTo>
                        <a:cubicBezTo>
                          <a:pt x="55711" y="121334"/>
                          <a:pt x="48685" y="94078"/>
                          <a:pt x="53955" y="104629"/>
                        </a:cubicBezTo>
                        <a:cubicBezTo>
                          <a:pt x="62737" y="123972"/>
                          <a:pt x="81180" y="131005"/>
                          <a:pt x="73276" y="101991"/>
                        </a:cubicBezTo>
                        <a:cubicBezTo>
                          <a:pt x="73276" y="99353"/>
                          <a:pt x="71519" y="98474"/>
                          <a:pt x="68885" y="88802"/>
                        </a:cubicBezTo>
                        <a:cubicBezTo>
                          <a:pt x="60102" y="62425"/>
                          <a:pt x="85571" y="36928"/>
                          <a:pt x="107527" y="30773"/>
                        </a:cubicBezTo>
                        <a:cubicBezTo>
                          <a:pt x="138266" y="21981"/>
                          <a:pt x="159344" y="2638"/>
                          <a:pt x="159344" y="2638"/>
                        </a:cubicBezTo>
                        <a:cubicBezTo>
                          <a:pt x="159344" y="2638"/>
                          <a:pt x="166370" y="0"/>
                          <a:pt x="167248" y="0"/>
                        </a:cubicBezTo>
                        <a:cubicBezTo>
                          <a:pt x="172517" y="5275"/>
                          <a:pt x="195351" y="35169"/>
                          <a:pt x="193595" y="74735"/>
                        </a:cubicBezTo>
                        <a:cubicBezTo>
                          <a:pt x="193595" y="84406"/>
                          <a:pt x="219942" y="106387"/>
                          <a:pt x="226090" y="116059"/>
                        </a:cubicBezTo>
                        <a:cubicBezTo>
                          <a:pt x="232238" y="125730"/>
                          <a:pt x="232238" y="133643"/>
                          <a:pt x="220821" y="141556"/>
                        </a:cubicBezTo>
                        <a:cubicBezTo>
                          <a:pt x="206769" y="150349"/>
                          <a:pt x="216429" y="167054"/>
                          <a:pt x="220821" y="171450"/>
                        </a:cubicBezTo>
                        <a:cubicBezTo>
                          <a:pt x="225212" y="176725"/>
                          <a:pt x="209403" y="184638"/>
                          <a:pt x="213795" y="186397"/>
                        </a:cubicBezTo>
                        <a:cubicBezTo>
                          <a:pt x="213795" y="186397"/>
                          <a:pt x="224334" y="195189"/>
                          <a:pt x="219064" y="203102"/>
                        </a:cubicBezTo>
                        <a:cubicBezTo>
                          <a:pt x="213795" y="211015"/>
                          <a:pt x="216429" y="236513"/>
                          <a:pt x="212916" y="245305"/>
                        </a:cubicBezTo>
                        <a:cubicBezTo>
                          <a:pt x="206769" y="262011"/>
                          <a:pt x="142657" y="262011"/>
                          <a:pt x="118945" y="262890"/>
                        </a:cubicBezTo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eform 32">
                    <a:extLst>
                      <a:ext uri="{FF2B5EF4-FFF2-40B4-BE49-F238E27FC236}">
                        <a16:creationId xmlns:a16="http://schemas.microsoft.com/office/drawing/2014/main" id="{9D957394-0F42-73FD-EC36-F78647F19DBC}"/>
                      </a:ext>
                    </a:extLst>
                  </p:cNvPr>
                  <p:cNvSpPr/>
                  <p:nvPr/>
                </p:nvSpPr>
                <p:spPr>
                  <a:xfrm>
                    <a:off x="-9913093" y="3689492"/>
                    <a:ext cx="287769" cy="295389"/>
                  </a:xfrm>
                  <a:custGeom>
                    <a:avLst/>
                    <a:gdLst>
                      <a:gd name="connsiteX0" fmla="*/ 24160 w 287769"/>
                      <a:gd name="connsiteY0" fmla="*/ 76241 h 295389"/>
                      <a:gd name="connsiteX1" fmla="*/ 61047 w 287769"/>
                      <a:gd name="connsiteY1" fmla="*/ 23487 h 295389"/>
                      <a:gd name="connsiteX2" fmla="*/ 174340 w 287769"/>
                      <a:gd name="connsiteY2" fmla="*/ 627 h 295389"/>
                      <a:gd name="connsiteX3" fmla="*/ 271825 w 287769"/>
                      <a:gd name="connsiteY3" fmla="*/ 67449 h 295389"/>
                      <a:gd name="connsiteX4" fmla="*/ 198931 w 287769"/>
                      <a:gd name="connsiteY4" fmla="*/ 88550 h 295389"/>
                      <a:gd name="connsiteX5" fmla="*/ 175218 w 287769"/>
                      <a:gd name="connsiteY5" fmla="*/ 162406 h 295389"/>
                      <a:gd name="connsiteX6" fmla="*/ 157653 w 287769"/>
                      <a:gd name="connsiteY6" fmla="*/ 185266 h 295389"/>
                      <a:gd name="connsiteX7" fmla="*/ 141845 w 287769"/>
                      <a:gd name="connsiteY7" fmla="*/ 172077 h 295389"/>
                      <a:gd name="connsiteX8" fmla="*/ 108472 w 287769"/>
                      <a:gd name="connsiteY8" fmla="*/ 227469 h 295389"/>
                      <a:gd name="connsiteX9" fmla="*/ 130428 w 287769"/>
                      <a:gd name="connsiteY9" fmla="*/ 250329 h 295389"/>
                      <a:gd name="connsiteX10" fmla="*/ 104959 w 287769"/>
                      <a:gd name="connsiteY10" fmla="*/ 285498 h 295389"/>
                      <a:gd name="connsiteX11" fmla="*/ 83881 w 287769"/>
                      <a:gd name="connsiteY11" fmla="*/ 285498 h 295389"/>
                      <a:gd name="connsiteX12" fmla="*/ 34699 w 287769"/>
                      <a:gd name="connsiteY12" fmla="*/ 221314 h 295389"/>
                      <a:gd name="connsiteX13" fmla="*/ 24160 w 287769"/>
                      <a:gd name="connsiteY13" fmla="*/ 77120 h 295389"/>
                      <a:gd name="connsiteX14" fmla="*/ 24160 w 287769"/>
                      <a:gd name="connsiteY14" fmla="*/ 77120 h 2953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7769" h="295389">
                        <a:moveTo>
                          <a:pt x="24160" y="76241"/>
                        </a:moveTo>
                        <a:cubicBezTo>
                          <a:pt x="24160" y="76241"/>
                          <a:pt x="22404" y="46347"/>
                          <a:pt x="61047" y="23487"/>
                        </a:cubicBezTo>
                        <a:cubicBezTo>
                          <a:pt x="99689" y="-252"/>
                          <a:pt x="174340" y="627"/>
                          <a:pt x="174340" y="627"/>
                        </a:cubicBezTo>
                        <a:cubicBezTo>
                          <a:pt x="321006" y="-7286"/>
                          <a:pt x="290268" y="62174"/>
                          <a:pt x="271825" y="67449"/>
                        </a:cubicBezTo>
                        <a:cubicBezTo>
                          <a:pt x="253382" y="71845"/>
                          <a:pt x="229669" y="79758"/>
                          <a:pt x="198931" y="88550"/>
                        </a:cubicBezTo>
                        <a:cubicBezTo>
                          <a:pt x="176974" y="94705"/>
                          <a:pt x="146236" y="116686"/>
                          <a:pt x="175218" y="162406"/>
                        </a:cubicBezTo>
                        <a:cubicBezTo>
                          <a:pt x="204200" y="208126"/>
                          <a:pt x="157653" y="185266"/>
                          <a:pt x="157653" y="185266"/>
                        </a:cubicBezTo>
                        <a:cubicBezTo>
                          <a:pt x="157653" y="185266"/>
                          <a:pt x="146236" y="187024"/>
                          <a:pt x="141845" y="172077"/>
                        </a:cubicBezTo>
                        <a:cubicBezTo>
                          <a:pt x="137454" y="158010"/>
                          <a:pt x="83881" y="154493"/>
                          <a:pt x="108472" y="227469"/>
                        </a:cubicBezTo>
                        <a:cubicBezTo>
                          <a:pt x="115498" y="243295"/>
                          <a:pt x="128671" y="249450"/>
                          <a:pt x="130428" y="250329"/>
                        </a:cubicBezTo>
                        <a:cubicBezTo>
                          <a:pt x="138332" y="252087"/>
                          <a:pt x="108472" y="277585"/>
                          <a:pt x="104959" y="285498"/>
                        </a:cubicBezTo>
                        <a:cubicBezTo>
                          <a:pt x="98811" y="298687"/>
                          <a:pt x="90029" y="298687"/>
                          <a:pt x="83881" y="285498"/>
                        </a:cubicBezTo>
                        <a:cubicBezTo>
                          <a:pt x="78611" y="274068"/>
                          <a:pt x="61925" y="248570"/>
                          <a:pt x="34699" y="221314"/>
                        </a:cubicBezTo>
                        <a:cubicBezTo>
                          <a:pt x="-1309" y="185266"/>
                          <a:pt x="-16239" y="135150"/>
                          <a:pt x="24160" y="77120"/>
                        </a:cubicBezTo>
                        <a:lnTo>
                          <a:pt x="24160" y="77120"/>
                        </a:lnTo>
                        <a:close/>
                      </a:path>
                    </a:pathLst>
                  </a:custGeom>
                  <a:solidFill>
                    <a:srgbClr val="7A3E1A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B7486EAC-DEBA-513D-9D04-D414AA485DEF}"/>
                    </a:ext>
                  </a:extLst>
                </p:cNvPr>
                <p:cNvSpPr/>
                <p:nvPr/>
              </p:nvSpPr>
              <p:spPr>
                <a:xfrm>
                  <a:off x="-9624582" y="5681577"/>
                  <a:ext cx="160174" cy="74431"/>
                </a:xfrm>
                <a:custGeom>
                  <a:avLst/>
                  <a:gdLst>
                    <a:gd name="connsiteX0" fmla="*/ 10539 w 160174"/>
                    <a:gd name="connsiteY0" fmla="*/ 0 h 74431"/>
                    <a:gd name="connsiteX1" fmla="*/ 0 w 160174"/>
                    <a:gd name="connsiteY1" fmla="*/ 33411 h 74431"/>
                    <a:gd name="connsiteX2" fmla="*/ 137884 w 160174"/>
                    <a:gd name="connsiteY2" fmla="*/ 73856 h 74431"/>
                    <a:gd name="connsiteX3" fmla="*/ 146667 w 160174"/>
                    <a:gd name="connsiteY3" fmla="*/ 40445 h 74431"/>
                    <a:gd name="connsiteX4" fmla="*/ 10539 w 160174"/>
                    <a:gd name="connsiteY4" fmla="*/ 0 h 7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174" h="74431">
                      <a:moveTo>
                        <a:pt x="10539" y="0"/>
                      </a:moveTo>
                      <a:lnTo>
                        <a:pt x="0" y="33411"/>
                      </a:lnTo>
                      <a:cubicBezTo>
                        <a:pt x="0" y="33411"/>
                        <a:pt x="106267" y="67701"/>
                        <a:pt x="137884" y="73856"/>
                      </a:cubicBezTo>
                      <a:cubicBezTo>
                        <a:pt x="162475" y="79131"/>
                        <a:pt x="168623" y="46599"/>
                        <a:pt x="146667" y="40445"/>
                      </a:cubicBezTo>
                      <a:cubicBezTo>
                        <a:pt x="127345" y="35169"/>
                        <a:pt x="10539" y="0"/>
                        <a:pt x="10539" y="0"/>
                      </a:cubicBez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" name="Freeform 22">
                  <a:extLst>
                    <a:ext uri="{FF2B5EF4-FFF2-40B4-BE49-F238E27FC236}">
                      <a16:creationId xmlns:a16="http://schemas.microsoft.com/office/drawing/2014/main" id="{DCE372F2-9C53-7508-AB4C-DC49A1CFC66E}"/>
                    </a:ext>
                  </a:extLst>
                </p:cNvPr>
                <p:cNvSpPr/>
                <p:nvPr/>
              </p:nvSpPr>
              <p:spPr>
                <a:xfrm>
                  <a:off x="-9714724" y="4269532"/>
                  <a:ext cx="129662" cy="117936"/>
                </a:xfrm>
                <a:custGeom>
                  <a:avLst/>
                  <a:gdLst>
                    <a:gd name="connsiteX0" fmla="*/ 561 w 129662"/>
                    <a:gd name="connsiteY0" fmla="*/ 0 h 117936"/>
                    <a:gd name="connsiteX1" fmla="*/ 129663 w 129662"/>
                    <a:gd name="connsiteY1" fmla="*/ 4396 h 117936"/>
                    <a:gd name="connsiteX2" fmla="*/ 60282 w 129662"/>
                    <a:gd name="connsiteY2" fmla="*/ 117817 h 117936"/>
                    <a:gd name="connsiteX3" fmla="*/ 561 w 129662"/>
                    <a:gd name="connsiteY3" fmla="*/ 0 h 117936"/>
                    <a:gd name="connsiteX4" fmla="*/ 561 w 129662"/>
                    <a:gd name="connsiteY4" fmla="*/ 0 h 11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62" h="117936">
                      <a:moveTo>
                        <a:pt x="561" y="0"/>
                      </a:moveTo>
                      <a:lnTo>
                        <a:pt x="129663" y="4396"/>
                      </a:lnTo>
                      <a:cubicBezTo>
                        <a:pt x="129663" y="4396"/>
                        <a:pt x="129663" y="122213"/>
                        <a:pt x="60282" y="117817"/>
                      </a:cubicBezTo>
                      <a:cubicBezTo>
                        <a:pt x="-9978" y="113421"/>
                        <a:pt x="561" y="0"/>
                        <a:pt x="561" y="0"/>
                      </a:cubicBezTo>
                      <a:lnTo>
                        <a:pt x="561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" name="Freeform 23">
                  <a:extLst>
                    <a:ext uri="{FF2B5EF4-FFF2-40B4-BE49-F238E27FC236}">
                      <a16:creationId xmlns:a16="http://schemas.microsoft.com/office/drawing/2014/main" id="{148ABC81-AE0A-C25C-FD60-017CE77B1A2B}"/>
                    </a:ext>
                  </a:extLst>
                </p:cNvPr>
                <p:cNvSpPr/>
                <p:nvPr/>
              </p:nvSpPr>
              <p:spPr>
                <a:xfrm>
                  <a:off x="-10009689" y="5676985"/>
                  <a:ext cx="164667" cy="122799"/>
                </a:xfrm>
                <a:custGeom>
                  <a:avLst/>
                  <a:gdLst>
                    <a:gd name="connsiteX0" fmla="*/ 164668 w 164667"/>
                    <a:gd name="connsiteY0" fmla="*/ 103945 h 122799"/>
                    <a:gd name="connsiteX1" fmla="*/ 161155 w 164667"/>
                    <a:gd name="connsiteY1" fmla="*/ 52070 h 122799"/>
                    <a:gd name="connsiteX2" fmla="*/ 154129 w 164667"/>
                    <a:gd name="connsiteY2" fmla="*/ 28331 h 122799"/>
                    <a:gd name="connsiteX3" fmla="*/ 135686 w 164667"/>
                    <a:gd name="connsiteY3" fmla="*/ 12505 h 122799"/>
                    <a:gd name="connsiteX4" fmla="*/ 46983 w 164667"/>
                    <a:gd name="connsiteY4" fmla="*/ 12505 h 122799"/>
                    <a:gd name="connsiteX5" fmla="*/ 2193 w 164667"/>
                    <a:gd name="connsiteY5" fmla="*/ 81085 h 122799"/>
                    <a:gd name="connsiteX6" fmla="*/ 14488 w 164667"/>
                    <a:gd name="connsiteY6" fmla="*/ 122408 h 122799"/>
                    <a:gd name="connsiteX7" fmla="*/ 149738 w 164667"/>
                    <a:gd name="connsiteY7" fmla="*/ 122408 h 122799"/>
                    <a:gd name="connsiteX8" fmla="*/ 163790 w 164667"/>
                    <a:gd name="connsiteY8" fmla="*/ 103065 h 122799"/>
                    <a:gd name="connsiteX9" fmla="*/ 164668 w 164667"/>
                    <a:gd name="connsiteY9" fmla="*/ 103065 h 122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667" h="122799">
                      <a:moveTo>
                        <a:pt x="164668" y="103945"/>
                      </a:moveTo>
                      <a:lnTo>
                        <a:pt x="161155" y="52070"/>
                      </a:lnTo>
                      <a:lnTo>
                        <a:pt x="154129" y="28331"/>
                      </a:lnTo>
                      <a:cubicBezTo>
                        <a:pt x="151494" y="24814"/>
                        <a:pt x="140955" y="16901"/>
                        <a:pt x="135686" y="12505"/>
                      </a:cubicBezTo>
                      <a:cubicBezTo>
                        <a:pt x="100556" y="-15631"/>
                        <a:pt x="46983" y="12505"/>
                        <a:pt x="46983" y="12505"/>
                      </a:cubicBezTo>
                      <a:cubicBezTo>
                        <a:pt x="32931" y="37123"/>
                        <a:pt x="4828" y="73172"/>
                        <a:pt x="2193" y="81085"/>
                      </a:cubicBezTo>
                      <a:cubicBezTo>
                        <a:pt x="-4833" y="106582"/>
                        <a:pt x="6584" y="121529"/>
                        <a:pt x="14488" y="122408"/>
                      </a:cubicBezTo>
                      <a:cubicBezTo>
                        <a:pt x="22393" y="123288"/>
                        <a:pt x="142712" y="122408"/>
                        <a:pt x="149738" y="122408"/>
                      </a:cubicBezTo>
                      <a:cubicBezTo>
                        <a:pt x="156764" y="122408"/>
                        <a:pt x="164668" y="108341"/>
                        <a:pt x="163790" y="103065"/>
                      </a:cubicBezTo>
                      <a:lnTo>
                        <a:pt x="164668" y="103065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reeform 24">
                  <a:extLst>
                    <a:ext uri="{FF2B5EF4-FFF2-40B4-BE49-F238E27FC236}">
                      <a16:creationId xmlns:a16="http://schemas.microsoft.com/office/drawing/2014/main" id="{520B04B6-978B-F756-8594-4F29D99EE3C7}"/>
                    </a:ext>
                  </a:extLst>
                </p:cNvPr>
                <p:cNvSpPr/>
                <p:nvPr/>
              </p:nvSpPr>
              <p:spPr>
                <a:xfrm>
                  <a:off x="-10159651" y="4379436"/>
                  <a:ext cx="328603" cy="513470"/>
                </a:xfrm>
                <a:custGeom>
                  <a:avLst/>
                  <a:gdLst>
                    <a:gd name="connsiteX0" fmla="*/ 218902 w 328603"/>
                    <a:gd name="connsiteY0" fmla="*/ 334987 h 513470"/>
                    <a:gd name="connsiteX1" fmla="*/ 274231 w 328603"/>
                    <a:gd name="connsiteY1" fmla="*/ 357847 h 513470"/>
                    <a:gd name="connsiteX2" fmla="*/ 293552 w 328603"/>
                    <a:gd name="connsiteY2" fmla="*/ 376311 h 513470"/>
                    <a:gd name="connsiteX3" fmla="*/ 325169 w 328603"/>
                    <a:gd name="connsiteY3" fmla="*/ 414117 h 513470"/>
                    <a:gd name="connsiteX4" fmla="*/ 284770 w 328603"/>
                    <a:gd name="connsiteY4" fmla="*/ 412359 h 513470"/>
                    <a:gd name="connsiteX5" fmla="*/ 266327 w 328603"/>
                    <a:gd name="connsiteY5" fmla="*/ 396533 h 513470"/>
                    <a:gd name="connsiteX6" fmla="*/ 275109 w 328603"/>
                    <a:gd name="connsiteY6" fmla="*/ 410601 h 513470"/>
                    <a:gd name="connsiteX7" fmla="*/ 326047 w 328603"/>
                    <a:gd name="connsiteY7" fmla="*/ 461596 h 513470"/>
                    <a:gd name="connsiteX8" fmla="*/ 313752 w 328603"/>
                    <a:gd name="connsiteY8" fmla="*/ 477422 h 513470"/>
                    <a:gd name="connsiteX9" fmla="*/ 260179 w 328603"/>
                    <a:gd name="connsiteY9" fmla="*/ 433461 h 513470"/>
                    <a:gd name="connsiteX10" fmla="*/ 273353 w 328603"/>
                    <a:gd name="connsiteY10" fmla="*/ 448408 h 513470"/>
                    <a:gd name="connsiteX11" fmla="*/ 307604 w 328603"/>
                    <a:gd name="connsiteY11" fmla="*/ 477422 h 513470"/>
                    <a:gd name="connsiteX12" fmla="*/ 307604 w 328603"/>
                    <a:gd name="connsiteY12" fmla="*/ 503799 h 513470"/>
                    <a:gd name="connsiteX13" fmla="*/ 236466 w 328603"/>
                    <a:gd name="connsiteY13" fmla="*/ 442253 h 513470"/>
                    <a:gd name="connsiteX14" fmla="*/ 248762 w 328603"/>
                    <a:gd name="connsiteY14" fmla="*/ 456321 h 513470"/>
                    <a:gd name="connsiteX15" fmla="*/ 283891 w 328603"/>
                    <a:gd name="connsiteY15" fmla="*/ 494127 h 513470"/>
                    <a:gd name="connsiteX16" fmla="*/ 274231 w 328603"/>
                    <a:gd name="connsiteY16" fmla="*/ 513471 h 513470"/>
                    <a:gd name="connsiteX17" fmla="*/ 212754 w 328603"/>
                    <a:gd name="connsiteY17" fmla="*/ 446649 h 513470"/>
                    <a:gd name="connsiteX18" fmla="*/ 247883 w 328603"/>
                    <a:gd name="connsiteY18" fmla="*/ 497644 h 513470"/>
                    <a:gd name="connsiteX19" fmla="*/ 241736 w 328603"/>
                    <a:gd name="connsiteY19" fmla="*/ 511712 h 513470"/>
                    <a:gd name="connsiteX20" fmla="*/ 189041 w 328603"/>
                    <a:gd name="connsiteY20" fmla="*/ 458079 h 513470"/>
                    <a:gd name="connsiteX21" fmla="*/ 160937 w 328603"/>
                    <a:gd name="connsiteY21" fmla="*/ 392137 h 513470"/>
                    <a:gd name="connsiteX22" fmla="*/ 157425 w 328603"/>
                    <a:gd name="connsiteY22" fmla="*/ 370156 h 513470"/>
                    <a:gd name="connsiteX23" fmla="*/ 219 w 328603"/>
                    <a:gd name="connsiteY23" fmla="*/ 103749 h 513470"/>
                    <a:gd name="connsiteX24" fmla="*/ 26566 w 328603"/>
                    <a:gd name="connsiteY24" fmla="*/ 0 h 513470"/>
                    <a:gd name="connsiteX25" fmla="*/ 138103 w 328603"/>
                    <a:gd name="connsiteY25" fmla="*/ 73855 h 513470"/>
                    <a:gd name="connsiteX26" fmla="*/ 117904 w 328603"/>
                    <a:gd name="connsiteY26" fmla="*/ 124851 h 513470"/>
                    <a:gd name="connsiteX27" fmla="*/ 220658 w 328603"/>
                    <a:gd name="connsiteY27" fmla="*/ 334987 h 513470"/>
                    <a:gd name="connsiteX28" fmla="*/ 218902 w 328603"/>
                    <a:gd name="connsiteY28" fmla="*/ 334987 h 513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28603" h="513470">
                      <a:moveTo>
                        <a:pt x="218902" y="334987"/>
                      </a:moveTo>
                      <a:cubicBezTo>
                        <a:pt x="225049" y="343779"/>
                        <a:pt x="266327" y="352571"/>
                        <a:pt x="274231" y="357847"/>
                      </a:cubicBezTo>
                      <a:cubicBezTo>
                        <a:pt x="283891" y="364881"/>
                        <a:pt x="293552" y="376311"/>
                        <a:pt x="293552" y="376311"/>
                      </a:cubicBezTo>
                      <a:cubicBezTo>
                        <a:pt x="303213" y="392137"/>
                        <a:pt x="325169" y="409721"/>
                        <a:pt x="325169" y="414117"/>
                      </a:cubicBezTo>
                      <a:cubicBezTo>
                        <a:pt x="325169" y="418514"/>
                        <a:pt x="304091" y="433461"/>
                        <a:pt x="284770" y="412359"/>
                      </a:cubicBezTo>
                      <a:cubicBezTo>
                        <a:pt x="265448" y="391258"/>
                        <a:pt x="273353" y="399171"/>
                        <a:pt x="266327" y="396533"/>
                      </a:cubicBezTo>
                      <a:cubicBezTo>
                        <a:pt x="269839" y="406204"/>
                        <a:pt x="273353" y="407963"/>
                        <a:pt x="275109" y="410601"/>
                      </a:cubicBezTo>
                      <a:cubicBezTo>
                        <a:pt x="283891" y="422031"/>
                        <a:pt x="319899" y="456321"/>
                        <a:pt x="326047" y="461596"/>
                      </a:cubicBezTo>
                      <a:cubicBezTo>
                        <a:pt x="332195" y="466871"/>
                        <a:pt x="326925" y="479181"/>
                        <a:pt x="313752" y="477422"/>
                      </a:cubicBezTo>
                      <a:cubicBezTo>
                        <a:pt x="299700" y="475664"/>
                        <a:pt x="260179" y="433461"/>
                        <a:pt x="260179" y="433461"/>
                      </a:cubicBezTo>
                      <a:lnTo>
                        <a:pt x="273353" y="448408"/>
                      </a:lnTo>
                      <a:cubicBezTo>
                        <a:pt x="275109" y="451045"/>
                        <a:pt x="301456" y="473026"/>
                        <a:pt x="307604" y="477422"/>
                      </a:cubicBezTo>
                      <a:cubicBezTo>
                        <a:pt x="313752" y="481818"/>
                        <a:pt x="324291" y="500282"/>
                        <a:pt x="307604" y="503799"/>
                      </a:cubicBezTo>
                      <a:cubicBezTo>
                        <a:pt x="290918" y="506437"/>
                        <a:pt x="236466" y="442253"/>
                        <a:pt x="236466" y="442253"/>
                      </a:cubicBezTo>
                      <a:lnTo>
                        <a:pt x="248762" y="456321"/>
                      </a:lnTo>
                      <a:cubicBezTo>
                        <a:pt x="248762" y="456321"/>
                        <a:pt x="268083" y="479181"/>
                        <a:pt x="283891" y="494127"/>
                      </a:cubicBezTo>
                      <a:cubicBezTo>
                        <a:pt x="299700" y="509075"/>
                        <a:pt x="274231" y="513471"/>
                        <a:pt x="274231" y="513471"/>
                      </a:cubicBezTo>
                      <a:cubicBezTo>
                        <a:pt x="250518" y="508195"/>
                        <a:pt x="216267" y="450166"/>
                        <a:pt x="212754" y="446649"/>
                      </a:cubicBezTo>
                      <a:cubicBezTo>
                        <a:pt x="214510" y="456321"/>
                        <a:pt x="247883" y="497644"/>
                        <a:pt x="247883" y="497644"/>
                      </a:cubicBezTo>
                      <a:cubicBezTo>
                        <a:pt x="247883" y="497644"/>
                        <a:pt x="254031" y="509075"/>
                        <a:pt x="241736" y="511712"/>
                      </a:cubicBezTo>
                      <a:cubicBezTo>
                        <a:pt x="229441" y="514350"/>
                        <a:pt x="197824" y="480939"/>
                        <a:pt x="189041" y="458079"/>
                      </a:cubicBezTo>
                      <a:cubicBezTo>
                        <a:pt x="180259" y="435219"/>
                        <a:pt x="174111" y="426427"/>
                        <a:pt x="160937" y="392137"/>
                      </a:cubicBezTo>
                      <a:cubicBezTo>
                        <a:pt x="158303" y="384224"/>
                        <a:pt x="157425" y="378948"/>
                        <a:pt x="157425" y="370156"/>
                      </a:cubicBezTo>
                      <a:cubicBezTo>
                        <a:pt x="157425" y="370156"/>
                        <a:pt x="-6807" y="146831"/>
                        <a:pt x="219" y="103749"/>
                      </a:cubicBezTo>
                      <a:cubicBezTo>
                        <a:pt x="7245" y="60667"/>
                        <a:pt x="18662" y="18464"/>
                        <a:pt x="26566" y="0"/>
                      </a:cubicBezTo>
                      <a:cubicBezTo>
                        <a:pt x="79261" y="44841"/>
                        <a:pt x="138103" y="73855"/>
                        <a:pt x="138103" y="73855"/>
                      </a:cubicBezTo>
                      <a:lnTo>
                        <a:pt x="117904" y="124851"/>
                      </a:lnTo>
                      <a:lnTo>
                        <a:pt x="220658" y="334987"/>
                      </a:lnTo>
                      <a:lnTo>
                        <a:pt x="218902" y="33498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5A33FE83-7776-2F7C-4996-A996745F69F5}"/>
                    </a:ext>
                  </a:extLst>
                </p:cNvPr>
                <p:cNvSpPr/>
                <p:nvPr/>
              </p:nvSpPr>
              <p:spPr>
                <a:xfrm>
                  <a:off x="-9537636" y="4429552"/>
                  <a:ext cx="288981" cy="457248"/>
                </a:xfrm>
                <a:custGeom>
                  <a:avLst/>
                  <a:gdLst>
                    <a:gd name="connsiteX0" fmla="*/ 202874 w 288981"/>
                    <a:gd name="connsiteY0" fmla="*/ 274320 h 457248"/>
                    <a:gd name="connsiteX1" fmla="*/ 252056 w 288981"/>
                    <a:gd name="connsiteY1" fmla="*/ 307731 h 457248"/>
                    <a:gd name="connsiteX2" fmla="*/ 269621 w 288981"/>
                    <a:gd name="connsiteY2" fmla="*/ 329712 h 457248"/>
                    <a:gd name="connsiteX3" fmla="*/ 288942 w 288981"/>
                    <a:gd name="connsiteY3" fmla="*/ 370156 h 457248"/>
                    <a:gd name="connsiteX4" fmla="*/ 254690 w 288981"/>
                    <a:gd name="connsiteY4" fmla="*/ 360485 h 457248"/>
                    <a:gd name="connsiteX5" fmla="*/ 236247 w 288981"/>
                    <a:gd name="connsiteY5" fmla="*/ 339383 h 457248"/>
                    <a:gd name="connsiteX6" fmla="*/ 242395 w 288981"/>
                    <a:gd name="connsiteY6" fmla="*/ 358726 h 457248"/>
                    <a:gd name="connsiteX7" fmla="*/ 281038 w 288981"/>
                    <a:gd name="connsiteY7" fmla="*/ 417635 h 457248"/>
                    <a:gd name="connsiteX8" fmla="*/ 266108 w 288981"/>
                    <a:gd name="connsiteY8" fmla="*/ 431702 h 457248"/>
                    <a:gd name="connsiteX9" fmla="*/ 223074 w 288981"/>
                    <a:gd name="connsiteY9" fmla="*/ 377190 h 457248"/>
                    <a:gd name="connsiteX10" fmla="*/ 232734 w 288981"/>
                    <a:gd name="connsiteY10" fmla="*/ 393896 h 457248"/>
                    <a:gd name="connsiteX11" fmla="*/ 257325 w 288981"/>
                    <a:gd name="connsiteY11" fmla="*/ 429065 h 457248"/>
                    <a:gd name="connsiteX12" fmla="*/ 253812 w 288981"/>
                    <a:gd name="connsiteY12" fmla="*/ 453683 h 457248"/>
                    <a:gd name="connsiteX13" fmla="*/ 198483 w 288981"/>
                    <a:gd name="connsiteY13" fmla="*/ 380707 h 457248"/>
                    <a:gd name="connsiteX14" fmla="*/ 203752 w 288981"/>
                    <a:gd name="connsiteY14" fmla="*/ 394775 h 457248"/>
                    <a:gd name="connsiteX15" fmla="*/ 233613 w 288981"/>
                    <a:gd name="connsiteY15" fmla="*/ 441374 h 457248"/>
                    <a:gd name="connsiteX16" fmla="*/ 219561 w 288981"/>
                    <a:gd name="connsiteY16" fmla="*/ 457200 h 457248"/>
                    <a:gd name="connsiteX17" fmla="*/ 174770 w 288981"/>
                    <a:gd name="connsiteY17" fmla="*/ 380707 h 457248"/>
                    <a:gd name="connsiteX18" fmla="*/ 197605 w 288981"/>
                    <a:gd name="connsiteY18" fmla="*/ 437857 h 457248"/>
                    <a:gd name="connsiteX19" fmla="*/ 190579 w 288981"/>
                    <a:gd name="connsiteY19" fmla="*/ 449287 h 457248"/>
                    <a:gd name="connsiteX20" fmla="*/ 149301 w 288981"/>
                    <a:gd name="connsiteY20" fmla="*/ 386861 h 457248"/>
                    <a:gd name="connsiteX21" fmla="*/ 135249 w 288981"/>
                    <a:gd name="connsiteY21" fmla="*/ 317402 h 457248"/>
                    <a:gd name="connsiteX22" fmla="*/ 135249 w 288981"/>
                    <a:gd name="connsiteY22" fmla="*/ 295422 h 457248"/>
                    <a:gd name="connsiteX23" fmla="*/ 0 w 288981"/>
                    <a:gd name="connsiteY23" fmla="*/ 87044 h 457248"/>
                    <a:gd name="connsiteX24" fmla="*/ 1757 w 288981"/>
                    <a:gd name="connsiteY24" fmla="*/ 24619 h 457248"/>
                    <a:gd name="connsiteX25" fmla="*/ 108024 w 288981"/>
                    <a:gd name="connsiteY25" fmla="*/ 0 h 457248"/>
                    <a:gd name="connsiteX26" fmla="*/ 115928 w 288981"/>
                    <a:gd name="connsiteY26" fmla="*/ 57150 h 457248"/>
                    <a:gd name="connsiteX27" fmla="*/ 201996 w 288981"/>
                    <a:gd name="connsiteY27" fmla="*/ 273441 h 457248"/>
                    <a:gd name="connsiteX28" fmla="*/ 201996 w 288981"/>
                    <a:gd name="connsiteY28" fmla="*/ 273441 h 457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8981" h="457248">
                      <a:moveTo>
                        <a:pt x="202874" y="274320"/>
                      </a:moveTo>
                      <a:cubicBezTo>
                        <a:pt x="207265" y="283992"/>
                        <a:pt x="245908" y="300697"/>
                        <a:pt x="252056" y="307731"/>
                      </a:cubicBezTo>
                      <a:cubicBezTo>
                        <a:pt x="259960" y="316523"/>
                        <a:pt x="269621" y="329712"/>
                        <a:pt x="269621" y="329712"/>
                      </a:cubicBezTo>
                      <a:cubicBezTo>
                        <a:pt x="275768" y="347296"/>
                        <a:pt x="289820" y="365760"/>
                        <a:pt x="288942" y="370156"/>
                      </a:cubicBezTo>
                      <a:cubicBezTo>
                        <a:pt x="288064" y="374552"/>
                        <a:pt x="266108" y="386861"/>
                        <a:pt x="254690" y="360485"/>
                      </a:cubicBezTo>
                      <a:cubicBezTo>
                        <a:pt x="249421" y="349055"/>
                        <a:pt x="243273" y="343779"/>
                        <a:pt x="236247" y="339383"/>
                      </a:cubicBezTo>
                      <a:cubicBezTo>
                        <a:pt x="238004" y="349055"/>
                        <a:pt x="241517" y="355209"/>
                        <a:pt x="242395" y="358726"/>
                      </a:cubicBezTo>
                      <a:cubicBezTo>
                        <a:pt x="244152" y="369277"/>
                        <a:pt x="276646" y="411480"/>
                        <a:pt x="281038" y="417635"/>
                      </a:cubicBezTo>
                      <a:cubicBezTo>
                        <a:pt x="285429" y="424669"/>
                        <a:pt x="279281" y="436098"/>
                        <a:pt x="266108" y="431702"/>
                      </a:cubicBezTo>
                      <a:cubicBezTo>
                        <a:pt x="252934" y="427306"/>
                        <a:pt x="223074" y="377190"/>
                        <a:pt x="223074" y="377190"/>
                      </a:cubicBezTo>
                      <a:lnTo>
                        <a:pt x="232734" y="393896"/>
                      </a:lnTo>
                      <a:cubicBezTo>
                        <a:pt x="233613" y="397412"/>
                        <a:pt x="256447" y="424669"/>
                        <a:pt x="257325" y="429065"/>
                      </a:cubicBezTo>
                      <a:cubicBezTo>
                        <a:pt x="262594" y="436098"/>
                        <a:pt x="269621" y="453683"/>
                        <a:pt x="253812" y="453683"/>
                      </a:cubicBezTo>
                      <a:cubicBezTo>
                        <a:pt x="238004" y="453683"/>
                        <a:pt x="198483" y="380707"/>
                        <a:pt x="198483" y="380707"/>
                      </a:cubicBezTo>
                      <a:lnTo>
                        <a:pt x="203752" y="394775"/>
                      </a:lnTo>
                      <a:cubicBezTo>
                        <a:pt x="203752" y="394775"/>
                        <a:pt x="221317" y="423789"/>
                        <a:pt x="233613" y="441374"/>
                      </a:cubicBezTo>
                      <a:cubicBezTo>
                        <a:pt x="246786" y="458959"/>
                        <a:pt x="219561" y="457200"/>
                        <a:pt x="219561" y="457200"/>
                      </a:cubicBezTo>
                      <a:cubicBezTo>
                        <a:pt x="197605" y="446649"/>
                        <a:pt x="176527" y="384224"/>
                        <a:pt x="174770" y="380707"/>
                      </a:cubicBezTo>
                      <a:cubicBezTo>
                        <a:pt x="174770" y="390378"/>
                        <a:pt x="197605" y="437857"/>
                        <a:pt x="197605" y="437857"/>
                      </a:cubicBezTo>
                      <a:cubicBezTo>
                        <a:pt x="197605" y="437857"/>
                        <a:pt x="202874" y="450166"/>
                        <a:pt x="190579" y="449287"/>
                      </a:cubicBezTo>
                      <a:cubicBezTo>
                        <a:pt x="174770" y="449287"/>
                        <a:pt x="153692" y="410601"/>
                        <a:pt x="149301" y="386861"/>
                      </a:cubicBezTo>
                      <a:cubicBezTo>
                        <a:pt x="144910" y="363122"/>
                        <a:pt x="141397" y="353451"/>
                        <a:pt x="135249" y="317402"/>
                      </a:cubicBezTo>
                      <a:cubicBezTo>
                        <a:pt x="133493" y="309489"/>
                        <a:pt x="134371" y="304214"/>
                        <a:pt x="135249" y="295422"/>
                      </a:cubicBezTo>
                      <a:lnTo>
                        <a:pt x="0" y="87044"/>
                      </a:lnTo>
                      <a:lnTo>
                        <a:pt x="1757" y="24619"/>
                      </a:lnTo>
                      <a:lnTo>
                        <a:pt x="108024" y="0"/>
                      </a:lnTo>
                      <a:lnTo>
                        <a:pt x="115928" y="57150"/>
                      </a:lnTo>
                      <a:lnTo>
                        <a:pt x="201996" y="273441"/>
                      </a:lnTo>
                      <a:lnTo>
                        <a:pt x="201996" y="273441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" name="Subtitle 2">
            <a:extLst>
              <a:ext uri="{FF2B5EF4-FFF2-40B4-BE49-F238E27FC236}">
                <a16:creationId xmlns:a16="http://schemas.microsoft.com/office/drawing/2014/main" id="{631B3F4D-4C9A-2DC8-3938-FB857DF958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F9573AC-F553-93C7-B8EF-A148F6A69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</p:spTree>
    <p:extLst>
      <p:ext uri="{BB962C8B-B14F-4D97-AF65-F5344CB8AC3E}">
        <p14:creationId xmlns:p14="http://schemas.microsoft.com/office/powerpoint/2010/main" val="3519931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raphic 88">
            <a:extLst>
              <a:ext uri="{FF2B5EF4-FFF2-40B4-BE49-F238E27FC236}">
                <a16:creationId xmlns:a16="http://schemas.microsoft.com/office/drawing/2014/main" id="{DA2F40D0-02B6-9EC0-6CC8-E4A2AD3444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512762" y="3872354"/>
            <a:ext cx="4306274" cy="1855319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D43B73DD-D388-3690-A1E1-3143C02280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7777" y="6102000"/>
            <a:ext cx="642299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56D1503-BCAE-A8D2-30BB-CEBBDAA9D321}"/>
              </a:ext>
            </a:extLst>
          </p:cNvPr>
          <p:cNvGrpSpPr/>
          <p:nvPr userDrawn="1"/>
        </p:nvGrpSpPr>
        <p:grpSpPr>
          <a:xfrm>
            <a:off x="10432800" y="6194848"/>
            <a:ext cx="1556600" cy="818523"/>
            <a:chOff x="10432800" y="6194848"/>
            <a:chExt cx="1556600" cy="81852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929589-1C90-8AE3-2012-D00F79393919}"/>
                </a:ext>
              </a:extLst>
            </p:cNvPr>
            <p:cNvSpPr/>
            <p:nvPr/>
          </p:nvSpPr>
          <p:spPr>
            <a:xfrm>
              <a:off x="10432800" y="6194848"/>
              <a:ext cx="1556600" cy="818523"/>
            </a:xfrm>
            <a:custGeom>
              <a:avLst/>
              <a:gdLst>
                <a:gd name="connsiteX0" fmla="*/ 0 w 1556600"/>
                <a:gd name="connsiteY0" fmla="*/ 0 h 818523"/>
                <a:gd name="connsiteX1" fmla="*/ 1556601 w 1556600"/>
                <a:gd name="connsiteY1" fmla="*/ 0 h 818523"/>
                <a:gd name="connsiteX2" fmla="*/ 1556601 w 1556600"/>
                <a:gd name="connsiteY2" fmla="*/ 818524 h 818523"/>
                <a:gd name="connsiteX3" fmla="*/ 0 w 1556600"/>
                <a:gd name="connsiteY3" fmla="*/ 818524 h 81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600" h="818523">
                  <a:moveTo>
                    <a:pt x="0" y="0"/>
                  </a:moveTo>
                  <a:lnTo>
                    <a:pt x="1556601" y="0"/>
                  </a:lnTo>
                  <a:lnTo>
                    <a:pt x="1556601" y="818524"/>
                  </a:lnTo>
                  <a:lnTo>
                    <a:pt x="0" y="818524"/>
                  </a:lnTo>
                  <a:close/>
                </a:path>
              </a:pathLst>
            </a:custGeom>
            <a:solidFill>
              <a:schemeClr val="tx1">
                <a:alpha val="0"/>
              </a:schemeClr>
            </a:solidFill>
            <a:ln w="30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Logo">
              <a:extLst>
                <a:ext uri="{FF2B5EF4-FFF2-40B4-BE49-F238E27FC236}">
                  <a16:creationId xmlns:a16="http://schemas.microsoft.com/office/drawing/2014/main" id="{EDDC02DC-4C5B-1A0C-63B9-C1D170349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705522" y="6467654"/>
              <a:ext cx="1012152" cy="272703"/>
              <a:chOff x="10705522" y="6467654"/>
              <a:chExt cx="1012152" cy="272703"/>
            </a:xfrm>
            <a:solidFill>
              <a:schemeClr val="tx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9A22B47-326C-2CC2-94FF-2425A0675E66}"/>
                  </a:ext>
                </a:extLst>
              </p:cNvPr>
              <p:cNvSpPr/>
              <p:nvPr/>
            </p:nvSpPr>
            <p:spPr>
              <a:xfrm rot="-1199926">
                <a:off x="10735491" y="6497623"/>
                <a:ext cx="212766" cy="212767"/>
              </a:xfrm>
              <a:custGeom>
                <a:avLst/>
                <a:gdLst>
                  <a:gd name="connsiteX0" fmla="*/ 0 w 212766"/>
                  <a:gd name="connsiteY0" fmla="*/ 0 h 212767"/>
                  <a:gd name="connsiteX1" fmla="*/ 212766 w 212766"/>
                  <a:gd name="connsiteY1" fmla="*/ 0 h 212767"/>
                  <a:gd name="connsiteX2" fmla="*/ 212766 w 212766"/>
                  <a:gd name="connsiteY2" fmla="*/ 212767 h 212767"/>
                  <a:gd name="connsiteX3" fmla="*/ 0 w 212766"/>
                  <a:gd name="connsiteY3" fmla="*/ 212767 h 2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766" h="212767">
                    <a:moveTo>
                      <a:pt x="0" y="0"/>
                    </a:moveTo>
                    <a:lnTo>
                      <a:pt x="212766" y="0"/>
                    </a:lnTo>
                    <a:lnTo>
                      <a:pt x="212766" y="212767"/>
                    </a:lnTo>
                    <a:lnTo>
                      <a:pt x="0" y="212767"/>
                    </a:lnTo>
                    <a:close/>
                  </a:path>
                </a:pathLst>
              </a:custGeom>
              <a:grpFill/>
              <a:ln w="30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" name="Logo">
                <a:extLst>
                  <a:ext uri="{FF2B5EF4-FFF2-40B4-BE49-F238E27FC236}">
                    <a16:creationId xmlns:a16="http://schemas.microsoft.com/office/drawing/2014/main" id="{756BD76D-8180-6CCB-3A86-ECA7FCD9A8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1044694" y="6533187"/>
                <a:ext cx="672675" cy="185769"/>
                <a:chOff x="11044694" y="6533187"/>
                <a:chExt cx="672675" cy="185769"/>
              </a:xfrm>
              <a:grpFill/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522C4F75-E3B4-5734-0DEE-F9A74ACAB4AC}"/>
                    </a:ext>
                  </a:extLst>
                </p:cNvPr>
                <p:cNvSpPr/>
                <p:nvPr/>
              </p:nvSpPr>
              <p:spPr>
                <a:xfrm>
                  <a:off x="11044694" y="6533801"/>
                  <a:ext cx="127107" cy="137239"/>
                </a:xfrm>
                <a:custGeom>
                  <a:avLst/>
                  <a:gdLst>
                    <a:gd name="connsiteX0" fmla="*/ 97940 w 127107"/>
                    <a:gd name="connsiteY0" fmla="*/ 134783 h 137239"/>
                    <a:gd name="connsiteX1" fmla="*/ 95791 w 127107"/>
                    <a:gd name="connsiteY1" fmla="*/ 132634 h 137239"/>
                    <a:gd name="connsiteX2" fmla="*/ 96405 w 127107"/>
                    <a:gd name="connsiteY2" fmla="*/ 116362 h 137239"/>
                    <a:gd name="connsiteX3" fmla="*/ 55878 w 127107"/>
                    <a:gd name="connsiteY3" fmla="*/ 137239 h 137239"/>
                    <a:gd name="connsiteX4" fmla="*/ 0 w 127107"/>
                    <a:gd name="connsiteY4" fmla="*/ 69080 h 137239"/>
                    <a:gd name="connsiteX5" fmla="*/ 56492 w 127107"/>
                    <a:gd name="connsiteY5" fmla="*/ 0 h 137239"/>
                    <a:gd name="connsiteX6" fmla="*/ 96405 w 127107"/>
                    <a:gd name="connsiteY6" fmla="*/ 19649 h 137239"/>
                    <a:gd name="connsiteX7" fmla="*/ 95484 w 127107"/>
                    <a:gd name="connsiteY7" fmla="*/ 4912 h 137239"/>
                    <a:gd name="connsiteX8" fmla="*/ 97633 w 127107"/>
                    <a:gd name="connsiteY8" fmla="*/ 2763 h 137239"/>
                    <a:gd name="connsiteX9" fmla="*/ 124958 w 127107"/>
                    <a:gd name="connsiteY9" fmla="*/ 2763 h 137239"/>
                    <a:gd name="connsiteX10" fmla="*/ 127107 w 127107"/>
                    <a:gd name="connsiteY10" fmla="*/ 4912 h 137239"/>
                    <a:gd name="connsiteX11" fmla="*/ 126186 w 127107"/>
                    <a:gd name="connsiteY11" fmla="*/ 68466 h 137239"/>
                    <a:gd name="connsiteX12" fmla="*/ 127107 w 127107"/>
                    <a:gd name="connsiteY12" fmla="*/ 132941 h 137239"/>
                    <a:gd name="connsiteX13" fmla="*/ 124958 w 127107"/>
                    <a:gd name="connsiteY13" fmla="*/ 135090 h 137239"/>
                    <a:gd name="connsiteX14" fmla="*/ 97940 w 127107"/>
                    <a:gd name="connsiteY14" fmla="*/ 135090 h 137239"/>
                    <a:gd name="connsiteX15" fmla="*/ 64168 w 127107"/>
                    <a:gd name="connsiteY15" fmla="*/ 115441 h 137239"/>
                    <a:gd name="connsiteX16" fmla="*/ 97326 w 127107"/>
                    <a:gd name="connsiteY16" fmla="*/ 69387 h 137239"/>
                    <a:gd name="connsiteX17" fmla="*/ 65089 w 127107"/>
                    <a:gd name="connsiteY17" fmla="*/ 21799 h 137239"/>
                    <a:gd name="connsiteX18" fmla="*/ 31623 w 127107"/>
                    <a:gd name="connsiteY18" fmla="*/ 66931 h 137239"/>
                    <a:gd name="connsiteX19" fmla="*/ 64168 w 127107"/>
                    <a:gd name="connsiteY19" fmla="*/ 115441 h 137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107" h="137239">
                      <a:moveTo>
                        <a:pt x="97940" y="134783"/>
                      </a:moveTo>
                      <a:cubicBezTo>
                        <a:pt x="97019" y="134783"/>
                        <a:pt x="95791" y="133862"/>
                        <a:pt x="95791" y="132634"/>
                      </a:cubicBezTo>
                      <a:lnTo>
                        <a:pt x="96405" y="116362"/>
                      </a:lnTo>
                      <a:cubicBezTo>
                        <a:pt x="87501" y="129564"/>
                        <a:pt x="73685" y="137239"/>
                        <a:pt x="55878" y="137239"/>
                      </a:cubicBezTo>
                      <a:cubicBezTo>
                        <a:pt x="19342" y="137239"/>
                        <a:pt x="0" y="107458"/>
                        <a:pt x="0" y="69080"/>
                      </a:cubicBezTo>
                      <a:cubicBezTo>
                        <a:pt x="0" y="30702"/>
                        <a:pt x="21184" y="0"/>
                        <a:pt x="56492" y="0"/>
                      </a:cubicBezTo>
                      <a:cubicBezTo>
                        <a:pt x="73992" y="0"/>
                        <a:pt x="87501" y="6755"/>
                        <a:pt x="96405" y="19649"/>
                      </a:cubicBezTo>
                      <a:lnTo>
                        <a:pt x="95484" y="4912"/>
                      </a:lnTo>
                      <a:cubicBezTo>
                        <a:pt x="95484" y="3991"/>
                        <a:pt x="96405" y="2763"/>
                        <a:pt x="97633" y="2763"/>
                      </a:cubicBezTo>
                      <a:lnTo>
                        <a:pt x="124958" y="2763"/>
                      </a:lnTo>
                      <a:cubicBezTo>
                        <a:pt x="125879" y="2763"/>
                        <a:pt x="127107" y="3684"/>
                        <a:pt x="127107" y="4912"/>
                      </a:cubicBezTo>
                      <a:lnTo>
                        <a:pt x="126186" y="68466"/>
                      </a:lnTo>
                      <a:lnTo>
                        <a:pt x="127107" y="132941"/>
                      </a:lnTo>
                      <a:cubicBezTo>
                        <a:pt x="127107" y="133862"/>
                        <a:pt x="126186" y="135090"/>
                        <a:pt x="124958" y="135090"/>
                      </a:cubicBezTo>
                      <a:lnTo>
                        <a:pt x="97940" y="135090"/>
                      </a:lnTo>
                      <a:close/>
                      <a:moveTo>
                        <a:pt x="64168" y="115441"/>
                      </a:moveTo>
                      <a:cubicBezTo>
                        <a:pt x="85045" y="115441"/>
                        <a:pt x="97019" y="100090"/>
                        <a:pt x="97326" y="69387"/>
                      </a:cubicBezTo>
                      <a:cubicBezTo>
                        <a:pt x="97633" y="38992"/>
                        <a:pt x="85659" y="21799"/>
                        <a:pt x="65089" y="21799"/>
                      </a:cubicBezTo>
                      <a:cubicBezTo>
                        <a:pt x="42369" y="21492"/>
                        <a:pt x="31623" y="38685"/>
                        <a:pt x="31623" y="66931"/>
                      </a:cubicBezTo>
                      <a:cubicBezTo>
                        <a:pt x="31316" y="97633"/>
                        <a:pt x="42369" y="115441"/>
                        <a:pt x="64168" y="11544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DF6868DB-1613-4419-7C1A-A70C21A12076}"/>
                    </a:ext>
                  </a:extLst>
                </p:cNvPr>
                <p:cNvSpPr/>
                <p:nvPr/>
              </p:nvSpPr>
              <p:spPr>
                <a:xfrm>
                  <a:off x="11455489" y="6533494"/>
                  <a:ext cx="130180" cy="138160"/>
                </a:xfrm>
                <a:custGeom>
                  <a:avLst/>
                  <a:gdLst>
                    <a:gd name="connsiteX0" fmla="*/ 65396 w 130180"/>
                    <a:gd name="connsiteY0" fmla="*/ 138160 h 138160"/>
                    <a:gd name="connsiteX1" fmla="*/ 0 w 130180"/>
                    <a:gd name="connsiteY1" fmla="*/ 69387 h 138160"/>
                    <a:gd name="connsiteX2" fmla="*/ 65396 w 130180"/>
                    <a:gd name="connsiteY2" fmla="*/ 0 h 138160"/>
                    <a:gd name="connsiteX3" fmla="*/ 130177 w 130180"/>
                    <a:gd name="connsiteY3" fmla="*/ 68773 h 138160"/>
                    <a:gd name="connsiteX4" fmla="*/ 65396 w 130180"/>
                    <a:gd name="connsiteY4" fmla="*/ 138160 h 138160"/>
                    <a:gd name="connsiteX5" fmla="*/ 65396 w 130180"/>
                    <a:gd name="connsiteY5" fmla="*/ 116362 h 138160"/>
                    <a:gd name="connsiteX6" fmla="*/ 98554 w 130180"/>
                    <a:gd name="connsiteY6" fmla="*/ 69387 h 138160"/>
                    <a:gd name="connsiteX7" fmla="*/ 65089 w 130180"/>
                    <a:gd name="connsiteY7" fmla="*/ 21799 h 138160"/>
                    <a:gd name="connsiteX8" fmla="*/ 31623 w 130180"/>
                    <a:gd name="connsiteY8" fmla="*/ 69694 h 138160"/>
                    <a:gd name="connsiteX9" fmla="*/ 65396 w 130180"/>
                    <a:gd name="connsiteY9" fmla="*/ 116362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0180" h="138160">
                      <a:moveTo>
                        <a:pt x="65396" y="138160"/>
                      </a:moveTo>
                      <a:cubicBezTo>
                        <a:pt x="23641" y="138160"/>
                        <a:pt x="0" y="111142"/>
                        <a:pt x="0" y="69387"/>
                      </a:cubicBezTo>
                      <a:cubicBezTo>
                        <a:pt x="0" y="27632"/>
                        <a:pt x="23641" y="0"/>
                        <a:pt x="65396" y="0"/>
                      </a:cubicBezTo>
                      <a:cubicBezTo>
                        <a:pt x="106844" y="0"/>
                        <a:pt x="130177" y="27018"/>
                        <a:pt x="130177" y="68773"/>
                      </a:cubicBezTo>
                      <a:cubicBezTo>
                        <a:pt x="130484" y="110528"/>
                        <a:pt x="107151" y="138160"/>
                        <a:pt x="65396" y="138160"/>
                      </a:cubicBezTo>
                      <a:close/>
                      <a:moveTo>
                        <a:pt x="65396" y="116362"/>
                      </a:moveTo>
                      <a:cubicBezTo>
                        <a:pt x="87808" y="116362"/>
                        <a:pt x="98554" y="101011"/>
                        <a:pt x="98554" y="69387"/>
                      </a:cubicBezTo>
                      <a:cubicBezTo>
                        <a:pt x="98554" y="38071"/>
                        <a:pt x="87501" y="21799"/>
                        <a:pt x="65089" y="21799"/>
                      </a:cubicBezTo>
                      <a:cubicBezTo>
                        <a:pt x="42369" y="22106"/>
                        <a:pt x="31623" y="38378"/>
                        <a:pt x="31623" y="69694"/>
                      </a:cubicBezTo>
                      <a:cubicBezTo>
                        <a:pt x="31623" y="100704"/>
                        <a:pt x="42983" y="116362"/>
                        <a:pt x="65396" y="116362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8B21D815-8535-F49C-A21F-18CEBEEF7463}"/>
                    </a:ext>
                  </a:extLst>
                </p:cNvPr>
                <p:cNvSpPr/>
                <p:nvPr/>
              </p:nvSpPr>
              <p:spPr>
                <a:xfrm>
                  <a:off x="11597948" y="6533187"/>
                  <a:ext cx="118817" cy="135397"/>
                </a:xfrm>
                <a:custGeom>
                  <a:avLst/>
                  <a:gdLst>
                    <a:gd name="connsiteX0" fmla="*/ 2149 w 118817"/>
                    <a:gd name="connsiteY0" fmla="*/ 135397 h 135397"/>
                    <a:gd name="connsiteX1" fmla="*/ 0 w 118817"/>
                    <a:gd name="connsiteY1" fmla="*/ 133248 h 135397"/>
                    <a:gd name="connsiteX2" fmla="*/ 921 w 118817"/>
                    <a:gd name="connsiteY2" fmla="*/ 73072 h 135397"/>
                    <a:gd name="connsiteX3" fmla="*/ 614 w 118817"/>
                    <a:gd name="connsiteY3" fmla="*/ 5219 h 135397"/>
                    <a:gd name="connsiteX4" fmla="*/ 2763 w 118817"/>
                    <a:gd name="connsiteY4" fmla="*/ 3070 h 135397"/>
                    <a:gd name="connsiteX5" fmla="*/ 28553 w 118817"/>
                    <a:gd name="connsiteY5" fmla="*/ 3070 h 135397"/>
                    <a:gd name="connsiteX6" fmla="*/ 30702 w 118817"/>
                    <a:gd name="connsiteY6" fmla="*/ 5219 h 135397"/>
                    <a:gd name="connsiteX7" fmla="*/ 29781 w 118817"/>
                    <a:gd name="connsiteY7" fmla="*/ 22413 h 135397"/>
                    <a:gd name="connsiteX8" fmla="*/ 73071 w 118817"/>
                    <a:gd name="connsiteY8" fmla="*/ 0 h 135397"/>
                    <a:gd name="connsiteX9" fmla="*/ 118203 w 118817"/>
                    <a:gd name="connsiteY9" fmla="*/ 51887 h 135397"/>
                    <a:gd name="connsiteX10" fmla="*/ 118203 w 118817"/>
                    <a:gd name="connsiteY10" fmla="*/ 79212 h 135397"/>
                    <a:gd name="connsiteX11" fmla="*/ 118818 w 118817"/>
                    <a:gd name="connsiteY11" fmla="*/ 133248 h 135397"/>
                    <a:gd name="connsiteX12" fmla="*/ 116668 w 118817"/>
                    <a:gd name="connsiteY12" fmla="*/ 135397 h 135397"/>
                    <a:gd name="connsiteX13" fmla="*/ 89343 w 118817"/>
                    <a:gd name="connsiteY13" fmla="*/ 135397 h 135397"/>
                    <a:gd name="connsiteX14" fmla="*/ 87194 w 118817"/>
                    <a:gd name="connsiteY14" fmla="*/ 133248 h 135397"/>
                    <a:gd name="connsiteX15" fmla="*/ 87808 w 118817"/>
                    <a:gd name="connsiteY15" fmla="*/ 79212 h 135397"/>
                    <a:gd name="connsiteX16" fmla="*/ 87808 w 118817"/>
                    <a:gd name="connsiteY16" fmla="*/ 52808 h 135397"/>
                    <a:gd name="connsiteX17" fmla="*/ 63554 w 118817"/>
                    <a:gd name="connsiteY17" fmla="*/ 24255 h 135397"/>
                    <a:gd name="connsiteX18" fmla="*/ 31009 w 118817"/>
                    <a:gd name="connsiteY18" fmla="*/ 64782 h 135397"/>
                    <a:gd name="connsiteX19" fmla="*/ 31009 w 118817"/>
                    <a:gd name="connsiteY19" fmla="*/ 79212 h 135397"/>
                    <a:gd name="connsiteX20" fmla="*/ 31623 w 118817"/>
                    <a:gd name="connsiteY20" fmla="*/ 133248 h 135397"/>
                    <a:gd name="connsiteX21" fmla="*/ 29474 w 118817"/>
                    <a:gd name="connsiteY21" fmla="*/ 135397 h 135397"/>
                    <a:gd name="connsiteX22" fmla="*/ 2149 w 118817"/>
                    <a:gd name="connsiteY22" fmla="*/ 135397 h 135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18817" h="135397">
                      <a:moveTo>
                        <a:pt x="2149" y="135397"/>
                      </a:moveTo>
                      <a:cubicBezTo>
                        <a:pt x="1228" y="135397"/>
                        <a:pt x="0" y="134476"/>
                        <a:pt x="0" y="133248"/>
                      </a:cubicBezTo>
                      <a:lnTo>
                        <a:pt x="921" y="73072"/>
                      </a:lnTo>
                      <a:lnTo>
                        <a:pt x="614" y="5219"/>
                      </a:lnTo>
                      <a:cubicBezTo>
                        <a:pt x="614" y="4298"/>
                        <a:pt x="1535" y="3070"/>
                        <a:pt x="2763" y="3070"/>
                      </a:cubicBezTo>
                      <a:lnTo>
                        <a:pt x="28553" y="3070"/>
                      </a:lnTo>
                      <a:cubicBezTo>
                        <a:pt x="29474" y="3070"/>
                        <a:pt x="30702" y="3991"/>
                        <a:pt x="30702" y="5219"/>
                      </a:cubicBezTo>
                      <a:lnTo>
                        <a:pt x="29781" y="22413"/>
                      </a:lnTo>
                      <a:cubicBezTo>
                        <a:pt x="38378" y="10132"/>
                        <a:pt x="53422" y="0"/>
                        <a:pt x="73071" y="0"/>
                      </a:cubicBezTo>
                      <a:cubicBezTo>
                        <a:pt x="100396" y="0"/>
                        <a:pt x="118203" y="18421"/>
                        <a:pt x="118203" y="51887"/>
                      </a:cubicBezTo>
                      <a:lnTo>
                        <a:pt x="118203" y="79212"/>
                      </a:lnTo>
                      <a:lnTo>
                        <a:pt x="118818" y="133248"/>
                      </a:lnTo>
                      <a:cubicBezTo>
                        <a:pt x="118818" y="134169"/>
                        <a:pt x="117896" y="135397"/>
                        <a:pt x="116668" y="135397"/>
                      </a:cubicBezTo>
                      <a:lnTo>
                        <a:pt x="89343" y="135397"/>
                      </a:lnTo>
                      <a:cubicBezTo>
                        <a:pt x="88422" y="135397"/>
                        <a:pt x="87194" y="134476"/>
                        <a:pt x="87194" y="133248"/>
                      </a:cubicBezTo>
                      <a:lnTo>
                        <a:pt x="87808" y="79212"/>
                      </a:lnTo>
                      <a:lnTo>
                        <a:pt x="87808" y="52808"/>
                      </a:lnTo>
                      <a:cubicBezTo>
                        <a:pt x="87808" y="34080"/>
                        <a:pt x="77677" y="24255"/>
                        <a:pt x="63554" y="24255"/>
                      </a:cubicBezTo>
                      <a:cubicBezTo>
                        <a:pt x="48202" y="24255"/>
                        <a:pt x="33465" y="37457"/>
                        <a:pt x="31009" y="64782"/>
                      </a:cubicBezTo>
                      <a:lnTo>
                        <a:pt x="31009" y="79212"/>
                      </a:lnTo>
                      <a:lnTo>
                        <a:pt x="31623" y="133248"/>
                      </a:lnTo>
                      <a:cubicBezTo>
                        <a:pt x="31623" y="134169"/>
                        <a:pt x="30702" y="135397"/>
                        <a:pt x="29474" y="135397"/>
                      </a:cubicBezTo>
                      <a:lnTo>
                        <a:pt x="2149" y="135397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53A4C014-441B-81C1-8515-F1752CF4FCE1}"/>
                    </a:ext>
                  </a:extLst>
                </p:cNvPr>
                <p:cNvSpPr/>
                <p:nvPr/>
              </p:nvSpPr>
              <p:spPr>
                <a:xfrm>
                  <a:off x="11181933" y="6533187"/>
                  <a:ext cx="129563" cy="138160"/>
                </a:xfrm>
                <a:custGeom>
                  <a:avLst/>
                  <a:gdLst>
                    <a:gd name="connsiteX0" fmla="*/ 129563 w 129563"/>
                    <a:gd name="connsiteY0" fmla="*/ 72764 h 138160"/>
                    <a:gd name="connsiteX1" fmla="*/ 127414 w 129563"/>
                    <a:gd name="connsiteY1" fmla="*/ 74914 h 138160"/>
                    <a:gd name="connsiteX2" fmla="*/ 31009 w 129563"/>
                    <a:gd name="connsiteY2" fmla="*/ 74914 h 138160"/>
                    <a:gd name="connsiteX3" fmla="*/ 66010 w 129563"/>
                    <a:gd name="connsiteY3" fmla="*/ 116362 h 138160"/>
                    <a:gd name="connsiteX4" fmla="*/ 95484 w 129563"/>
                    <a:gd name="connsiteY4" fmla="*/ 95177 h 138160"/>
                    <a:gd name="connsiteX5" fmla="*/ 95484 w 129563"/>
                    <a:gd name="connsiteY5" fmla="*/ 95177 h 138160"/>
                    <a:gd name="connsiteX6" fmla="*/ 97940 w 129563"/>
                    <a:gd name="connsiteY6" fmla="*/ 93028 h 138160"/>
                    <a:gd name="connsiteX7" fmla="*/ 123730 w 129563"/>
                    <a:gd name="connsiteY7" fmla="*/ 93028 h 138160"/>
                    <a:gd name="connsiteX8" fmla="*/ 125572 w 129563"/>
                    <a:gd name="connsiteY8" fmla="*/ 95177 h 138160"/>
                    <a:gd name="connsiteX9" fmla="*/ 65396 w 129563"/>
                    <a:gd name="connsiteY9" fmla="*/ 138160 h 138160"/>
                    <a:gd name="connsiteX10" fmla="*/ 0 w 129563"/>
                    <a:gd name="connsiteY10" fmla="*/ 69387 h 138160"/>
                    <a:gd name="connsiteX11" fmla="*/ 64475 w 129563"/>
                    <a:gd name="connsiteY11" fmla="*/ 0 h 138160"/>
                    <a:gd name="connsiteX12" fmla="*/ 129563 w 129563"/>
                    <a:gd name="connsiteY12" fmla="*/ 72764 h 138160"/>
                    <a:gd name="connsiteX13" fmla="*/ 96098 w 129563"/>
                    <a:gd name="connsiteY13" fmla="*/ 54036 h 138160"/>
                    <a:gd name="connsiteX14" fmla="*/ 64782 w 129563"/>
                    <a:gd name="connsiteY14" fmla="*/ 21492 h 138160"/>
                    <a:gd name="connsiteX15" fmla="*/ 31930 w 129563"/>
                    <a:gd name="connsiteY15" fmla="*/ 54036 h 138160"/>
                    <a:gd name="connsiteX16" fmla="*/ 96098 w 129563"/>
                    <a:gd name="connsiteY16" fmla="*/ 54036 h 138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9563" h="138160">
                      <a:moveTo>
                        <a:pt x="129563" y="72764"/>
                      </a:moveTo>
                      <a:cubicBezTo>
                        <a:pt x="129563" y="73686"/>
                        <a:pt x="128642" y="74914"/>
                        <a:pt x="127414" y="74914"/>
                      </a:cubicBezTo>
                      <a:lnTo>
                        <a:pt x="31009" y="74914"/>
                      </a:lnTo>
                      <a:cubicBezTo>
                        <a:pt x="32237" y="103160"/>
                        <a:pt x="43904" y="116362"/>
                        <a:pt x="66010" y="116362"/>
                      </a:cubicBezTo>
                      <a:cubicBezTo>
                        <a:pt x="81054" y="116362"/>
                        <a:pt x="91186" y="109300"/>
                        <a:pt x="95484" y="95177"/>
                      </a:cubicBezTo>
                      <a:lnTo>
                        <a:pt x="95484" y="95177"/>
                      </a:lnTo>
                      <a:cubicBezTo>
                        <a:pt x="95791" y="93949"/>
                        <a:pt x="97019" y="93028"/>
                        <a:pt x="97940" y="93028"/>
                      </a:cubicBezTo>
                      <a:lnTo>
                        <a:pt x="123730" y="93028"/>
                      </a:lnTo>
                      <a:cubicBezTo>
                        <a:pt x="124651" y="93028"/>
                        <a:pt x="125879" y="93949"/>
                        <a:pt x="125572" y="95177"/>
                      </a:cubicBezTo>
                      <a:cubicBezTo>
                        <a:pt x="120660" y="119125"/>
                        <a:pt x="99168" y="138160"/>
                        <a:pt x="65396" y="138160"/>
                      </a:cubicBezTo>
                      <a:cubicBezTo>
                        <a:pt x="22720" y="138160"/>
                        <a:pt x="0" y="109607"/>
                        <a:pt x="0" y="69387"/>
                      </a:cubicBezTo>
                      <a:cubicBezTo>
                        <a:pt x="0" y="27632"/>
                        <a:pt x="24255" y="0"/>
                        <a:pt x="64475" y="0"/>
                      </a:cubicBezTo>
                      <a:cubicBezTo>
                        <a:pt x="105616" y="0"/>
                        <a:pt x="128642" y="27632"/>
                        <a:pt x="129563" y="72764"/>
                      </a:cubicBezTo>
                      <a:close/>
                      <a:moveTo>
                        <a:pt x="96098" y="54036"/>
                      </a:moveTo>
                      <a:cubicBezTo>
                        <a:pt x="94870" y="36843"/>
                        <a:pt x="85045" y="21492"/>
                        <a:pt x="64782" y="21492"/>
                      </a:cubicBezTo>
                      <a:cubicBezTo>
                        <a:pt x="46360" y="21492"/>
                        <a:pt x="35308" y="32852"/>
                        <a:pt x="31930" y="54036"/>
                      </a:cubicBezTo>
                      <a:lnTo>
                        <a:pt x="96098" y="54036"/>
                      </a:ln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ECAF95E8-9448-7A8F-0E2D-FBD178D90A9F}"/>
                    </a:ext>
                  </a:extLst>
                </p:cNvPr>
                <p:cNvSpPr/>
                <p:nvPr/>
              </p:nvSpPr>
              <p:spPr>
                <a:xfrm>
                  <a:off x="11317944" y="6534108"/>
                  <a:ext cx="127107" cy="184848"/>
                </a:xfrm>
                <a:custGeom>
                  <a:avLst/>
                  <a:gdLst>
                    <a:gd name="connsiteX0" fmla="*/ 127107 w 127107"/>
                    <a:gd name="connsiteY0" fmla="*/ 4298 h 184848"/>
                    <a:gd name="connsiteX1" fmla="*/ 124958 w 127107"/>
                    <a:gd name="connsiteY1" fmla="*/ 2149 h 184848"/>
                    <a:gd name="connsiteX2" fmla="*/ 97940 w 127107"/>
                    <a:gd name="connsiteY2" fmla="*/ 2149 h 184848"/>
                    <a:gd name="connsiteX3" fmla="*/ 95791 w 127107"/>
                    <a:gd name="connsiteY3" fmla="*/ 4298 h 184848"/>
                    <a:gd name="connsiteX4" fmla="*/ 96405 w 127107"/>
                    <a:gd name="connsiteY4" fmla="*/ 19035 h 184848"/>
                    <a:gd name="connsiteX5" fmla="*/ 56799 w 127107"/>
                    <a:gd name="connsiteY5" fmla="*/ 0 h 184848"/>
                    <a:gd name="connsiteX6" fmla="*/ 0 w 127107"/>
                    <a:gd name="connsiteY6" fmla="*/ 67545 h 184848"/>
                    <a:gd name="connsiteX7" fmla="*/ 58027 w 127107"/>
                    <a:gd name="connsiteY7" fmla="*/ 133555 h 184848"/>
                    <a:gd name="connsiteX8" fmla="*/ 97633 w 127107"/>
                    <a:gd name="connsiteY8" fmla="*/ 112678 h 184848"/>
                    <a:gd name="connsiteX9" fmla="*/ 97633 w 127107"/>
                    <a:gd name="connsiteY9" fmla="*/ 127722 h 184848"/>
                    <a:gd name="connsiteX10" fmla="*/ 65396 w 127107"/>
                    <a:gd name="connsiteY10" fmla="*/ 163336 h 184848"/>
                    <a:gd name="connsiteX11" fmla="*/ 35922 w 127107"/>
                    <a:gd name="connsiteY11" fmla="*/ 145836 h 184848"/>
                    <a:gd name="connsiteX12" fmla="*/ 33465 w 127107"/>
                    <a:gd name="connsiteY12" fmla="*/ 143687 h 184848"/>
                    <a:gd name="connsiteX13" fmla="*/ 6755 w 127107"/>
                    <a:gd name="connsiteY13" fmla="*/ 143687 h 184848"/>
                    <a:gd name="connsiteX14" fmla="*/ 4605 w 127107"/>
                    <a:gd name="connsiteY14" fmla="*/ 145836 h 184848"/>
                    <a:gd name="connsiteX15" fmla="*/ 64168 w 127107"/>
                    <a:gd name="connsiteY15" fmla="*/ 184828 h 184848"/>
                    <a:gd name="connsiteX16" fmla="*/ 125879 w 127107"/>
                    <a:gd name="connsiteY16" fmla="*/ 128029 h 184848"/>
                    <a:gd name="connsiteX17" fmla="*/ 125572 w 127107"/>
                    <a:gd name="connsiteY17" fmla="*/ 63247 h 184848"/>
                    <a:gd name="connsiteX18" fmla="*/ 127107 w 127107"/>
                    <a:gd name="connsiteY18" fmla="*/ 4298 h 184848"/>
                    <a:gd name="connsiteX19" fmla="*/ 65089 w 127107"/>
                    <a:gd name="connsiteY19" fmla="*/ 112371 h 184848"/>
                    <a:gd name="connsiteX20" fmla="*/ 31623 w 127107"/>
                    <a:gd name="connsiteY20" fmla="*/ 66317 h 184848"/>
                    <a:gd name="connsiteX21" fmla="*/ 65089 w 127107"/>
                    <a:gd name="connsiteY21" fmla="*/ 21799 h 184848"/>
                    <a:gd name="connsiteX22" fmla="*/ 97326 w 127107"/>
                    <a:gd name="connsiteY22" fmla="*/ 68773 h 184848"/>
                    <a:gd name="connsiteX23" fmla="*/ 65089 w 127107"/>
                    <a:gd name="connsiteY23" fmla="*/ 112371 h 184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7107" h="184848">
                      <a:moveTo>
                        <a:pt x="127107" y="4298"/>
                      </a:moveTo>
                      <a:cubicBezTo>
                        <a:pt x="127107" y="3377"/>
                        <a:pt x="126186" y="2149"/>
                        <a:pt x="124958" y="2149"/>
                      </a:cubicBezTo>
                      <a:lnTo>
                        <a:pt x="97940" y="2149"/>
                      </a:lnTo>
                      <a:cubicBezTo>
                        <a:pt x="97019" y="2149"/>
                        <a:pt x="95791" y="3070"/>
                        <a:pt x="95791" y="4298"/>
                      </a:cubicBezTo>
                      <a:lnTo>
                        <a:pt x="96405" y="19035"/>
                      </a:lnTo>
                      <a:cubicBezTo>
                        <a:pt x="87808" y="6755"/>
                        <a:pt x="74299" y="0"/>
                        <a:pt x="56799" y="0"/>
                      </a:cubicBezTo>
                      <a:cubicBezTo>
                        <a:pt x="21185" y="0"/>
                        <a:pt x="0" y="30395"/>
                        <a:pt x="0" y="67545"/>
                      </a:cubicBezTo>
                      <a:cubicBezTo>
                        <a:pt x="0" y="105002"/>
                        <a:pt x="19649" y="133555"/>
                        <a:pt x="58027" y="133555"/>
                      </a:cubicBezTo>
                      <a:cubicBezTo>
                        <a:pt x="75527" y="133555"/>
                        <a:pt x="88729" y="125880"/>
                        <a:pt x="97633" y="112678"/>
                      </a:cubicBezTo>
                      <a:lnTo>
                        <a:pt x="97633" y="127722"/>
                      </a:lnTo>
                      <a:cubicBezTo>
                        <a:pt x="97633" y="152591"/>
                        <a:pt x="84431" y="163336"/>
                        <a:pt x="65396" y="163336"/>
                      </a:cubicBezTo>
                      <a:cubicBezTo>
                        <a:pt x="49431" y="163336"/>
                        <a:pt x="38992" y="157503"/>
                        <a:pt x="35922" y="145836"/>
                      </a:cubicBezTo>
                      <a:cubicBezTo>
                        <a:pt x="35615" y="144608"/>
                        <a:pt x="34694" y="143687"/>
                        <a:pt x="33465" y="143687"/>
                      </a:cubicBezTo>
                      <a:lnTo>
                        <a:pt x="6755" y="143687"/>
                      </a:lnTo>
                      <a:cubicBezTo>
                        <a:pt x="5833" y="143687"/>
                        <a:pt x="4605" y="144608"/>
                        <a:pt x="4605" y="145836"/>
                      </a:cubicBezTo>
                      <a:cubicBezTo>
                        <a:pt x="8290" y="172547"/>
                        <a:pt x="32544" y="185442"/>
                        <a:pt x="64168" y="184828"/>
                      </a:cubicBezTo>
                      <a:cubicBezTo>
                        <a:pt x="104694" y="184828"/>
                        <a:pt x="126186" y="163643"/>
                        <a:pt x="125879" y="128029"/>
                      </a:cubicBezTo>
                      <a:lnTo>
                        <a:pt x="125572" y="63247"/>
                      </a:lnTo>
                      <a:lnTo>
                        <a:pt x="127107" y="4298"/>
                      </a:lnTo>
                      <a:close/>
                      <a:moveTo>
                        <a:pt x="65089" y="112371"/>
                      </a:moveTo>
                      <a:cubicBezTo>
                        <a:pt x="43290" y="112678"/>
                        <a:pt x="31623" y="96405"/>
                        <a:pt x="31623" y="66317"/>
                      </a:cubicBezTo>
                      <a:cubicBezTo>
                        <a:pt x="31623" y="38071"/>
                        <a:pt x="42983" y="21185"/>
                        <a:pt x="65089" y="21799"/>
                      </a:cubicBezTo>
                      <a:cubicBezTo>
                        <a:pt x="86273" y="22106"/>
                        <a:pt x="97633" y="38685"/>
                        <a:pt x="97326" y="68773"/>
                      </a:cubicBezTo>
                      <a:cubicBezTo>
                        <a:pt x="97019" y="97940"/>
                        <a:pt x="85352" y="112371"/>
                        <a:pt x="65089" y="112371"/>
                      </a:cubicBezTo>
                      <a:close/>
                    </a:path>
                  </a:pathLst>
                </a:custGeom>
                <a:grpFill/>
                <a:ln w="306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E58DCB8-B688-4BDD-5C36-F36FE37B0532}"/>
              </a:ext>
            </a:extLst>
          </p:cNvPr>
          <p:cNvGrpSpPr/>
          <p:nvPr userDrawn="1"/>
        </p:nvGrpSpPr>
        <p:grpSpPr>
          <a:xfrm flipH="1">
            <a:off x="7205338" y="1355490"/>
            <a:ext cx="5258366" cy="4234376"/>
            <a:chOff x="-13480067" y="1704817"/>
            <a:chExt cx="5092469" cy="4100785"/>
          </a:xfrm>
        </p:grpSpPr>
        <p:grpSp>
          <p:nvGrpSpPr>
            <p:cNvPr id="7" name="Graphic 6">
              <a:extLst>
                <a:ext uri="{FF2B5EF4-FFF2-40B4-BE49-F238E27FC236}">
                  <a16:creationId xmlns:a16="http://schemas.microsoft.com/office/drawing/2014/main" id="{3A1AF0BB-B6E3-54E8-283F-FEB5C2004152}"/>
                </a:ext>
              </a:extLst>
            </p:cNvPr>
            <p:cNvGrpSpPr/>
            <p:nvPr userDrawn="1"/>
          </p:nvGrpSpPr>
          <p:grpSpPr>
            <a:xfrm>
              <a:off x="-13480067" y="1704817"/>
              <a:ext cx="6848491" cy="4096335"/>
              <a:chOff x="-13480067" y="1704817"/>
              <a:chExt cx="6848491" cy="4096335"/>
            </a:xfrm>
          </p:grpSpPr>
          <p:grpSp>
            <p:nvGrpSpPr>
              <p:cNvPr id="50" name="Graphic 6">
                <a:extLst>
                  <a:ext uri="{FF2B5EF4-FFF2-40B4-BE49-F238E27FC236}">
                    <a16:creationId xmlns:a16="http://schemas.microsoft.com/office/drawing/2014/main" id="{9C38174E-621F-4BED-9695-2021B901D3C0}"/>
                  </a:ext>
                </a:extLst>
              </p:cNvPr>
              <p:cNvGrpSpPr/>
              <p:nvPr/>
            </p:nvGrpSpPr>
            <p:grpSpPr>
              <a:xfrm>
                <a:off x="-11320983" y="2416072"/>
                <a:ext cx="2648676" cy="3385079"/>
                <a:chOff x="-11320983" y="2416072"/>
                <a:chExt cx="2648676" cy="3385079"/>
              </a:xfrm>
            </p:grpSpPr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335E34F8-CBB5-E677-CF27-34287DFCB728}"/>
                    </a:ext>
                  </a:extLst>
                </p:cNvPr>
                <p:cNvSpPr/>
                <p:nvPr/>
              </p:nvSpPr>
              <p:spPr>
                <a:xfrm>
                  <a:off x="-11054367" y="2416072"/>
                  <a:ext cx="548029" cy="562749"/>
                </a:xfrm>
                <a:custGeom>
                  <a:avLst/>
                  <a:gdLst>
                    <a:gd name="connsiteX0" fmla="*/ 498848 w 548029"/>
                    <a:gd name="connsiteY0" fmla="*/ 203144 h 562749"/>
                    <a:gd name="connsiteX1" fmla="*/ 468109 w 548029"/>
                    <a:gd name="connsiteY1" fmla="*/ 58950 h 562749"/>
                    <a:gd name="connsiteX2" fmla="*/ 364477 w 548029"/>
                    <a:gd name="connsiteY2" fmla="*/ 7075 h 562749"/>
                    <a:gd name="connsiteX3" fmla="*/ 335495 w 548029"/>
                    <a:gd name="connsiteY3" fmla="*/ 1800 h 562749"/>
                    <a:gd name="connsiteX4" fmla="*/ 277531 w 548029"/>
                    <a:gd name="connsiteY4" fmla="*/ 3559 h 562749"/>
                    <a:gd name="connsiteX5" fmla="*/ 164237 w 548029"/>
                    <a:gd name="connsiteY5" fmla="*/ 77414 h 562749"/>
                    <a:gd name="connsiteX6" fmla="*/ 6 w 548029"/>
                    <a:gd name="connsiteY6" fmla="*/ 562749 h 562749"/>
                    <a:gd name="connsiteX7" fmla="*/ 289826 w 548029"/>
                    <a:gd name="connsiteY7" fmla="*/ 562749 h 562749"/>
                    <a:gd name="connsiteX8" fmla="*/ 272261 w 548029"/>
                    <a:gd name="connsiteY8" fmla="*/ 490652 h 562749"/>
                    <a:gd name="connsiteX9" fmla="*/ 403120 w 548029"/>
                    <a:gd name="connsiteY9" fmla="*/ 492411 h 562749"/>
                    <a:gd name="connsiteX10" fmla="*/ 548030 w 548029"/>
                    <a:gd name="connsiteY10" fmla="*/ 524063 h 562749"/>
                    <a:gd name="connsiteX11" fmla="*/ 498848 w 548029"/>
                    <a:gd name="connsiteY11" fmla="*/ 203144 h 562749"/>
                    <a:gd name="connsiteX12" fmla="*/ 498848 w 548029"/>
                    <a:gd name="connsiteY12" fmla="*/ 203144 h 562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48029" h="562749">
                      <a:moveTo>
                        <a:pt x="498848" y="203144"/>
                      </a:moveTo>
                      <a:cubicBezTo>
                        <a:pt x="504996" y="163579"/>
                        <a:pt x="507630" y="93240"/>
                        <a:pt x="468109" y="58950"/>
                      </a:cubicBezTo>
                      <a:cubicBezTo>
                        <a:pt x="426832" y="22902"/>
                        <a:pt x="384676" y="10592"/>
                        <a:pt x="364477" y="7075"/>
                      </a:cubicBezTo>
                      <a:cubicBezTo>
                        <a:pt x="354816" y="4438"/>
                        <a:pt x="345155" y="2679"/>
                        <a:pt x="335495" y="1800"/>
                      </a:cubicBezTo>
                      <a:cubicBezTo>
                        <a:pt x="317052" y="-838"/>
                        <a:pt x="296852" y="-838"/>
                        <a:pt x="277531" y="3559"/>
                      </a:cubicBezTo>
                      <a:cubicBezTo>
                        <a:pt x="231862" y="11472"/>
                        <a:pt x="190585" y="36090"/>
                        <a:pt x="164237" y="77414"/>
                      </a:cubicBezTo>
                      <a:cubicBezTo>
                        <a:pt x="91343" y="189955"/>
                        <a:pt x="-872" y="451087"/>
                        <a:pt x="6" y="562749"/>
                      </a:cubicBezTo>
                      <a:lnTo>
                        <a:pt x="289826" y="562749"/>
                      </a:lnTo>
                      <a:cubicBezTo>
                        <a:pt x="278409" y="546923"/>
                        <a:pt x="274018" y="521425"/>
                        <a:pt x="272261" y="490652"/>
                      </a:cubicBezTo>
                      <a:cubicBezTo>
                        <a:pt x="337251" y="494169"/>
                        <a:pt x="397850" y="490652"/>
                        <a:pt x="403120" y="492411"/>
                      </a:cubicBezTo>
                      <a:cubicBezTo>
                        <a:pt x="456692" y="501203"/>
                        <a:pt x="544517" y="537252"/>
                        <a:pt x="548030" y="524063"/>
                      </a:cubicBezTo>
                      <a:cubicBezTo>
                        <a:pt x="505874" y="412401"/>
                        <a:pt x="512900" y="300739"/>
                        <a:pt x="498848" y="203144"/>
                      </a:cubicBezTo>
                      <a:lnTo>
                        <a:pt x="498848" y="203144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73BA80AB-134E-E53C-0FFE-9541FFB6EC7D}"/>
                    </a:ext>
                  </a:extLst>
                </p:cNvPr>
                <p:cNvSpPr/>
                <p:nvPr/>
              </p:nvSpPr>
              <p:spPr>
                <a:xfrm>
                  <a:off x="-10853243" y="2453042"/>
                  <a:ext cx="330414" cy="535451"/>
                </a:xfrm>
                <a:custGeom>
                  <a:avLst/>
                  <a:gdLst>
                    <a:gd name="connsiteX0" fmla="*/ 328463 w 330414"/>
                    <a:gd name="connsiteY0" fmla="*/ 203982 h 535451"/>
                    <a:gd name="connsiteX1" fmla="*/ 328463 w 330414"/>
                    <a:gd name="connsiteY1" fmla="*/ 189035 h 535451"/>
                    <a:gd name="connsiteX2" fmla="*/ 288942 w 330414"/>
                    <a:gd name="connsiteY2" fmla="*/ 144194 h 535451"/>
                    <a:gd name="connsiteX3" fmla="*/ 287185 w 330414"/>
                    <a:gd name="connsiteY3" fmla="*/ 138918 h 535451"/>
                    <a:gd name="connsiteX4" fmla="*/ 229221 w 330414"/>
                    <a:gd name="connsiteY4" fmla="*/ 22860 h 535451"/>
                    <a:gd name="connsiteX5" fmla="*/ 193213 w 330414"/>
                    <a:gd name="connsiteY5" fmla="*/ 0 h 535451"/>
                    <a:gd name="connsiteX6" fmla="*/ 188822 w 330414"/>
                    <a:gd name="connsiteY6" fmla="*/ 1759 h 535451"/>
                    <a:gd name="connsiteX7" fmla="*/ 143153 w 330414"/>
                    <a:gd name="connsiteY7" fmla="*/ 187276 h 535451"/>
                    <a:gd name="connsiteX8" fmla="*/ 90459 w 330414"/>
                    <a:gd name="connsiteY8" fmla="*/ 154745 h 535451"/>
                    <a:gd name="connsiteX9" fmla="*/ 87824 w 330414"/>
                    <a:gd name="connsiteY9" fmla="*/ 243547 h 535451"/>
                    <a:gd name="connsiteX10" fmla="*/ 92215 w 330414"/>
                    <a:gd name="connsiteY10" fmla="*/ 248822 h 535451"/>
                    <a:gd name="connsiteX11" fmla="*/ 0 w 330414"/>
                    <a:gd name="connsiteY11" fmla="*/ 451925 h 535451"/>
                    <a:gd name="connsiteX12" fmla="*/ 191457 w 330414"/>
                    <a:gd name="connsiteY12" fmla="*/ 535452 h 535451"/>
                    <a:gd name="connsiteX13" fmla="*/ 223074 w 330414"/>
                    <a:gd name="connsiteY13" fmla="*/ 326195 h 535451"/>
                    <a:gd name="connsiteX14" fmla="*/ 234491 w 330414"/>
                    <a:gd name="connsiteY14" fmla="*/ 327074 h 535451"/>
                    <a:gd name="connsiteX15" fmla="*/ 295090 w 330414"/>
                    <a:gd name="connsiteY15" fmla="*/ 330591 h 535451"/>
                    <a:gd name="connsiteX16" fmla="*/ 316167 w 330414"/>
                    <a:gd name="connsiteY16" fmla="*/ 283112 h 535451"/>
                    <a:gd name="connsiteX17" fmla="*/ 327584 w 330414"/>
                    <a:gd name="connsiteY17" fmla="*/ 272562 h 535451"/>
                    <a:gd name="connsiteX18" fmla="*/ 307385 w 330414"/>
                    <a:gd name="connsiteY18" fmla="*/ 255856 h 535451"/>
                    <a:gd name="connsiteX19" fmla="*/ 326706 w 330414"/>
                    <a:gd name="connsiteY19" fmla="*/ 233875 h 535451"/>
                    <a:gd name="connsiteX20" fmla="*/ 317046 w 330414"/>
                    <a:gd name="connsiteY20" fmla="*/ 220687 h 535451"/>
                    <a:gd name="connsiteX21" fmla="*/ 317924 w 330414"/>
                    <a:gd name="connsiteY21" fmla="*/ 211015 h 535451"/>
                    <a:gd name="connsiteX22" fmla="*/ 328463 w 330414"/>
                    <a:gd name="connsiteY22" fmla="*/ 202223 h 535451"/>
                    <a:gd name="connsiteX23" fmla="*/ 328463 w 330414"/>
                    <a:gd name="connsiteY23" fmla="*/ 202223 h 535451"/>
                    <a:gd name="connsiteX24" fmla="*/ 328463 w 330414"/>
                    <a:gd name="connsiteY24" fmla="*/ 203982 h 535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0414" h="535451">
                      <a:moveTo>
                        <a:pt x="328463" y="203982"/>
                      </a:moveTo>
                      <a:cubicBezTo>
                        <a:pt x="328463" y="203982"/>
                        <a:pt x="332854" y="196068"/>
                        <a:pt x="328463" y="189035"/>
                      </a:cubicBezTo>
                      <a:lnTo>
                        <a:pt x="288942" y="144194"/>
                      </a:lnTo>
                      <a:cubicBezTo>
                        <a:pt x="288063" y="142435"/>
                        <a:pt x="287185" y="140677"/>
                        <a:pt x="287185" y="138918"/>
                      </a:cubicBezTo>
                      <a:cubicBezTo>
                        <a:pt x="281916" y="63305"/>
                        <a:pt x="229221" y="22860"/>
                        <a:pt x="229221" y="22860"/>
                      </a:cubicBezTo>
                      <a:cubicBezTo>
                        <a:pt x="214291" y="11430"/>
                        <a:pt x="200239" y="3517"/>
                        <a:pt x="193213" y="0"/>
                      </a:cubicBezTo>
                      <a:cubicBezTo>
                        <a:pt x="191457" y="0"/>
                        <a:pt x="190578" y="0"/>
                        <a:pt x="188822" y="1759"/>
                      </a:cubicBezTo>
                      <a:cubicBezTo>
                        <a:pt x="156327" y="80889"/>
                        <a:pt x="143153" y="187276"/>
                        <a:pt x="143153" y="187276"/>
                      </a:cubicBezTo>
                      <a:cubicBezTo>
                        <a:pt x="143153" y="187276"/>
                        <a:pt x="123832" y="136281"/>
                        <a:pt x="90459" y="154745"/>
                      </a:cubicBezTo>
                      <a:cubicBezTo>
                        <a:pt x="65868" y="167933"/>
                        <a:pt x="62355" y="210136"/>
                        <a:pt x="87824" y="243547"/>
                      </a:cubicBezTo>
                      <a:cubicBezTo>
                        <a:pt x="89581" y="245305"/>
                        <a:pt x="91337" y="247064"/>
                        <a:pt x="92215" y="248822"/>
                      </a:cubicBezTo>
                      <a:cubicBezTo>
                        <a:pt x="86068" y="286629"/>
                        <a:pt x="64112" y="383345"/>
                        <a:pt x="0" y="451925"/>
                      </a:cubicBezTo>
                      <a:cubicBezTo>
                        <a:pt x="23712" y="506437"/>
                        <a:pt x="104511" y="523142"/>
                        <a:pt x="191457" y="535452"/>
                      </a:cubicBezTo>
                      <a:cubicBezTo>
                        <a:pt x="191457" y="535452"/>
                        <a:pt x="214291" y="389499"/>
                        <a:pt x="223074" y="326195"/>
                      </a:cubicBezTo>
                      <a:cubicBezTo>
                        <a:pt x="230099" y="326195"/>
                        <a:pt x="234491" y="327074"/>
                        <a:pt x="234491" y="327074"/>
                      </a:cubicBezTo>
                      <a:cubicBezTo>
                        <a:pt x="254690" y="329712"/>
                        <a:pt x="275768" y="331470"/>
                        <a:pt x="295090" y="330591"/>
                      </a:cubicBezTo>
                      <a:cubicBezTo>
                        <a:pt x="295090" y="330591"/>
                        <a:pt x="338123" y="328832"/>
                        <a:pt x="316167" y="283112"/>
                      </a:cubicBezTo>
                      <a:lnTo>
                        <a:pt x="327584" y="272562"/>
                      </a:lnTo>
                      <a:cubicBezTo>
                        <a:pt x="327584" y="272562"/>
                        <a:pt x="331097" y="262011"/>
                        <a:pt x="307385" y="255856"/>
                      </a:cubicBezTo>
                      <a:cubicBezTo>
                        <a:pt x="307385" y="255856"/>
                        <a:pt x="332854" y="246185"/>
                        <a:pt x="326706" y="233875"/>
                      </a:cubicBezTo>
                      <a:lnTo>
                        <a:pt x="317046" y="220687"/>
                      </a:lnTo>
                      <a:cubicBezTo>
                        <a:pt x="315289" y="218049"/>
                        <a:pt x="315289" y="213653"/>
                        <a:pt x="317924" y="211015"/>
                      </a:cubicBezTo>
                      <a:lnTo>
                        <a:pt x="328463" y="202223"/>
                      </a:lnTo>
                      <a:lnTo>
                        <a:pt x="328463" y="202223"/>
                      </a:lnTo>
                      <a:lnTo>
                        <a:pt x="328463" y="203982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7443C785-7BDA-F950-1012-07668480D3C6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77F0ADE5-5B91-DD64-6DD4-40D6A78C4077}"/>
                    </a:ext>
                  </a:extLst>
                </p:cNvPr>
                <p:cNvSpPr/>
                <p:nvPr/>
              </p:nvSpPr>
              <p:spPr>
                <a:xfrm>
                  <a:off x="-10333003" y="5471329"/>
                  <a:ext cx="253491" cy="243658"/>
                </a:xfrm>
                <a:custGeom>
                  <a:avLst/>
                  <a:gdLst>
                    <a:gd name="connsiteX0" fmla="*/ 253492 w 253491"/>
                    <a:gd name="connsiteY0" fmla="*/ 243658 h 243658"/>
                    <a:gd name="connsiteX1" fmla="*/ 143712 w 253491"/>
                    <a:gd name="connsiteY1" fmla="*/ 108257 h 243658"/>
                    <a:gd name="connsiteX2" fmla="*/ 132294 w 253491"/>
                    <a:gd name="connsiteY2" fmla="*/ 34401 h 243658"/>
                    <a:gd name="connsiteX3" fmla="*/ 558 w 253491"/>
                    <a:gd name="connsiteY3" fmla="*/ 31764 h 243658"/>
                    <a:gd name="connsiteX4" fmla="*/ 26905 w 253491"/>
                    <a:gd name="connsiteY4" fmla="*/ 201455 h 243658"/>
                    <a:gd name="connsiteX5" fmla="*/ 18123 w 253491"/>
                    <a:gd name="connsiteY5" fmla="*/ 243658 h 243658"/>
                    <a:gd name="connsiteX6" fmla="*/ 253492 w 253491"/>
                    <a:gd name="connsiteY6" fmla="*/ 243658 h 24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91" h="243658">
                      <a:moveTo>
                        <a:pt x="253492" y="243658"/>
                      </a:moveTo>
                      <a:cubicBezTo>
                        <a:pt x="253492" y="243658"/>
                        <a:pt x="141955" y="134634"/>
                        <a:pt x="143712" y="108257"/>
                      </a:cubicBezTo>
                      <a:cubicBezTo>
                        <a:pt x="136685" y="70450"/>
                        <a:pt x="132294" y="34401"/>
                        <a:pt x="132294" y="34401"/>
                      </a:cubicBezTo>
                      <a:cubicBezTo>
                        <a:pt x="132294" y="34401"/>
                        <a:pt x="-9981" y="-41212"/>
                        <a:pt x="558" y="31764"/>
                      </a:cubicBezTo>
                      <a:cubicBezTo>
                        <a:pt x="9340" y="95069"/>
                        <a:pt x="25149" y="200576"/>
                        <a:pt x="26905" y="201455"/>
                      </a:cubicBezTo>
                      <a:lnTo>
                        <a:pt x="18123" y="243658"/>
                      </a:lnTo>
                      <a:lnTo>
                        <a:pt x="253492" y="243658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736447C8-5D9B-9EAF-64FF-AC5AD3432668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311B382C-BE6D-2B68-3C4B-21A1094E913B}"/>
                    </a:ext>
                  </a:extLst>
                </p:cNvPr>
                <p:cNvSpPr/>
                <p:nvPr/>
              </p:nvSpPr>
              <p:spPr>
                <a:xfrm>
                  <a:off x="-10336094" y="5616478"/>
                  <a:ext cx="376769" cy="184674"/>
                </a:xfrm>
                <a:custGeom>
                  <a:avLst/>
                  <a:gdLst>
                    <a:gd name="connsiteX0" fmla="*/ 359337 w 376769"/>
                    <a:gd name="connsiteY0" fmla="*/ 184674 h 184674"/>
                    <a:gd name="connsiteX1" fmla="*/ 15066 w 376769"/>
                    <a:gd name="connsiteY1" fmla="*/ 184674 h 184674"/>
                    <a:gd name="connsiteX2" fmla="*/ 136 w 376769"/>
                    <a:gd name="connsiteY2" fmla="*/ 148626 h 184674"/>
                    <a:gd name="connsiteX3" fmla="*/ 18579 w 376769"/>
                    <a:gd name="connsiteY3" fmla="*/ 31688 h 184674"/>
                    <a:gd name="connsiteX4" fmla="*/ 24726 w 376769"/>
                    <a:gd name="connsiteY4" fmla="*/ 28171 h 184674"/>
                    <a:gd name="connsiteX5" fmla="*/ 55465 w 376769"/>
                    <a:gd name="connsiteY5" fmla="*/ 55428 h 184674"/>
                    <a:gd name="connsiteX6" fmla="*/ 116064 w 376769"/>
                    <a:gd name="connsiteY6" fmla="*/ 19379 h 184674"/>
                    <a:gd name="connsiteX7" fmla="*/ 155585 w 376769"/>
                    <a:gd name="connsiteY7" fmla="*/ 36 h 184674"/>
                    <a:gd name="connsiteX8" fmla="*/ 306642 w 376769"/>
                    <a:gd name="connsiteY8" fmla="*/ 97631 h 184674"/>
                    <a:gd name="connsiteX9" fmla="*/ 330355 w 376769"/>
                    <a:gd name="connsiteY9" fmla="*/ 102906 h 184674"/>
                    <a:gd name="connsiteX10" fmla="*/ 370754 w 376769"/>
                    <a:gd name="connsiteY10" fmla="*/ 131920 h 184674"/>
                    <a:gd name="connsiteX11" fmla="*/ 359337 w 376769"/>
                    <a:gd name="connsiteY11" fmla="*/ 184674 h 184674"/>
                    <a:gd name="connsiteX12" fmla="*/ 359337 w 376769"/>
                    <a:gd name="connsiteY12" fmla="*/ 184674 h 18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6769" h="184674">
                      <a:moveTo>
                        <a:pt x="359337" y="184674"/>
                      </a:moveTo>
                      <a:lnTo>
                        <a:pt x="15066" y="184674"/>
                      </a:lnTo>
                      <a:cubicBezTo>
                        <a:pt x="15066" y="184674"/>
                        <a:pt x="1892" y="174124"/>
                        <a:pt x="136" y="148626"/>
                      </a:cubicBezTo>
                      <a:cubicBezTo>
                        <a:pt x="-1621" y="127524"/>
                        <a:pt x="14188" y="51910"/>
                        <a:pt x="18579" y="31688"/>
                      </a:cubicBezTo>
                      <a:cubicBezTo>
                        <a:pt x="18579" y="29051"/>
                        <a:pt x="22092" y="27292"/>
                        <a:pt x="24726" y="28171"/>
                      </a:cubicBezTo>
                      <a:cubicBezTo>
                        <a:pt x="31752" y="30809"/>
                        <a:pt x="44926" y="37843"/>
                        <a:pt x="55465" y="55428"/>
                      </a:cubicBezTo>
                      <a:cubicBezTo>
                        <a:pt x="70395" y="80046"/>
                        <a:pt x="109038" y="40481"/>
                        <a:pt x="116064" y="19379"/>
                      </a:cubicBezTo>
                      <a:cubicBezTo>
                        <a:pt x="123968" y="-1722"/>
                        <a:pt x="155585" y="36"/>
                        <a:pt x="155585" y="36"/>
                      </a:cubicBezTo>
                      <a:lnTo>
                        <a:pt x="306642" y="97631"/>
                      </a:lnTo>
                      <a:lnTo>
                        <a:pt x="330355" y="102906"/>
                      </a:lnTo>
                      <a:cubicBezTo>
                        <a:pt x="347041" y="106423"/>
                        <a:pt x="361972" y="116974"/>
                        <a:pt x="370754" y="131920"/>
                      </a:cubicBezTo>
                      <a:cubicBezTo>
                        <a:pt x="378658" y="145988"/>
                        <a:pt x="382171" y="169728"/>
                        <a:pt x="359337" y="184674"/>
                      </a:cubicBezTo>
                      <a:lnTo>
                        <a:pt x="359337" y="18467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82D153F7-5F55-69BE-30C0-442C386E83F8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solidFill>
                  <a:srgbClr val="DD9C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B94DF912-32DE-A60C-E12D-0480ECFC1381}"/>
                    </a:ext>
                  </a:extLst>
                </p:cNvPr>
                <p:cNvSpPr/>
                <p:nvPr/>
              </p:nvSpPr>
              <p:spPr>
                <a:xfrm>
                  <a:off x="-10948971" y="5484127"/>
                  <a:ext cx="151935" cy="212396"/>
                </a:xfrm>
                <a:custGeom>
                  <a:avLst/>
                  <a:gdLst>
                    <a:gd name="connsiteX0" fmla="*/ 147545 w 151935"/>
                    <a:gd name="connsiteY0" fmla="*/ 152609 h 212396"/>
                    <a:gd name="connsiteX1" fmla="*/ 149301 w 151935"/>
                    <a:gd name="connsiteY1" fmla="*/ 32154 h 212396"/>
                    <a:gd name="connsiteX2" fmla="*/ 17565 w 151935"/>
                    <a:gd name="connsiteY2" fmla="*/ 34792 h 212396"/>
                    <a:gd name="connsiteX3" fmla="*/ 11417 w 151935"/>
                    <a:gd name="connsiteY3" fmla="*/ 135904 h 212396"/>
                    <a:gd name="connsiteX4" fmla="*/ 0 w 151935"/>
                    <a:gd name="connsiteY4" fmla="*/ 212397 h 212396"/>
                    <a:gd name="connsiteX5" fmla="*/ 151936 w 151935"/>
                    <a:gd name="connsiteY5" fmla="*/ 208880 h 212396"/>
                    <a:gd name="connsiteX6" fmla="*/ 146666 w 151935"/>
                    <a:gd name="connsiteY6" fmla="*/ 152609 h 212396"/>
                    <a:gd name="connsiteX7" fmla="*/ 147545 w 151935"/>
                    <a:gd name="connsiteY7" fmla="*/ 152609 h 212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935" h="212396">
                      <a:moveTo>
                        <a:pt x="147545" y="152609"/>
                      </a:moveTo>
                      <a:cubicBezTo>
                        <a:pt x="147545" y="152609"/>
                        <a:pt x="144910" y="105130"/>
                        <a:pt x="149301" y="32154"/>
                      </a:cubicBezTo>
                      <a:cubicBezTo>
                        <a:pt x="152814" y="-41701"/>
                        <a:pt x="17565" y="34792"/>
                        <a:pt x="17565" y="34792"/>
                      </a:cubicBezTo>
                      <a:cubicBezTo>
                        <a:pt x="17565" y="34792"/>
                        <a:pt x="21078" y="91063"/>
                        <a:pt x="11417" y="135904"/>
                      </a:cubicBezTo>
                      <a:cubicBezTo>
                        <a:pt x="9660" y="141179"/>
                        <a:pt x="0" y="212397"/>
                        <a:pt x="0" y="212397"/>
                      </a:cubicBezTo>
                      <a:lnTo>
                        <a:pt x="151936" y="208880"/>
                      </a:lnTo>
                      <a:lnTo>
                        <a:pt x="146666" y="152609"/>
                      </a:lnTo>
                      <a:lnTo>
                        <a:pt x="147545" y="152609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7D89D581-E36A-0C5F-3989-70CA31A14AD8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4E5DD3CB-1121-0168-9A37-FDF28551499D}"/>
                    </a:ext>
                  </a:extLst>
                </p:cNvPr>
                <p:cNvSpPr/>
                <p:nvPr/>
              </p:nvSpPr>
              <p:spPr>
                <a:xfrm>
                  <a:off x="-10973655" y="5606842"/>
                  <a:ext cx="252706" cy="189913"/>
                </a:xfrm>
                <a:custGeom>
                  <a:avLst/>
                  <a:gdLst>
                    <a:gd name="connsiteX0" fmla="*/ 246879 w 252706"/>
                    <a:gd name="connsiteY0" fmla="*/ 189914 h 189913"/>
                    <a:gd name="connsiteX1" fmla="*/ 14145 w 252706"/>
                    <a:gd name="connsiteY1" fmla="*/ 189914 h 189913"/>
                    <a:gd name="connsiteX2" fmla="*/ 93 w 252706"/>
                    <a:gd name="connsiteY2" fmla="*/ 150349 h 189913"/>
                    <a:gd name="connsiteX3" fmla="*/ 22049 w 252706"/>
                    <a:gd name="connsiteY3" fmla="*/ 28135 h 189913"/>
                    <a:gd name="connsiteX4" fmla="*/ 36101 w 252706"/>
                    <a:gd name="connsiteY4" fmla="*/ 57150 h 189913"/>
                    <a:gd name="connsiteX5" fmla="*/ 76500 w 252706"/>
                    <a:gd name="connsiteY5" fmla="*/ 21102 h 189913"/>
                    <a:gd name="connsiteX6" fmla="*/ 145881 w 252706"/>
                    <a:gd name="connsiteY6" fmla="*/ 0 h 189913"/>
                    <a:gd name="connsiteX7" fmla="*/ 173107 w 252706"/>
                    <a:gd name="connsiteY7" fmla="*/ 14947 h 189913"/>
                    <a:gd name="connsiteX8" fmla="*/ 197698 w 252706"/>
                    <a:gd name="connsiteY8" fmla="*/ 70338 h 189913"/>
                    <a:gd name="connsiteX9" fmla="*/ 245123 w 252706"/>
                    <a:gd name="connsiteY9" fmla="*/ 189914 h 189913"/>
                    <a:gd name="connsiteX10" fmla="*/ 246879 w 252706"/>
                    <a:gd name="connsiteY10" fmla="*/ 189914 h 189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2706" h="189913">
                      <a:moveTo>
                        <a:pt x="246879" y="189914"/>
                      </a:moveTo>
                      <a:lnTo>
                        <a:pt x="14145" y="189914"/>
                      </a:lnTo>
                      <a:cubicBezTo>
                        <a:pt x="14145" y="189914"/>
                        <a:pt x="1850" y="174967"/>
                        <a:pt x="93" y="150349"/>
                      </a:cubicBezTo>
                      <a:cubicBezTo>
                        <a:pt x="-1663" y="125730"/>
                        <a:pt x="22049" y="28135"/>
                        <a:pt x="22049" y="28135"/>
                      </a:cubicBezTo>
                      <a:cubicBezTo>
                        <a:pt x="22049" y="28135"/>
                        <a:pt x="35223" y="20222"/>
                        <a:pt x="36101" y="57150"/>
                      </a:cubicBezTo>
                      <a:cubicBezTo>
                        <a:pt x="36101" y="86165"/>
                        <a:pt x="55422" y="57150"/>
                        <a:pt x="76500" y="21102"/>
                      </a:cubicBezTo>
                      <a:cubicBezTo>
                        <a:pt x="87917" y="1759"/>
                        <a:pt x="145881" y="0"/>
                        <a:pt x="145881" y="0"/>
                      </a:cubicBezTo>
                      <a:lnTo>
                        <a:pt x="173107" y="14947"/>
                      </a:lnTo>
                      <a:lnTo>
                        <a:pt x="197698" y="70338"/>
                      </a:lnTo>
                      <a:cubicBezTo>
                        <a:pt x="235462" y="100233"/>
                        <a:pt x="267957" y="174967"/>
                        <a:pt x="245123" y="189914"/>
                      </a:cubicBezTo>
                      <a:lnTo>
                        <a:pt x="246879" y="189914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1DEA8991-987D-9489-AE51-9CE22ACCBBA9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22137266-236D-E82A-1969-93A9A897D9B3}"/>
                    </a:ext>
                  </a:extLst>
                </p:cNvPr>
                <p:cNvSpPr/>
                <p:nvPr/>
              </p:nvSpPr>
              <p:spPr>
                <a:xfrm>
                  <a:off x="-11097806" y="3649675"/>
                  <a:ext cx="937227" cy="1910568"/>
                </a:xfrm>
                <a:custGeom>
                  <a:avLst/>
                  <a:gdLst>
                    <a:gd name="connsiteX0" fmla="*/ 622208 w 937227"/>
                    <a:gd name="connsiteY0" fmla="*/ 0 h 1910568"/>
                    <a:gd name="connsiteX1" fmla="*/ 170791 w 937227"/>
                    <a:gd name="connsiteY1" fmla="*/ 13188 h 1910568"/>
                    <a:gd name="connsiteX2" fmla="*/ 155861 w 937227"/>
                    <a:gd name="connsiteY2" fmla="*/ 47479 h 1910568"/>
                    <a:gd name="connsiteX3" fmla="*/ 1290 w 937227"/>
                    <a:gd name="connsiteY3" fmla="*/ 519625 h 1910568"/>
                    <a:gd name="connsiteX4" fmla="*/ 127757 w 937227"/>
                    <a:gd name="connsiteY4" fmla="*/ 1898259 h 1910568"/>
                    <a:gd name="connsiteX5" fmla="*/ 330631 w 937227"/>
                    <a:gd name="connsiteY5" fmla="*/ 1895621 h 1910568"/>
                    <a:gd name="connsiteX6" fmla="*/ 421968 w 937227"/>
                    <a:gd name="connsiteY6" fmla="*/ 436098 h 1910568"/>
                    <a:gd name="connsiteX7" fmla="*/ 584443 w 937227"/>
                    <a:gd name="connsiteY7" fmla="*/ 1128053 h 1910568"/>
                    <a:gd name="connsiteX8" fmla="*/ 729353 w 937227"/>
                    <a:gd name="connsiteY8" fmla="*/ 1910568 h 1910568"/>
                    <a:gd name="connsiteX9" fmla="*/ 931349 w 937227"/>
                    <a:gd name="connsiteY9" fmla="*/ 1882433 h 1910568"/>
                    <a:gd name="connsiteX10" fmla="*/ 622208 w 937227"/>
                    <a:gd name="connsiteY10" fmla="*/ 0 h 1910568"/>
                    <a:gd name="connsiteX11" fmla="*/ 622208 w 937227"/>
                    <a:gd name="connsiteY11" fmla="*/ 0 h 1910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37227" h="1910568">
                      <a:moveTo>
                        <a:pt x="622208" y="0"/>
                      </a:moveTo>
                      <a:lnTo>
                        <a:pt x="170791" y="13188"/>
                      </a:lnTo>
                      <a:lnTo>
                        <a:pt x="155861" y="47479"/>
                      </a:lnTo>
                      <a:cubicBezTo>
                        <a:pt x="104923" y="121334"/>
                        <a:pt x="-13640" y="315644"/>
                        <a:pt x="1290" y="519625"/>
                      </a:cubicBezTo>
                      <a:cubicBezTo>
                        <a:pt x="30272" y="918796"/>
                        <a:pt x="127757" y="1898259"/>
                        <a:pt x="127757" y="1898259"/>
                      </a:cubicBezTo>
                      <a:lnTo>
                        <a:pt x="330631" y="1895621"/>
                      </a:lnTo>
                      <a:lnTo>
                        <a:pt x="421968" y="436098"/>
                      </a:lnTo>
                      <a:lnTo>
                        <a:pt x="584443" y="1128053"/>
                      </a:lnTo>
                      <a:cubicBezTo>
                        <a:pt x="594982" y="1442817"/>
                        <a:pt x="729353" y="1910568"/>
                        <a:pt x="729353" y="1910568"/>
                      </a:cubicBezTo>
                      <a:lnTo>
                        <a:pt x="931349" y="1882433"/>
                      </a:lnTo>
                      <a:cubicBezTo>
                        <a:pt x="987556" y="506437"/>
                        <a:pt x="622208" y="0"/>
                        <a:pt x="622208" y="0"/>
                      </a:cubicBezTo>
                      <a:lnTo>
                        <a:pt x="622208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C2D5D3E6-B1AD-8216-CB1E-43E5329D0F9A}"/>
                    </a:ext>
                  </a:extLst>
                </p:cNvPr>
                <p:cNvSpPr/>
                <p:nvPr/>
              </p:nvSpPr>
              <p:spPr>
                <a:xfrm>
                  <a:off x="-10164051" y="2785601"/>
                  <a:ext cx="173697" cy="310719"/>
                </a:xfrm>
                <a:custGeom>
                  <a:avLst/>
                  <a:gdLst>
                    <a:gd name="connsiteX0" fmla="*/ 170607 w 173697"/>
                    <a:gd name="connsiteY0" fmla="*/ 68370 h 310719"/>
                    <a:gd name="connsiteX1" fmla="*/ 155677 w 173697"/>
                    <a:gd name="connsiteY1" fmla="*/ 77162 h 310719"/>
                    <a:gd name="connsiteX2" fmla="*/ 137234 w 173697"/>
                    <a:gd name="connsiteY2" fmla="*/ 135192 h 310719"/>
                    <a:gd name="connsiteX3" fmla="*/ 139869 w 173697"/>
                    <a:gd name="connsiteY3" fmla="*/ 28805 h 310719"/>
                    <a:gd name="connsiteX4" fmla="*/ 124061 w 173697"/>
                    <a:gd name="connsiteY4" fmla="*/ 42873 h 310719"/>
                    <a:gd name="connsiteX5" fmla="*/ 115278 w 173697"/>
                    <a:gd name="connsiteY5" fmla="*/ 100902 h 310719"/>
                    <a:gd name="connsiteX6" fmla="*/ 110887 w 173697"/>
                    <a:gd name="connsiteY6" fmla="*/ 119366 h 310719"/>
                    <a:gd name="connsiteX7" fmla="*/ 101226 w 173697"/>
                    <a:gd name="connsiteY7" fmla="*/ 2428 h 310719"/>
                    <a:gd name="connsiteX8" fmla="*/ 84540 w 173697"/>
                    <a:gd name="connsiteY8" fmla="*/ 34080 h 310719"/>
                    <a:gd name="connsiteX9" fmla="*/ 84540 w 173697"/>
                    <a:gd name="connsiteY9" fmla="*/ 100902 h 310719"/>
                    <a:gd name="connsiteX10" fmla="*/ 81905 w 173697"/>
                    <a:gd name="connsiteY10" fmla="*/ 105298 h 310719"/>
                    <a:gd name="connsiteX11" fmla="*/ 65218 w 173697"/>
                    <a:gd name="connsiteY11" fmla="*/ 25288 h 310719"/>
                    <a:gd name="connsiteX12" fmla="*/ 49410 w 173697"/>
                    <a:gd name="connsiteY12" fmla="*/ 25288 h 310719"/>
                    <a:gd name="connsiteX13" fmla="*/ 47654 w 173697"/>
                    <a:gd name="connsiteY13" fmla="*/ 133433 h 310719"/>
                    <a:gd name="connsiteX14" fmla="*/ 37993 w 173697"/>
                    <a:gd name="connsiteY14" fmla="*/ 156293 h 310719"/>
                    <a:gd name="connsiteX15" fmla="*/ 29210 w 173697"/>
                    <a:gd name="connsiteY15" fmla="*/ 119366 h 310719"/>
                    <a:gd name="connsiteX16" fmla="*/ 3741 w 173697"/>
                    <a:gd name="connsiteY16" fmla="*/ 84196 h 310719"/>
                    <a:gd name="connsiteX17" fmla="*/ 228 w 173697"/>
                    <a:gd name="connsiteY17" fmla="*/ 88592 h 310719"/>
                    <a:gd name="connsiteX18" fmla="*/ 1985 w 173697"/>
                    <a:gd name="connsiteY18" fmla="*/ 151897 h 310719"/>
                    <a:gd name="connsiteX19" fmla="*/ 1985 w 173697"/>
                    <a:gd name="connsiteY19" fmla="*/ 151897 h 310719"/>
                    <a:gd name="connsiteX20" fmla="*/ 7254 w 173697"/>
                    <a:gd name="connsiteY20" fmla="*/ 185308 h 310719"/>
                    <a:gd name="connsiteX21" fmla="*/ 35358 w 173697"/>
                    <a:gd name="connsiteY21" fmla="*/ 294332 h 310719"/>
                    <a:gd name="connsiteX22" fmla="*/ 37993 w 173697"/>
                    <a:gd name="connsiteY22" fmla="*/ 296970 h 310719"/>
                    <a:gd name="connsiteX23" fmla="*/ 108252 w 173697"/>
                    <a:gd name="connsiteY23" fmla="*/ 310159 h 310719"/>
                    <a:gd name="connsiteX24" fmla="*/ 132843 w 173697"/>
                    <a:gd name="connsiteY24" fmla="*/ 251250 h 310719"/>
                    <a:gd name="connsiteX25" fmla="*/ 155677 w 173697"/>
                    <a:gd name="connsiteY25" fmla="*/ 182670 h 310719"/>
                    <a:gd name="connsiteX26" fmla="*/ 161825 w 173697"/>
                    <a:gd name="connsiteY26" fmla="*/ 159810 h 310719"/>
                    <a:gd name="connsiteX27" fmla="*/ 169729 w 173697"/>
                    <a:gd name="connsiteY27" fmla="*/ 70129 h 310719"/>
                    <a:gd name="connsiteX28" fmla="*/ 169729 w 173697"/>
                    <a:gd name="connsiteY28" fmla="*/ 70129 h 310719"/>
                    <a:gd name="connsiteX29" fmla="*/ 169729 w 173697"/>
                    <a:gd name="connsiteY29" fmla="*/ 68370 h 310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3697" h="310719">
                      <a:moveTo>
                        <a:pt x="170607" y="68370"/>
                      </a:moveTo>
                      <a:cubicBezTo>
                        <a:pt x="158312" y="56940"/>
                        <a:pt x="155677" y="77162"/>
                        <a:pt x="155677" y="77162"/>
                      </a:cubicBezTo>
                      <a:cubicBezTo>
                        <a:pt x="155677" y="77162"/>
                        <a:pt x="145138" y="125520"/>
                        <a:pt x="137234" y="135192"/>
                      </a:cubicBezTo>
                      <a:cubicBezTo>
                        <a:pt x="138112" y="129037"/>
                        <a:pt x="155677" y="56061"/>
                        <a:pt x="139869" y="28805"/>
                      </a:cubicBezTo>
                      <a:cubicBezTo>
                        <a:pt x="139869" y="28805"/>
                        <a:pt x="124061" y="13858"/>
                        <a:pt x="124061" y="42873"/>
                      </a:cubicBezTo>
                      <a:cubicBezTo>
                        <a:pt x="124061" y="71887"/>
                        <a:pt x="115278" y="100902"/>
                        <a:pt x="115278" y="100902"/>
                      </a:cubicBezTo>
                      <a:lnTo>
                        <a:pt x="110887" y="119366"/>
                      </a:lnTo>
                      <a:cubicBezTo>
                        <a:pt x="110887" y="119366"/>
                        <a:pt x="118791" y="15616"/>
                        <a:pt x="101226" y="2428"/>
                      </a:cubicBezTo>
                      <a:cubicBezTo>
                        <a:pt x="83662" y="-10761"/>
                        <a:pt x="84540" y="34080"/>
                        <a:pt x="84540" y="34080"/>
                      </a:cubicBezTo>
                      <a:cubicBezTo>
                        <a:pt x="84540" y="34080"/>
                        <a:pt x="87174" y="86834"/>
                        <a:pt x="84540" y="100902"/>
                      </a:cubicBezTo>
                      <a:lnTo>
                        <a:pt x="81905" y="105298"/>
                      </a:lnTo>
                      <a:cubicBezTo>
                        <a:pt x="81905" y="105298"/>
                        <a:pt x="76635" y="40235"/>
                        <a:pt x="65218" y="25288"/>
                      </a:cubicBezTo>
                      <a:cubicBezTo>
                        <a:pt x="54679" y="10341"/>
                        <a:pt x="49410" y="13858"/>
                        <a:pt x="49410" y="25288"/>
                      </a:cubicBezTo>
                      <a:cubicBezTo>
                        <a:pt x="49410" y="36718"/>
                        <a:pt x="52923" y="120245"/>
                        <a:pt x="47654" y="133433"/>
                      </a:cubicBezTo>
                      <a:cubicBezTo>
                        <a:pt x="46775" y="136071"/>
                        <a:pt x="42384" y="148380"/>
                        <a:pt x="37993" y="156293"/>
                      </a:cubicBezTo>
                      <a:cubicBezTo>
                        <a:pt x="33602" y="144863"/>
                        <a:pt x="30089" y="128158"/>
                        <a:pt x="29210" y="119366"/>
                      </a:cubicBezTo>
                      <a:cubicBezTo>
                        <a:pt x="29210" y="92109"/>
                        <a:pt x="12524" y="85955"/>
                        <a:pt x="3741" y="84196"/>
                      </a:cubicBezTo>
                      <a:cubicBezTo>
                        <a:pt x="1107" y="84196"/>
                        <a:pt x="-650" y="85955"/>
                        <a:pt x="228" y="88592"/>
                      </a:cubicBezTo>
                      <a:cubicBezTo>
                        <a:pt x="6376" y="107056"/>
                        <a:pt x="3741" y="129916"/>
                        <a:pt x="1985" y="151897"/>
                      </a:cubicBezTo>
                      <a:lnTo>
                        <a:pt x="1985" y="151897"/>
                      </a:lnTo>
                      <a:cubicBezTo>
                        <a:pt x="1985" y="153656"/>
                        <a:pt x="1985" y="171240"/>
                        <a:pt x="7254" y="185308"/>
                      </a:cubicBezTo>
                      <a:cubicBezTo>
                        <a:pt x="11646" y="198496"/>
                        <a:pt x="32723" y="281144"/>
                        <a:pt x="35358" y="294332"/>
                      </a:cubicBezTo>
                      <a:cubicBezTo>
                        <a:pt x="35358" y="295212"/>
                        <a:pt x="36236" y="296091"/>
                        <a:pt x="37993" y="296970"/>
                      </a:cubicBezTo>
                      <a:cubicBezTo>
                        <a:pt x="48532" y="299608"/>
                        <a:pt x="102983" y="313676"/>
                        <a:pt x="108252" y="310159"/>
                      </a:cubicBezTo>
                      <a:cubicBezTo>
                        <a:pt x="117913" y="304004"/>
                        <a:pt x="122304" y="275869"/>
                        <a:pt x="132843" y="251250"/>
                      </a:cubicBezTo>
                      <a:cubicBezTo>
                        <a:pt x="150408" y="205530"/>
                        <a:pt x="154799" y="183549"/>
                        <a:pt x="155677" y="182670"/>
                      </a:cubicBezTo>
                      <a:lnTo>
                        <a:pt x="161825" y="159810"/>
                      </a:lnTo>
                      <a:cubicBezTo>
                        <a:pt x="161825" y="157173"/>
                        <a:pt x="182025" y="81559"/>
                        <a:pt x="169729" y="70129"/>
                      </a:cubicBezTo>
                      <a:lnTo>
                        <a:pt x="169729" y="70129"/>
                      </a:lnTo>
                      <a:lnTo>
                        <a:pt x="169729" y="68370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6764" cap="flat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A62BADC6-8C41-ADB2-BB3B-1ACBFCAB9253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solidFill>
                  <a:srgbClr val="F9C174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DD56409E-3291-F9B7-1F47-10A57517FF4E}"/>
                    </a:ext>
                  </a:extLst>
                </p:cNvPr>
                <p:cNvSpPr/>
                <p:nvPr/>
              </p:nvSpPr>
              <p:spPr>
                <a:xfrm>
                  <a:off x="-10935798" y="3596042"/>
                  <a:ext cx="474250" cy="88802"/>
                </a:xfrm>
                <a:custGeom>
                  <a:avLst/>
                  <a:gdLst>
                    <a:gd name="connsiteX0" fmla="*/ 474251 w 474250"/>
                    <a:gd name="connsiteY0" fmla="*/ 72976 h 88802"/>
                    <a:gd name="connsiteX1" fmla="*/ 0 w 474250"/>
                    <a:gd name="connsiteY1" fmla="*/ 88802 h 88802"/>
                    <a:gd name="connsiteX2" fmla="*/ 12295 w 474250"/>
                    <a:gd name="connsiteY2" fmla="*/ 7913 h 88802"/>
                    <a:gd name="connsiteX3" fmla="*/ 462834 w 474250"/>
                    <a:gd name="connsiteY3" fmla="*/ 0 h 88802"/>
                    <a:gd name="connsiteX4" fmla="*/ 474251 w 474250"/>
                    <a:gd name="connsiteY4" fmla="*/ 72976 h 88802"/>
                    <a:gd name="connsiteX5" fmla="*/ 474251 w 474250"/>
                    <a:gd name="connsiteY5" fmla="*/ 72976 h 8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50" h="88802">
                      <a:moveTo>
                        <a:pt x="474251" y="72976"/>
                      </a:moveTo>
                      <a:lnTo>
                        <a:pt x="0" y="88802"/>
                      </a:lnTo>
                      <a:lnTo>
                        <a:pt x="12295" y="7913"/>
                      </a:lnTo>
                      <a:lnTo>
                        <a:pt x="462834" y="0"/>
                      </a:lnTo>
                      <a:lnTo>
                        <a:pt x="474251" y="72976"/>
                      </a:lnTo>
                      <a:lnTo>
                        <a:pt x="474251" y="72976"/>
                      </a:lnTo>
                      <a:close/>
                    </a:path>
                  </a:pathLst>
                </a:custGeom>
                <a:noFill/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00B90E16-26E6-B511-E158-11AD805B1B93}"/>
                    </a:ext>
                  </a:extLst>
                </p:cNvPr>
                <p:cNvSpPr/>
                <p:nvPr/>
              </p:nvSpPr>
              <p:spPr>
                <a:xfrm>
                  <a:off x="-11320983" y="2913759"/>
                  <a:ext cx="1280114" cy="783067"/>
                </a:xfrm>
                <a:custGeom>
                  <a:avLst/>
                  <a:gdLst>
                    <a:gd name="connsiteX0" fmla="*/ 376403 w 1280114"/>
                    <a:gd name="connsiteY0" fmla="*/ 725365 h 783067"/>
                    <a:gd name="connsiteX1" fmla="*/ 861193 w 1280114"/>
                    <a:gd name="connsiteY1" fmla="*/ 701626 h 783067"/>
                    <a:gd name="connsiteX2" fmla="*/ 848897 w 1280114"/>
                    <a:gd name="connsiteY2" fmla="*/ 524022 h 783067"/>
                    <a:gd name="connsiteX3" fmla="*/ 956921 w 1280114"/>
                    <a:gd name="connsiteY3" fmla="*/ 707781 h 783067"/>
                    <a:gd name="connsiteX4" fmla="*/ 1126422 w 1280114"/>
                    <a:gd name="connsiteY4" fmla="*/ 610186 h 783067"/>
                    <a:gd name="connsiteX5" fmla="*/ 1280115 w 1280114"/>
                    <a:gd name="connsiteY5" fmla="*/ 168812 h 783067"/>
                    <a:gd name="connsiteX6" fmla="*/ 1184386 w 1280114"/>
                    <a:gd name="connsiteY6" fmla="*/ 145952 h 783067"/>
                    <a:gd name="connsiteX7" fmla="*/ 1184386 w 1280114"/>
                    <a:gd name="connsiteY7" fmla="*/ 145952 h 783067"/>
                    <a:gd name="connsiteX8" fmla="*/ 1021033 w 1280114"/>
                    <a:gd name="connsiteY8" fmla="*/ 406205 h 783067"/>
                    <a:gd name="connsiteX9" fmla="*/ 989416 w 1280114"/>
                    <a:gd name="connsiteY9" fmla="*/ 291905 h 783067"/>
                    <a:gd name="connsiteX10" fmla="*/ 933209 w 1280114"/>
                    <a:gd name="connsiteY10" fmla="*/ 124851 h 783067"/>
                    <a:gd name="connsiteX11" fmla="*/ 858558 w 1280114"/>
                    <a:gd name="connsiteY11" fmla="*/ 50995 h 783067"/>
                    <a:gd name="connsiteX12" fmla="*/ 807620 w 1280114"/>
                    <a:gd name="connsiteY12" fmla="*/ 30773 h 783067"/>
                    <a:gd name="connsiteX13" fmla="*/ 670614 w 1280114"/>
                    <a:gd name="connsiteY13" fmla="*/ 0 h 783067"/>
                    <a:gd name="connsiteX14" fmla="*/ 457201 w 1280114"/>
                    <a:gd name="connsiteY14" fmla="*/ 0 h 783067"/>
                    <a:gd name="connsiteX15" fmla="*/ 307900 w 1280114"/>
                    <a:gd name="connsiteY15" fmla="*/ 54512 h 783067"/>
                    <a:gd name="connsiteX16" fmla="*/ 204267 w 1280114"/>
                    <a:gd name="connsiteY16" fmla="*/ 139798 h 783067"/>
                    <a:gd name="connsiteX17" fmla="*/ 1393 w 1280114"/>
                    <a:gd name="connsiteY17" fmla="*/ 654148 h 783067"/>
                    <a:gd name="connsiteX18" fmla="*/ 572251 w 1280114"/>
                    <a:gd name="connsiteY18" fmla="*/ 640080 h 783067"/>
                    <a:gd name="connsiteX19" fmla="*/ 536243 w 1280114"/>
                    <a:gd name="connsiteY19" fmla="*/ 545123 h 783067"/>
                    <a:gd name="connsiteX20" fmla="*/ 244667 w 1280114"/>
                    <a:gd name="connsiteY20" fmla="*/ 589964 h 783067"/>
                    <a:gd name="connsiteX21" fmla="*/ 328978 w 1280114"/>
                    <a:gd name="connsiteY21" fmla="*/ 436098 h 783067"/>
                    <a:gd name="connsiteX22" fmla="*/ 339517 w 1280114"/>
                    <a:gd name="connsiteY22" fmla="*/ 552157 h 783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80114" h="783067">
                      <a:moveTo>
                        <a:pt x="376403" y="725365"/>
                      </a:moveTo>
                      <a:lnTo>
                        <a:pt x="861193" y="701626"/>
                      </a:lnTo>
                      <a:lnTo>
                        <a:pt x="848897" y="524022"/>
                      </a:lnTo>
                      <a:cubicBezTo>
                        <a:pt x="867341" y="559191"/>
                        <a:pt x="905105" y="648872"/>
                        <a:pt x="956921" y="707781"/>
                      </a:cubicBezTo>
                      <a:cubicBezTo>
                        <a:pt x="1024546" y="785153"/>
                        <a:pt x="1107101" y="643597"/>
                        <a:pt x="1126422" y="610186"/>
                      </a:cubicBezTo>
                      <a:cubicBezTo>
                        <a:pt x="1209855" y="465113"/>
                        <a:pt x="1280115" y="168812"/>
                        <a:pt x="1280115" y="168812"/>
                      </a:cubicBezTo>
                      <a:lnTo>
                        <a:pt x="1184386" y="145952"/>
                      </a:lnTo>
                      <a:lnTo>
                        <a:pt x="1184386" y="145952"/>
                      </a:lnTo>
                      <a:lnTo>
                        <a:pt x="1021033" y="406205"/>
                      </a:lnTo>
                      <a:cubicBezTo>
                        <a:pt x="1011372" y="368398"/>
                        <a:pt x="1000833" y="329712"/>
                        <a:pt x="989416" y="291905"/>
                      </a:cubicBezTo>
                      <a:cubicBezTo>
                        <a:pt x="972730" y="226842"/>
                        <a:pt x="953408" y="166175"/>
                        <a:pt x="933209" y="124851"/>
                      </a:cubicBezTo>
                      <a:cubicBezTo>
                        <a:pt x="913887" y="85285"/>
                        <a:pt x="885784" y="65063"/>
                        <a:pt x="858558" y="50995"/>
                      </a:cubicBezTo>
                      <a:cubicBezTo>
                        <a:pt x="831333" y="36928"/>
                        <a:pt x="824307" y="35169"/>
                        <a:pt x="807620" y="30773"/>
                      </a:cubicBezTo>
                      <a:lnTo>
                        <a:pt x="670614" y="0"/>
                      </a:lnTo>
                      <a:cubicBezTo>
                        <a:pt x="657441" y="70338"/>
                        <a:pt x="516922" y="53633"/>
                        <a:pt x="457201" y="0"/>
                      </a:cubicBezTo>
                      <a:lnTo>
                        <a:pt x="307900" y="54512"/>
                      </a:lnTo>
                      <a:cubicBezTo>
                        <a:pt x="275405" y="58908"/>
                        <a:pt x="237641" y="79131"/>
                        <a:pt x="204267" y="139798"/>
                      </a:cubicBezTo>
                      <a:cubicBezTo>
                        <a:pt x="47940" y="427306"/>
                        <a:pt x="-10024" y="596118"/>
                        <a:pt x="1393" y="654148"/>
                      </a:cubicBezTo>
                      <a:cubicBezTo>
                        <a:pt x="57601" y="952207"/>
                        <a:pt x="572251" y="640080"/>
                        <a:pt x="572251" y="640080"/>
                      </a:cubicBezTo>
                      <a:lnTo>
                        <a:pt x="536243" y="545123"/>
                      </a:lnTo>
                      <a:cubicBezTo>
                        <a:pt x="536243" y="545123"/>
                        <a:pt x="250814" y="601394"/>
                        <a:pt x="244667" y="589964"/>
                      </a:cubicBezTo>
                      <a:lnTo>
                        <a:pt x="328978" y="436098"/>
                      </a:lnTo>
                      <a:cubicBezTo>
                        <a:pt x="328978" y="441374"/>
                        <a:pt x="333369" y="493248"/>
                        <a:pt x="339517" y="552157"/>
                      </a:cubicBezTo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770AB1CA-0E16-19FC-5390-152B13ADEA85}"/>
                    </a:ext>
                  </a:extLst>
                </p:cNvPr>
                <p:cNvSpPr/>
                <p:nvPr/>
              </p:nvSpPr>
              <p:spPr>
                <a:xfrm>
                  <a:off x="-10720884" y="2450565"/>
                  <a:ext cx="89252" cy="179202"/>
                </a:xfrm>
                <a:custGeom>
                  <a:avLst/>
                  <a:gdLst>
                    <a:gd name="connsiteX0" fmla="*/ 18698 w 89252"/>
                    <a:gd name="connsiteY0" fmla="*/ 178323 h 179202"/>
                    <a:gd name="connsiteX1" fmla="*/ 88080 w 89252"/>
                    <a:gd name="connsiteY1" fmla="*/ 20941 h 179202"/>
                    <a:gd name="connsiteX2" fmla="*/ 27481 w 89252"/>
                    <a:gd name="connsiteY2" fmla="*/ 719 h 179202"/>
                    <a:gd name="connsiteX3" fmla="*/ 18698 w 89252"/>
                    <a:gd name="connsiteY3" fmla="*/ 179202 h 179202"/>
                    <a:gd name="connsiteX4" fmla="*/ 18698 w 89252"/>
                    <a:gd name="connsiteY4" fmla="*/ 179202 h 17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252" h="179202">
                      <a:moveTo>
                        <a:pt x="18698" y="178323"/>
                      </a:moveTo>
                      <a:cubicBezTo>
                        <a:pt x="23968" y="120294"/>
                        <a:pt x="99497" y="83366"/>
                        <a:pt x="88080" y="20941"/>
                      </a:cubicBezTo>
                      <a:cubicBezTo>
                        <a:pt x="88080" y="20941"/>
                        <a:pt x="83688" y="-4557"/>
                        <a:pt x="27481" y="719"/>
                      </a:cubicBezTo>
                      <a:cubicBezTo>
                        <a:pt x="-28727" y="5994"/>
                        <a:pt x="18698" y="179202"/>
                        <a:pt x="18698" y="179202"/>
                      </a:cubicBezTo>
                      <a:lnTo>
                        <a:pt x="18698" y="179202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16FF1B71-56F3-775B-EF08-B644C1C7C482}"/>
                    </a:ext>
                  </a:extLst>
                </p:cNvPr>
                <p:cNvSpPr/>
                <p:nvPr/>
              </p:nvSpPr>
              <p:spPr>
                <a:xfrm>
                  <a:off x="-11045578" y="2762531"/>
                  <a:ext cx="272255" cy="216290"/>
                </a:xfrm>
                <a:custGeom>
                  <a:avLst/>
                  <a:gdLst>
                    <a:gd name="connsiteX0" fmla="*/ 272255 w 272255"/>
                    <a:gd name="connsiteY0" fmla="*/ 879 h 216290"/>
                    <a:gd name="connsiteX1" fmla="*/ 259960 w 272255"/>
                    <a:gd name="connsiteY1" fmla="*/ 216291 h 216290"/>
                    <a:gd name="connsiteX2" fmla="*/ 0 w 272255"/>
                    <a:gd name="connsiteY2" fmla="*/ 216291 h 216290"/>
                    <a:gd name="connsiteX3" fmla="*/ 62355 w 272255"/>
                    <a:gd name="connsiteY3" fmla="*/ 0 h 216290"/>
                    <a:gd name="connsiteX4" fmla="*/ 272255 w 272255"/>
                    <a:gd name="connsiteY4" fmla="*/ 0 h 216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2255" h="216290">
                      <a:moveTo>
                        <a:pt x="272255" y="879"/>
                      </a:moveTo>
                      <a:cubicBezTo>
                        <a:pt x="272255" y="879"/>
                        <a:pt x="221317" y="162658"/>
                        <a:pt x="259960" y="216291"/>
                      </a:cubicBezTo>
                      <a:lnTo>
                        <a:pt x="0" y="216291"/>
                      </a:lnTo>
                      <a:lnTo>
                        <a:pt x="62355" y="0"/>
                      </a:lnTo>
                      <a:lnTo>
                        <a:pt x="272255" y="0"/>
                      </a:lnTo>
                      <a:close/>
                    </a:path>
                  </a:pathLst>
                </a:custGeom>
                <a:solidFill>
                  <a:srgbClr val="291B0E"/>
                </a:solidFill>
                <a:ln w="45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3C825090-6A1C-9378-EDC1-1F9FB518C703}"/>
                  </a:ext>
                </a:extLst>
              </p:cNvPr>
              <p:cNvSpPr/>
              <p:nvPr/>
            </p:nvSpPr>
            <p:spPr>
              <a:xfrm>
                <a:off x="-10873775" y="3549442"/>
                <a:ext cx="180674" cy="261131"/>
              </a:xfrm>
              <a:custGeom>
                <a:avLst/>
                <a:gdLst>
                  <a:gd name="connsiteX0" fmla="*/ 180372 w 180674"/>
                  <a:gd name="connsiteY0" fmla="*/ 220687 h 261131"/>
                  <a:gd name="connsiteX1" fmla="*/ 149633 w 180674"/>
                  <a:gd name="connsiteY1" fmla="*/ 182001 h 261131"/>
                  <a:gd name="connsiteX2" fmla="*/ 93426 w 180674"/>
                  <a:gd name="connsiteY2" fmla="*/ 149469 h 261131"/>
                  <a:gd name="connsiteX3" fmla="*/ 122408 w 180674"/>
                  <a:gd name="connsiteY3" fmla="*/ 0 h 261131"/>
                  <a:gd name="connsiteX4" fmla="*/ 37218 w 180674"/>
                  <a:gd name="connsiteY4" fmla="*/ 0 h 261131"/>
                  <a:gd name="connsiteX5" fmla="*/ 18775 w 180674"/>
                  <a:gd name="connsiteY5" fmla="*/ 135401 h 261131"/>
                  <a:gd name="connsiteX6" fmla="*/ 3845 w 180674"/>
                  <a:gd name="connsiteY6" fmla="*/ 186397 h 261131"/>
                  <a:gd name="connsiteX7" fmla="*/ 86400 w 180674"/>
                  <a:gd name="connsiteY7" fmla="*/ 232117 h 261131"/>
                  <a:gd name="connsiteX8" fmla="*/ 136460 w 180674"/>
                  <a:gd name="connsiteY8" fmla="*/ 249701 h 261131"/>
                  <a:gd name="connsiteX9" fmla="*/ 166320 w 180674"/>
                  <a:gd name="connsiteY9" fmla="*/ 261131 h 261131"/>
                  <a:gd name="connsiteX10" fmla="*/ 179494 w 180674"/>
                  <a:gd name="connsiteY10" fmla="*/ 220687 h 261131"/>
                  <a:gd name="connsiteX11" fmla="*/ 180372 w 180674"/>
                  <a:gd name="connsiteY11" fmla="*/ 220687 h 26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0674" h="261131">
                    <a:moveTo>
                      <a:pt x="180372" y="220687"/>
                    </a:moveTo>
                    <a:cubicBezTo>
                      <a:pt x="183007" y="188155"/>
                      <a:pt x="168076" y="188155"/>
                      <a:pt x="149633" y="182001"/>
                    </a:cubicBezTo>
                    <a:cubicBezTo>
                      <a:pt x="123286" y="172329"/>
                      <a:pt x="93426" y="149469"/>
                      <a:pt x="93426" y="149469"/>
                    </a:cubicBezTo>
                    <a:lnTo>
                      <a:pt x="122408" y="0"/>
                    </a:lnTo>
                    <a:lnTo>
                      <a:pt x="37218" y="0"/>
                    </a:lnTo>
                    <a:lnTo>
                      <a:pt x="18775" y="135401"/>
                    </a:lnTo>
                    <a:cubicBezTo>
                      <a:pt x="18775" y="135401"/>
                      <a:pt x="-10207" y="163537"/>
                      <a:pt x="3845" y="186397"/>
                    </a:cubicBezTo>
                    <a:cubicBezTo>
                      <a:pt x="17019" y="209257"/>
                      <a:pt x="53905" y="201344"/>
                      <a:pt x="86400" y="232117"/>
                    </a:cubicBezTo>
                    <a:cubicBezTo>
                      <a:pt x="103087" y="247943"/>
                      <a:pt x="112747" y="246185"/>
                      <a:pt x="136460" y="249701"/>
                    </a:cubicBezTo>
                    <a:cubicBezTo>
                      <a:pt x="143486" y="250581"/>
                      <a:pt x="146999" y="261131"/>
                      <a:pt x="166320" y="261131"/>
                    </a:cubicBezTo>
                    <a:cubicBezTo>
                      <a:pt x="185641" y="261131"/>
                      <a:pt x="178616" y="235634"/>
                      <a:pt x="179494" y="220687"/>
                    </a:cubicBezTo>
                    <a:lnTo>
                      <a:pt x="180372" y="220687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519930F5-274C-60A9-1CB0-1C576481371F}"/>
                  </a:ext>
                </a:extLst>
              </p:cNvPr>
              <p:cNvSpPr/>
              <p:nvPr/>
            </p:nvSpPr>
            <p:spPr>
              <a:xfrm>
                <a:off x="-11018818" y="3375937"/>
                <a:ext cx="366021" cy="167529"/>
              </a:xfrm>
              <a:custGeom>
                <a:avLst/>
                <a:gdLst>
                  <a:gd name="connsiteX0" fmla="*/ 3979 w 366021"/>
                  <a:gd name="connsiteY0" fmla="*/ 97012 h 167529"/>
                  <a:gd name="connsiteX1" fmla="*/ 206853 w 366021"/>
                  <a:gd name="connsiteY1" fmla="*/ 125148 h 167529"/>
                  <a:gd name="connsiteX2" fmla="*/ 364058 w 366021"/>
                  <a:gd name="connsiteY2" fmla="*/ 154162 h 167529"/>
                  <a:gd name="connsiteX3" fmla="*/ 311364 w 366021"/>
                  <a:gd name="connsiteY3" fmla="*/ 52171 h 167529"/>
                  <a:gd name="connsiteX4" fmla="*/ 154158 w 366021"/>
                  <a:gd name="connsiteY4" fmla="*/ 297 h 167529"/>
                  <a:gd name="connsiteX5" fmla="*/ 3101 w 366021"/>
                  <a:gd name="connsiteY5" fmla="*/ 96133 h 167529"/>
                  <a:gd name="connsiteX6" fmla="*/ 3101 w 366021"/>
                  <a:gd name="connsiteY6" fmla="*/ 96133 h 16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021" h="167529">
                    <a:moveTo>
                      <a:pt x="3979" y="97012"/>
                    </a:moveTo>
                    <a:cubicBezTo>
                      <a:pt x="21544" y="145370"/>
                      <a:pt x="206853" y="125148"/>
                      <a:pt x="206853" y="125148"/>
                    </a:cubicBezTo>
                    <a:cubicBezTo>
                      <a:pt x="206853" y="125148"/>
                      <a:pt x="357910" y="196365"/>
                      <a:pt x="364058" y="154162"/>
                    </a:cubicBezTo>
                    <a:cubicBezTo>
                      <a:pt x="371084" y="111959"/>
                      <a:pt x="360545" y="62722"/>
                      <a:pt x="311364" y="52171"/>
                    </a:cubicBezTo>
                    <a:cubicBezTo>
                      <a:pt x="262182" y="41621"/>
                      <a:pt x="211244" y="-4099"/>
                      <a:pt x="154158" y="297"/>
                    </a:cubicBezTo>
                    <a:cubicBezTo>
                      <a:pt x="43500" y="11727"/>
                      <a:pt x="-14464" y="47775"/>
                      <a:pt x="3101" y="96133"/>
                    </a:cubicBezTo>
                    <a:lnTo>
                      <a:pt x="3101" y="96133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2EE8900E-CA8A-3872-9F65-43DDF02DA90F}"/>
                  </a:ext>
                </a:extLst>
              </p:cNvPr>
              <p:cNvSpPr/>
              <p:nvPr/>
            </p:nvSpPr>
            <p:spPr>
              <a:xfrm>
                <a:off x="-11008880" y="3582853"/>
                <a:ext cx="212722" cy="304647"/>
              </a:xfrm>
              <a:custGeom>
                <a:avLst/>
                <a:gdLst>
                  <a:gd name="connsiteX0" fmla="*/ 147733 w 212722"/>
                  <a:gd name="connsiteY0" fmla="*/ 229479 h 304647"/>
                  <a:gd name="connsiteX1" fmla="*/ 105577 w 212722"/>
                  <a:gd name="connsiteY1" fmla="*/ 181121 h 304647"/>
                  <a:gd name="connsiteX2" fmla="*/ 212723 w 212722"/>
                  <a:gd name="connsiteY2" fmla="*/ 0 h 304647"/>
                  <a:gd name="connsiteX3" fmla="*/ 89769 w 212722"/>
                  <a:gd name="connsiteY3" fmla="*/ 3517 h 304647"/>
                  <a:gd name="connsiteX4" fmla="*/ 31805 w 212722"/>
                  <a:gd name="connsiteY4" fmla="*/ 146831 h 304647"/>
                  <a:gd name="connsiteX5" fmla="*/ 1066 w 212722"/>
                  <a:gd name="connsiteY5" fmla="*/ 197827 h 304647"/>
                  <a:gd name="connsiteX6" fmla="*/ 48491 w 212722"/>
                  <a:gd name="connsiteY6" fmla="*/ 252339 h 304647"/>
                  <a:gd name="connsiteX7" fmla="*/ 90647 w 212722"/>
                  <a:gd name="connsiteY7" fmla="*/ 293663 h 304647"/>
                  <a:gd name="connsiteX8" fmla="*/ 113481 w 212722"/>
                  <a:gd name="connsiteY8" fmla="*/ 290146 h 304647"/>
                  <a:gd name="connsiteX9" fmla="*/ 134559 w 212722"/>
                  <a:gd name="connsiteY9" fmla="*/ 290146 h 304647"/>
                  <a:gd name="connsiteX10" fmla="*/ 156515 w 212722"/>
                  <a:gd name="connsiteY10" fmla="*/ 286629 h 304647"/>
                  <a:gd name="connsiteX11" fmla="*/ 169689 w 212722"/>
                  <a:gd name="connsiteY11" fmla="*/ 275199 h 304647"/>
                  <a:gd name="connsiteX12" fmla="*/ 146854 w 212722"/>
                  <a:gd name="connsiteY12" fmla="*/ 227721 h 304647"/>
                  <a:gd name="connsiteX13" fmla="*/ 146854 w 212722"/>
                  <a:gd name="connsiteY13" fmla="*/ 229479 h 30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2722" h="304647">
                    <a:moveTo>
                      <a:pt x="147733" y="229479"/>
                    </a:moveTo>
                    <a:cubicBezTo>
                      <a:pt x="124898" y="213653"/>
                      <a:pt x="105577" y="181121"/>
                      <a:pt x="105577" y="181121"/>
                    </a:cubicBezTo>
                    <a:cubicBezTo>
                      <a:pt x="120507" y="123971"/>
                      <a:pt x="212723" y="0"/>
                      <a:pt x="212723" y="0"/>
                    </a:cubicBezTo>
                    <a:lnTo>
                      <a:pt x="89769" y="3517"/>
                    </a:lnTo>
                    <a:lnTo>
                      <a:pt x="31805" y="146831"/>
                    </a:lnTo>
                    <a:cubicBezTo>
                      <a:pt x="31805" y="146831"/>
                      <a:pt x="-6838" y="172329"/>
                      <a:pt x="1066" y="197827"/>
                    </a:cubicBezTo>
                    <a:cubicBezTo>
                      <a:pt x="8970" y="223325"/>
                      <a:pt x="22144" y="215412"/>
                      <a:pt x="48491" y="252339"/>
                    </a:cubicBezTo>
                    <a:cubicBezTo>
                      <a:pt x="62543" y="273441"/>
                      <a:pt x="67813" y="288388"/>
                      <a:pt x="90647" y="293663"/>
                    </a:cubicBezTo>
                    <a:cubicBezTo>
                      <a:pt x="100307" y="311248"/>
                      <a:pt x="117872" y="305972"/>
                      <a:pt x="113481" y="290146"/>
                    </a:cubicBezTo>
                    <a:cubicBezTo>
                      <a:pt x="116994" y="303335"/>
                      <a:pt x="139828" y="305972"/>
                      <a:pt x="134559" y="290146"/>
                    </a:cubicBezTo>
                    <a:cubicBezTo>
                      <a:pt x="138072" y="302455"/>
                      <a:pt x="158271" y="294542"/>
                      <a:pt x="156515" y="286629"/>
                    </a:cubicBezTo>
                    <a:cubicBezTo>
                      <a:pt x="161784" y="294542"/>
                      <a:pt x="181106" y="286629"/>
                      <a:pt x="169689" y="275199"/>
                    </a:cubicBezTo>
                    <a:cubicBezTo>
                      <a:pt x="197792" y="262011"/>
                      <a:pt x="179349" y="248822"/>
                      <a:pt x="146854" y="227721"/>
                    </a:cubicBezTo>
                    <a:lnTo>
                      <a:pt x="146854" y="22947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187C5C15-EC15-B73A-2318-16E3C3A2E9CC}"/>
                  </a:ext>
                </a:extLst>
              </p:cNvPr>
              <p:cNvSpPr/>
              <p:nvPr/>
            </p:nvSpPr>
            <p:spPr>
              <a:xfrm>
                <a:off x="-10950752" y="2820159"/>
                <a:ext cx="273395" cy="309206"/>
              </a:xfrm>
              <a:custGeom>
                <a:avLst/>
                <a:gdLst>
                  <a:gd name="connsiteX0" fmla="*/ 158986 w 273395"/>
                  <a:gd name="connsiteY0" fmla="*/ 250103 h 309206"/>
                  <a:gd name="connsiteX1" fmla="*/ 218707 w 273395"/>
                  <a:gd name="connsiteY1" fmla="*/ 260653 h 309206"/>
                  <a:gd name="connsiteX2" fmla="*/ 241541 w 273395"/>
                  <a:gd name="connsiteY2" fmla="*/ 232518 h 309206"/>
                  <a:gd name="connsiteX3" fmla="*/ 249445 w 273395"/>
                  <a:gd name="connsiteY3" fmla="*/ 211417 h 309206"/>
                  <a:gd name="connsiteX4" fmla="*/ 239784 w 273395"/>
                  <a:gd name="connsiteY4" fmla="*/ 207900 h 309206"/>
                  <a:gd name="connsiteX5" fmla="*/ 258228 w 273395"/>
                  <a:gd name="connsiteY5" fmla="*/ 211417 h 309206"/>
                  <a:gd name="connsiteX6" fmla="*/ 256471 w 273395"/>
                  <a:gd name="connsiteY6" fmla="*/ 185919 h 309206"/>
                  <a:gd name="connsiteX7" fmla="*/ 267888 w 273395"/>
                  <a:gd name="connsiteY7" fmla="*/ 181523 h 309206"/>
                  <a:gd name="connsiteX8" fmla="*/ 270523 w 273395"/>
                  <a:gd name="connsiteY8" fmla="*/ 162180 h 309206"/>
                  <a:gd name="connsiteX9" fmla="*/ 255593 w 273395"/>
                  <a:gd name="connsiteY9" fmla="*/ 135803 h 309206"/>
                  <a:gd name="connsiteX10" fmla="*/ 263497 w 273395"/>
                  <a:gd name="connsiteY10" fmla="*/ 112064 h 309206"/>
                  <a:gd name="connsiteX11" fmla="*/ 91361 w 273395"/>
                  <a:gd name="connsiteY11" fmla="*/ 401 h 309206"/>
                  <a:gd name="connsiteX12" fmla="*/ 24 w 273395"/>
                  <a:gd name="connsiteY12" fmla="*/ 131407 h 309206"/>
                  <a:gd name="connsiteX13" fmla="*/ 38667 w 273395"/>
                  <a:gd name="connsiteY13" fmla="*/ 233397 h 309206"/>
                  <a:gd name="connsiteX14" fmla="*/ 7928 w 273395"/>
                  <a:gd name="connsiteY14" fmla="*/ 300219 h 309206"/>
                  <a:gd name="connsiteX15" fmla="*/ 154595 w 273395"/>
                  <a:gd name="connsiteY15" fmla="*/ 300219 h 309206"/>
                  <a:gd name="connsiteX16" fmla="*/ 158108 w 273395"/>
                  <a:gd name="connsiteY16" fmla="*/ 250982 h 30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3395" h="309206">
                    <a:moveTo>
                      <a:pt x="158986" y="250103"/>
                    </a:moveTo>
                    <a:cubicBezTo>
                      <a:pt x="195872" y="258895"/>
                      <a:pt x="205533" y="260653"/>
                      <a:pt x="218707" y="260653"/>
                    </a:cubicBezTo>
                    <a:cubicBezTo>
                      <a:pt x="231880" y="260653"/>
                      <a:pt x="236271" y="243948"/>
                      <a:pt x="241541" y="232518"/>
                    </a:cubicBezTo>
                    <a:cubicBezTo>
                      <a:pt x="254715" y="231639"/>
                      <a:pt x="258228" y="214934"/>
                      <a:pt x="249445" y="211417"/>
                    </a:cubicBezTo>
                    <a:cubicBezTo>
                      <a:pt x="240663" y="207900"/>
                      <a:pt x="244176" y="210537"/>
                      <a:pt x="239784" y="207900"/>
                    </a:cubicBezTo>
                    <a:cubicBezTo>
                      <a:pt x="248567" y="211417"/>
                      <a:pt x="252958" y="214054"/>
                      <a:pt x="258228" y="211417"/>
                    </a:cubicBezTo>
                    <a:cubicBezTo>
                      <a:pt x="263497" y="202624"/>
                      <a:pt x="256471" y="191194"/>
                      <a:pt x="256471" y="185919"/>
                    </a:cubicBezTo>
                    <a:cubicBezTo>
                      <a:pt x="256471" y="185919"/>
                      <a:pt x="260862" y="184160"/>
                      <a:pt x="267888" y="181523"/>
                    </a:cubicBezTo>
                    <a:cubicBezTo>
                      <a:pt x="273158" y="178885"/>
                      <a:pt x="275792" y="170093"/>
                      <a:pt x="270523" y="162180"/>
                    </a:cubicBezTo>
                    <a:cubicBezTo>
                      <a:pt x="265254" y="154267"/>
                      <a:pt x="258228" y="147233"/>
                      <a:pt x="255593" y="135803"/>
                    </a:cubicBezTo>
                    <a:cubicBezTo>
                      <a:pt x="259984" y="126131"/>
                      <a:pt x="263497" y="112064"/>
                      <a:pt x="263497" y="112064"/>
                    </a:cubicBezTo>
                    <a:cubicBezTo>
                      <a:pt x="292479" y="-12787"/>
                      <a:pt x="91361" y="401"/>
                      <a:pt x="91361" y="401"/>
                    </a:cubicBezTo>
                    <a:cubicBezTo>
                      <a:pt x="21980" y="10952"/>
                      <a:pt x="-854" y="80411"/>
                      <a:pt x="24" y="131407"/>
                    </a:cubicBezTo>
                    <a:cubicBezTo>
                      <a:pt x="903" y="182402"/>
                      <a:pt x="38667" y="233397"/>
                      <a:pt x="38667" y="233397"/>
                    </a:cubicBezTo>
                    <a:cubicBezTo>
                      <a:pt x="38667" y="233397"/>
                      <a:pt x="14954" y="279997"/>
                      <a:pt x="7928" y="300219"/>
                    </a:cubicBezTo>
                    <a:cubicBezTo>
                      <a:pt x="903" y="320441"/>
                      <a:pt x="154595" y="300219"/>
                      <a:pt x="154595" y="300219"/>
                    </a:cubicBezTo>
                    <a:lnTo>
                      <a:pt x="158108" y="250982"/>
                    </a:lnTo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E697AF1C-DBD2-E86B-4FD2-993A1C9F5EDD}"/>
                  </a:ext>
                </a:extLst>
              </p:cNvPr>
              <p:cNvSpPr/>
              <p:nvPr/>
            </p:nvSpPr>
            <p:spPr>
              <a:xfrm>
                <a:off x="-10796157" y="3405134"/>
                <a:ext cx="209436" cy="177361"/>
              </a:xfrm>
              <a:custGeom>
                <a:avLst/>
                <a:gdLst>
                  <a:gd name="connsiteX0" fmla="*/ 75529 w 209436"/>
                  <a:gd name="connsiteY0" fmla="*/ 33525 h 177361"/>
                  <a:gd name="connsiteX1" fmla="*/ 0 w 209436"/>
                  <a:gd name="connsiteY1" fmla="*/ 107380 h 177361"/>
                  <a:gd name="connsiteX2" fmla="*/ 11417 w 209436"/>
                  <a:gd name="connsiteY2" fmla="*/ 168047 h 177361"/>
                  <a:gd name="connsiteX3" fmla="*/ 155449 w 209436"/>
                  <a:gd name="connsiteY3" fmla="*/ 172444 h 177361"/>
                  <a:gd name="connsiteX4" fmla="*/ 196726 w 209436"/>
                  <a:gd name="connsiteY4" fmla="*/ 152221 h 177361"/>
                  <a:gd name="connsiteX5" fmla="*/ 196726 w 209436"/>
                  <a:gd name="connsiteY5" fmla="*/ 124965 h 177361"/>
                  <a:gd name="connsiteX6" fmla="*/ 167744 w 209436"/>
                  <a:gd name="connsiteY6" fmla="*/ 138154 h 177361"/>
                  <a:gd name="connsiteX7" fmla="*/ 196726 w 209436"/>
                  <a:gd name="connsiteY7" fmla="*/ 124965 h 177361"/>
                  <a:gd name="connsiteX8" fmla="*/ 202874 w 209436"/>
                  <a:gd name="connsiteY8" fmla="*/ 91554 h 177361"/>
                  <a:gd name="connsiteX9" fmla="*/ 165109 w 209436"/>
                  <a:gd name="connsiteY9" fmla="*/ 110018 h 177361"/>
                  <a:gd name="connsiteX10" fmla="*/ 202874 w 209436"/>
                  <a:gd name="connsiteY10" fmla="*/ 90675 h 177361"/>
                  <a:gd name="connsiteX11" fmla="*/ 194970 w 209436"/>
                  <a:gd name="connsiteY11" fmla="*/ 51110 h 177361"/>
                  <a:gd name="connsiteX12" fmla="*/ 160718 w 209436"/>
                  <a:gd name="connsiteY12" fmla="*/ 81883 h 177361"/>
                  <a:gd name="connsiteX13" fmla="*/ 187944 w 209436"/>
                  <a:gd name="connsiteY13" fmla="*/ 68694 h 177361"/>
                  <a:gd name="connsiteX14" fmla="*/ 185309 w 209436"/>
                  <a:gd name="connsiteY14" fmla="*/ 30887 h 177361"/>
                  <a:gd name="connsiteX15" fmla="*/ 136128 w 209436"/>
                  <a:gd name="connsiteY15" fmla="*/ 30008 h 177361"/>
                  <a:gd name="connsiteX16" fmla="*/ 159840 w 209436"/>
                  <a:gd name="connsiteY16" fmla="*/ 48472 h 177361"/>
                  <a:gd name="connsiteX17" fmla="*/ 140519 w 209436"/>
                  <a:gd name="connsiteY17" fmla="*/ 55506 h 177361"/>
                  <a:gd name="connsiteX18" fmla="*/ 108024 w 209436"/>
                  <a:gd name="connsiteY18" fmla="*/ 56385 h 177361"/>
                  <a:gd name="connsiteX19" fmla="*/ 144032 w 209436"/>
                  <a:gd name="connsiteY19" fmla="*/ 4510 h 177361"/>
                  <a:gd name="connsiteX20" fmla="*/ 75529 w 209436"/>
                  <a:gd name="connsiteY20" fmla="*/ 33525 h 17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09436" h="177361">
                    <a:moveTo>
                      <a:pt x="75529" y="33525"/>
                    </a:moveTo>
                    <a:cubicBezTo>
                      <a:pt x="64112" y="43197"/>
                      <a:pt x="0" y="107380"/>
                      <a:pt x="0" y="107380"/>
                    </a:cubicBezTo>
                    <a:cubicBezTo>
                      <a:pt x="0" y="107380"/>
                      <a:pt x="7904" y="151342"/>
                      <a:pt x="11417" y="168047"/>
                    </a:cubicBezTo>
                    <a:cubicBezTo>
                      <a:pt x="20199" y="174202"/>
                      <a:pt x="120319" y="182994"/>
                      <a:pt x="155449" y="172444"/>
                    </a:cubicBezTo>
                    <a:cubicBezTo>
                      <a:pt x="187066" y="162772"/>
                      <a:pt x="190578" y="159255"/>
                      <a:pt x="196726" y="152221"/>
                    </a:cubicBezTo>
                    <a:cubicBezTo>
                      <a:pt x="202874" y="145187"/>
                      <a:pt x="206387" y="118810"/>
                      <a:pt x="196726" y="124965"/>
                    </a:cubicBezTo>
                    <a:cubicBezTo>
                      <a:pt x="186187" y="136395"/>
                      <a:pt x="167744" y="138154"/>
                      <a:pt x="167744" y="138154"/>
                    </a:cubicBezTo>
                    <a:cubicBezTo>
                      <a:pt x="167744" y="138154"/>
                      <a:pt x="178283" y="138154"/>
                      <a:pt x="196726" y="124965"/>
                    </a:cubicBezTo>
                    <a:cubicBezTo>
                      <a:pt x="209900" y="114414"/>
                      <a:pt x="214291" y="98588"/>
                      <a:pt x="202874" y="91554"/>
                    </a:cubicBezTo>
                    <a:cubicBezTo>
                      <a:pt x="183553" y="110897"/>
                      <a:pt x="165109" y="110018"/>
                      <a:pt x="165109" y="110018"/>
                    </a:cubicBezTo>
                    <a:cubicBezTo>
                      <a:pt x="165109" y="110018"/>
                      <a:pt x="193213" y="104743"/>
                      <a:pt x="202874" y="90675"/>
                    </a:cubicBezTo>
                    <a:cubicBezTo>
                      <a:pt x="215169" y="73090"/>
                      <a:pt x="194970" y="44955"/>
                      <a:pt x="194970" y="51110"/>
                    </a:cubicBezTo>
                    <a:cubicBezTo>
                      <a:pt x="194970" y="65177"/>
                      <a:pt x="187066" y="72211"/>
                      <a:pt x="160718" y="81883"/>
                    </a:cubicBezTo>
                    <a:cubicBezTo>
                      <a:pt x="160718" y="81883"/>
                      <a:pt x="176527" y="81883"/>
                      <a:pt x="187944" y="68694"/>
                    </a:cubicBezTo>
                    <a:cubicBezTo>
                      <a:pt x="199361" y="55506"/>
                      <a:pt x="196726" y="40559"/>
                      <a:pt x="185309" y="30887"/>
                    </a:cubicBezTo>
                    <a:cubicBezTo>
                      <a:pt x="174770" y="21216"/>
                      <a:pt x="137884" y="23854"/>
                      <a:pt x="136128" y="30008"/>
                    </a:cubicBezTo>
                    <a:cubicBezTo>
                      <a:pt x="122076" y="69574"/>
                      <a:pt x="163353" y="45834"/>
                      <a:pt x="159840" y="48472"/>
                    </a:cubicBezTo>
                    <a:cubicBezTo>
                      <a:pt x="149301" y="54627"/>
                      <a:pt x="147545" y="53747"/>
                      <a:pt x="140519" y="55506"/>
                    </a:cubicBezTo>
                    <a:cubicBezTo>
                      <a:pt x="133493" y="57264"/>
                      <a:pt x="117684" y="57264"/>
                      <a:pt x="108024" y="56385"/>
                    </a:cubicBezTo>
                    <a:cubicBezTo>
                      <a:pt x="105389" y="53747"/>
                      <a:pt x="156327" y="22974"/>
                      <a:pt x="144032" y="4510"/>
                    </a:cubicBezTo>
                    <a:cubicBezTo>
                      <a:pt x="131736" y="-13953"/>
                      <a:pt x="79920" y="30008"/>
                      <a:pt x="75529" y="33525"/>
                    </a:cubicBezTo>
                    <a:close/>
                  </a:path>
                </a:pathLst>
              </a:custGeom>
              <a:solidFill>
                <a:srgbClr val="F9C174"/>
              </a:solidFill>
              <a:ln w="6764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60CB4E27-0D96-B831-7373-5D6F5BB57FBA}"/>
                  </a:ext>
                </a:extLst>
              </p:cNvPr>
              <p:cNvSpPr/>
              <p:nvPr/>
            </p:nvSpPr>
            <p:spPr>
              <a:xfrm>
                <a:off x="-10852365" y="3844864"/>
                <a:ext cx="13173" cy="14947"/>
              </a:xfrm>
              <a:custGeom>
                <a:avLst/>
                <a:gdLst>
                  <a:gd name="connsiteX0" fmla="*/ 0 w 13173"/>
                  <a:gd name="connsiteY0" fmla="*/ 0 h 14947"/>
                  <a:gd name="connsiteX1" fmla="*/ 13174 w 13173"/>
                  <a:gd name="connsiteY1" fmla="*/ 14947 h 14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73" h="14947">
                    <a:moveTo>
                      <a:pt x="0" y="0"/>
                    </a:moveTo>
                    <a:cubicBezTo>
                      <a:pt x="0" y="0"/>
                      <a:pt x="9660" y="7034"/>
                      <a:pt x="13174" y="14947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8AD474A2-C68B-80FB-9BFD-B51D1F503BB0}"/>
                  </a:ext>
                </a:extLst>
              </p:cNvPr>
              <p:cNvSpPr/>
              <p:nvPr/>
            </p:nvSpPr>
            <p:spPr>
              <a:xfrm>
                <a:off x="-10864660" y="3857173"/>
                <a:ext cx="12295" cy="13188"/>
              </a:xfrm>
              <a:custGeom>
                <a:avLst/>
                <a:gdLst>
                  <a:gd name="connsiteX0" fmla="*/ 0 w 12295"/>
                  <a:gd name="connsiteY0" fmla="*/ 0 h 13188"/>
                  <a:gd name="connsiteX1" fmla="*/ 12296 w 12295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5" h="13188">
                    <a:moveTo>
                      <a:pt x="0" y="0"/>
                    </a:moveTo>
                    <a:cubicBezTo>
                      <a:pt x="0" y="0"/>
                      <a:pt x="7904" y="5275"/>
                      <a:pt x="12296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3E68533B-DD3B-8007-4BFF-3B5001F43F32}"/>
                  </a:ext>
                </a:extLst>
              </p:cNvPr>
              <p:cNvSpPr/>
              <p:nvPr/>
            </p:nvSpPr>
            <p:spPr>
              <a:xfrm>
                <a:off x="-10881347" y="3861569"/>
                <a:ext cx="7904" cy="13188"/>
              </a:xfrm>
              <a:custGeom>
                <a:avLst/>
                <a:gdLst>
                  <a:gd name="connsiteX0" fmla="*/ 0 w 7904"/>
                  <a:gd name="connsiteY0" fmla="*/ 0 h 13188"/>
                  <a:gd name="connsiteX1" fmla="*/ 7904 w 7904"/>
                  <a:gd name="connsiteY1" fmla="*/ 13188 h 13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4" h="13188">
                    <a:moveTo>
                      <a:pt x="0" y="0"/>
                    </a:moveTo>
                    <a:cubicBezTo>
                      <a:pt x="0" y="0"/>
                      <a:pt x="4391" y="3517"/>
                      <a:pt x="7904" y="13188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1076C015-C795-6FFF-2699-CE6C8DD920B1}"/>
                  </a:ext>
                </a:extLst>
              </p:cNvPr>
              <p:cNvSpPr/>
              <p:nvPr/>
            </p:nvSpPr>
            <p:spPr>
              <a:xfrm>
                <a:off x="-10903303" y="3862448"/>
                <a:ext cx="8782" cy="12309"/>
              </a:xfrm>
              <a:custGeom>
                <a:avLst/>
                <a:gdLst>
                  <a:gd name="connsiteX0" fmla="*/ 0 w 8782"/>
                  <a:gd name="connsiteY0" fmla="*/ 0 h 12309"/>
                  <a:gd name="connsiteX1" fmla="*/ 8782 w 8782"/>
                  <a:gd name="connsiteY1" fmla="*/ 12309 h 1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2" h="12309">
                    <a:moveTo>
                      <a:pt x="0" y="0"/>
                    </a:moveTo>
                    <a:cubicBezTo>
                      <a:pt x="0" y="0"/>
                      <a:pt x="5270" y="2638"/>
                      <a:pt x="8782" y="12309"/>
                    </a:cubicBezTo>
                  </a:path>
                </a:pathLst>
              </a:custGeom>
              <a:solidFill>
                <a:srgbClr val="B3895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C0D49CF7-1E6D-4B7D-11E8-472FC02E60F7}"/>
                  </a:ext>
                </a:extLst>
              </p:cNvPr>
              <p:cNvSpPr/>
              <p:nvPr/>
            </p:nvSpPr>
            <p:spPr>
              <a:xfrm>
                <a:off x="-10717115" y="3779801"/>
                <a:ext cx="25468" cy="20222"/>
              </a:xfrm>
              <a:custGeom>
                <a:avLst/>
                <a:gdLst>
                  <a:gd name="connsiteX0" fmla="*/ 0 w 25468"/>
                  <a:gd name="connsiteY0" fmla="*/ 0 h 20222"/>
                  <a:gd name="connsiteX1" fmla="*/ 25469 w 25468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68" h="20222">
                    <a:moveTo>
                      <a:pt x="0" y="0"/>
                    </a:moveTo>
                    <a:cubicBezTo>
                      <a:pt x="0" y="0"/>
                      <a:pt x="25469" y="4396"/>
                      <a:pt x="25469" y="20222"/>
                    </a:cubicBezTo>
                  </a:path>
                </a:pathLst>
              </a:custGeom>
              <a:solidFill>
                <a:srgbClr val="FA69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F27F05B9-885A-5710-C8DD-5BDCDE052932}"/>
                  </a:ext>
                </a:extLst>
              </p:cNvPr>
              <p:cNvSpPr/>
              <p:nvPr/>
            </p:nvSpPr>
            <p:spPr>
              <a:xfrm>
                <a:off x="-10712724" y="3765733"/>
                <a:ext cx="20199" cy="17584"/>
              </a:xfrm>
              <a:custGeom>
                <a:avLst/>
                <a:gdLst>
                  <a:gd name="connsiteX0" fmla="*/ 0 w 20199"/>
                  <a:gd name="connsiteY0" fmla="*/ 0 h 17584"/>
                  <a:gd name="connsiteX1" fmla="*/ 20199 w 20199"/>
                  <a:gd name="connsiteY1" fmla="*/ 17585 h 17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99" h="17584">
                    <a:moveTo>
                      <a:pt x="0" y="0"/>
                    </a:moveTo>
                    <a:cubicBezTo>
                      <a:pt x="0" y="0"/>
                      <a:pt x="19321" y="0"/>
                      <a:pt x="20199" y="17585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7BB1371-AF59-CE54-0C17-CC6255E4823F}"/>
                  </a:ext>
                </a:extLst>
              </p:cNvPr>
              <p:cNvSpPr/>
              <p:nvPr/>
            </p:nvSpPr>
            <p:spPr>
              <a:xfrm>
                <a:off x="-10709211" y="3752545"/>
                <a:ext cx="18815" cy="20222"/>
              </a:xfrm>
              <a:custGeom>
                <a:avLst/>
                <a:gdLst>
                  <a:gd name="connsiteX0" fmla="*/ 0 w 18815"/>
                  <a:gd name="connsiteY0" fmla="*/ 0 h 20222"/>
                  <a:gd name="connsiteX1" fmla="*/ 16687 w 18815"/>
                  <a:gd name="connsiteY1" fmla="*/ 20222 h 20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15" h="20222">
                    <a:moveTo>
                      <a:pt x="0" y="0"/>
                    </a:moveTo>
                    <a:cubicBezTo>
                      <a:pt x="0" y="0"/>
                      <a:pt x="26347" y="2638"/>
                      <a:pt x="16687" y="20222"/>
                    </a:cubicBezTo>
                  </a:path>
                </a:pathLst>
              </a:custGeom>
              <a:noFill/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036FEBAA-9BE8-0DFF-1308-CED64FA4A4A2}"/>
                  </a:ext>
                </a:extLst>
              </p:cNvPr>
              <p:cNvSpPr/>
              <p:nvPr/>
            </p:nvSpPr>
            <p:spPr>
              <a:xfrm>
                <a:off x="-10873076" y="3190858"/>
                <a:ext cx="325400" cy="137155"/>
              </a:xfrm>
              <a:custGeom>
                <a:avLst/>
                <a:gdLst>
                  <a:gd name="connsiteX0" fmla="*/ 23346 w 325400"/>
                  <a:gd name="connsiteY0" fmla="*/ 55249 h 137155"/>
                  <a:gd name="connsiteX1" fmla="*/ 10173 w 325400"/>
                  <a:gd name="connsiteY1" fmla="*/ 137018 h 137155"/>
                  <a:gd name="connsiteX2" fmla="*/ 184065 w 325400"/>
                  <a:gd name="connsiteY2" fmla="*/ 103607 h 137155"/>
                  <a:gd name="connsiteX3" fmla="*/ 262228 w 325400"/>
                  <a:gd name="connsiteY3" fmla="*/ 107124 h 137155"/>
                  <a:gd name="connsiteX4" fmla="*/ 306141 w 325400"/>
                  <a:gd name="connsiteY4" fmla="*/ 90419 h 137155"/>
                  <a:gd name="connsiteX5" fmla="*/ 306141 w 325400"/>
                  <a:gd name="connsiteY5" fmla="*/ 70196 h 137155"/>
                  <a:gd name="connsiteX6" fmla="*/ 275402 w 325400"/>
                  <a:gd name="connsiteY6" fmla="*/ 85143 h 137155"/>
                  <a:gd name="connsiteX7" fmla="*/ 312288 w 325400"/>
                  <a:gd name="connsiteY7" fmla="*/ 65800 h 137155"/>
                  <a:gd name="connsiteX8" fmla="*/ 306141 w 325400"/>
                  <a:gd name="connsiteY8" fmla="*/ 47336 h 137155"/>
                  <a:gd name="connsiteX9" fmla="*/ 271011 w 325400"/>
                  <a:gd name="connsiteY9" fmla="*/ 64921 h 137155"/>
                  <a:gd name="connsiteX10" fmla="*/ 313166 w 325400"/>
                  <a:gd name="connsiteY10" fmla="*/ 41182 h 137155"/>
                  <a:gd name="connsiteX11" fmla="*/ 306141 w 325400"/>
                  <a:gd name="connsiteY11" fmla="*/ 23597 h 137155"/>
                  <a:gd name="connsiteX12" fmla="*/ 269254 w 325400"/>
                  <a:gd name="connsiteY12" fmla="*/ 46457 h 137155"/>
                  <a:gd name="connsiteX13" fmla="*/ 295601 w 325400"/>
                  <a:gd name="connsiteY13" fmla="*/ 31510 h 137155"/>
                  <a:gd name="connsiteX14" fmla="*/ 293845 w 325400"/>
                  <a:gd name="connsiteY14" fmla="*/ 10409 h 137155"/>
                  <a:gd name="connsiteX15" fmla="*/ 265741 w 325400"/>
                  <a:gd name="connsiteY15" fmla="*/ 29752 h 137155"/>
                  <a:gd name="connsiteX16" fmla="*/ 243785 w 325400"/>
                  <a:gd name="connsiteY16" fmla="*/ 35027 h 137155"/>
                  <a:gd name="connsiteX17" fmla="*/ 260472 w 325400"/>
                  <a:gd name="connsiteY17" fmla="*/ 2496 h 137155"/>
                  <a:gd name="connsiteX18" fmla="*/ 219194 w 325400"/>
                  <a:gd name="connsiteY18" fmla="*/ 30631 h 137155"/>
                  <a:gd name="connsiteX19" fmla="*/ 180552 w 325400"/>
                  <a:gd name="connsiteY19" fmla="*/ 60525 h 137155"/>
                  <a:gd name="connsiteX20" fmla="*/ 22468 w 325400"/>
                  <a:gd name="connsiteY20" fmla="*/ 57008 h 137155"/>
                  <a:gd name="connsiteX21" fmla="*/ 22468 w 325400"/>
                  <a:gd name="connsiteY21" fmla="*/ 55249 h 13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5400" h="137155">
                    <a:moveTo>
                      <a:pt x="23346" y="55249"/>
                    </a:moveTo>
                    <a:cubicBezTo>
                      <a:pt x="23346" y="59646"/>
                      <a:pt x="-18809" y="134380"/>
                      <a:pt x="10173" y="137018"/>
                    </a:cubicBezTo>
                    <a:cubicBezTo>
                      <a:pt x="39155" y="139656"/>
                      <a:pt x="184065" y="103607"/>
                      <a:pt x="184065" y="103607"/>
                    </a:cubicBezTo>
                    <a:cubicBezTo>
                      <a:pt x="188456" y="108003"/>
                      <a:pt x="235881" y="111520"/>
                      <a:pt x="262228" y="107124"/>
                    </a:cubicBezTo>
                    <a:cubicBezTo>
                      <a:pt x="288576" y="102728"/>
                      <a:pt x="294723" y="95694"/>
                      <a:pt x="306141" y="90419"/>
                    </a:cubicBezTo>
                    <a:cubicBezTo>
                      <a:pt x="323705" y="81626"/>
                      <a:pt x="317558" y="63162"/>
                      <a:pt x="306141" y="70196"/>
                    </a:cubicBezTo>
                    <a:cubicBezTo>
                      <a:pt x="294723" y="77230"/>
                      <a:pt x="275402" y="85143"/>
                      <a:pt x="275402" y="85143"/>
                    </a:cubicBezTo>
                    <a:cubicBezTo>
                      <a:pt x="275402" y="85143"/>
                      <a:pt x="302627" y="75472"/>
                      <a:pt x="312288" y="65800"/>
                    </a:cubicBezTo>
                    <a:cubicBezTo>
                      <a:pt x="326340" y="53491"/>
                      <a:pt x="324583" y="33269"/>
                      <a:pt x="306141" y="47336"/>
                    </a:cubicBezTo>
                    <a:cubicBezTo>
                      <a:pt x="289454" y="57887"/>
                      <a:pt x="271011" y="64921"/>
                      <a:pt x="271011" y="64921"/>
                    </a:cubicBezTo>
                    <a:cubicBezTo>
                      <a:pt x="271011" y="64921"/>
                      <a:pt x="299114" y="53491"/>
                      <a:pt x="313166" y="41182"/>
                    </a:cubicBezTo>
                    <a:cubicBezTo>
                      <a:pt x="339514" y="18322"/>
                      <a:pt x="316679" y="13046"/>
                      <a:pt x="306141" y="23597"/>
                    </a:cubicBezTo>
                    <a:cubicBezTo>
                      <a:pt x="295601" y="34148"/>
                      <a:pt x="283306" y="40303"/>
                      <a:pt x="269254" y="46457"/>
                    </a:cubicBezTo>
                    <a:cubicBezTo>
                      <a:pt x="269254" y="46457"/>
                      <a:pt x="282428" y="41182"/>
                      <a:pt x="295601" y="31510"/>
                    </a:cubicBezTo>
                    <a:cubicBezTo>
                      <a:pt x="308775" y="21839"/>
                      <a:pt x="303506" y="3375"/>
                      <a:pt x="293845" y="10409"/>
                    </a:cubicBezTo>
                    <a:cubicBezTo>
                      <a:pt x="284184" y="17443"/>
                      <a:pt x="273645" y="27114"/>
                      <a:pt x="265741" y="29752"/>
                    </a:cubicBezTo>
                    <a:cubicBezTo>
                      <a:pt x="257837" y="32389"/>
                      <a:pt x="249055" y="35906"/>
                      <a:pt x="243785" y="35027"/>
                    </a:cubicBezTo>
                    <a:cubicBezTo>
                      <a:pt x="242029" y="33269"/>
                      <a:pt x="268376" y="13046"/>
                      <a:pt x="260472" y="2496"/>
                    </a:cubicBezTo>
                    <a:cubicBezTo>
                      <a:pt x="252568" y="-8055"/>
                      <a:pt x="228855" y="17443"/>
                      <a:pt x="219194" y="30631"/>
                    </a:cubicBezTo>
                    <a:cubicBezTo>
                      <a:pt x="209534" y="43819"/>
                      <a:pt x="180552" y="60525"/>
                      <a:pt x="180552" y="60525"/>
                    </a:cubicBezTo>
                    <a:cubicBezTo>
                      <a:pt x="180552" y="60525"/>
                      <a:pt x="21590" y="53491"/>
                      <a:pt x="22468" y="57008"/>
                    </a:cubicBezTo>
                    <a:lnTo>
                      <a:pt x="22468" y="55249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EE84DAEA-DD1F-1B3A-004C-A825B4A5B5C8}"/>
                  </a:ext>
                </a:extLst>
              </p:cNvPr>
              <p:cNvSpPr/>
              <p:nvPr/>
            </p:nvSpPr>
            <p:spPr>
              <a:xfrm>
                <a:off x="-11123877" y="3076153"/>
                <a:ext cx="353347" cy="527140"/>
              </a:xfrm>
              <a:custGeom>
                <a:avLst/>
                <a:gdLst>
                  <a:gd name="connsiteX0" fmla="*/ 347041 w 353347"/>
                  <a:gd name="connsiteY0" fmla="*/ 59171 h 527140"/>
                  <a:gd name="connsiteX1" fmla="*/ 124846 w 353347"/>
                  <a:gd name="connsiteY1" fmla="*/ 41587 h 527140"/>
                  <a:gd name="connsiteX2" fmla="*/ 1013 w 353347"/>
                  <a:gd name="connsiteY2" fmla="*/ 360748 h 527140"/>
                  <a:gd name="connsiteX3" fmla="*/ 195983 w 353347"/>
                  <a:gd name="connsiteY3" fmla="*/ 474168 h 527140"/>
                  <a:gd name="connsiteX4" fmla="*/ 318937 w 353347"/>
                  <a:gd name="connsiteY4" fmla="*/ 518130 h 527140"/>
                  <a:gd name="connsiteX5" fmla="*/ 306642 w 353347"/>
                  <a:gd name="connsiteY5" fmla="*/ 409985 h 527140"/>
                  <a:gd name="connsiteX6" fmla="*/ 243408 w 353347"/>
                  <a:gd name="connsiteY6" fmla="*/ 346680 h 527140"/>
                  <a:gd name="connsiteX7" fmla="*/ 346163 w 353347"/>
                  <a:gd name="connsiteY7" fmla="*/ 59171 h 527140"/>
                  <a:gd name="connsiteX8" fmla="*/ 347041 w 353347"/>
                  <a:gd name="connsiteY8" fmla="*/ 59171 h 527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347" h="527140">
                    <a:moveTo>
                      <a:pt x="347041" y="59171"/>
                    </a:moveTo>
                    <a:cubicBezTo>
                      <a:pt x="306642" y="-15563"/>
                      <a:pt x="172271" y="-17322"/>
                      <a:pt x="124846" y="41587"/>
                    </a:cubicBezTo>
                    <a:cubicBezTo>
                      <a:pt x="77421" y="100495"/>
                      <a:pt x="-10404" y="242052"/>
                      <a:pt x="1013" y="360748"/>
                    </a:cubicBezTo>
                    <a:cubicBezTo>
                      <a:pt x="12431" y="479444"/>
                      <a:pt x="195983" y="474168"/>
                      <a:pt x="195983" y="474168"/>
                    </a:cubicBezTo>
                    <a:cubicBezTo>
                      <a:pt x="195983" y="474168"/>
                      <a:pt x="294346" y="553299"/>
                      <a:pt x="318937" y="518130"/>
                    </a:cubicBezTo>
                    <a:cubicBezTo>
                      <a:pt x="341772" y="486478"/>
                      <a:pt x="336502" y="450429"/>
                      <a:pt x="306642" y="409985"/>
                    </a:cubicBezTo>
                    <a:cubicBezTo>
                      <a:pt x="282929" y="377453"/>
                      <a:pt x="243408" y="346680"/>
                      <a:pt x="243408" y="346680"/>
                    </a:cubicBezTo>
                    <a:cubicBezTo>
                      <a:pt x="243408" y="346680"/>
                      <a:pt x="386562" y="133906"/>
                      <a:pt x="346163" y="59171"/>
                    </a:cubicBezTo>
                    <a:lnTo>
                      <a:pt x="347041" y="59171"/>
                    </a:lnTo>
                    <a:close/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22F4A8E3-A0E1-FB47-6851-008F8339F410}"/>
                  </a:ext>
                </a:extLst>
              </p:cNvPr>
              <p:cNvSpPr/>
              <p:nvPr/>
            </p:nvSpPr>
            <p:spPr>
              <a:xfrm>
                <a:off x="-11149211" y="3460640"/>
                <a:ext cx="378522" cy="220686"/>
              </a:xfrm>
              <a:custGeom>
                <a:avLst/>
                <a:gdLst>
                  <a:gd name="connsiteX0" fmla="*/ 0 w 378522"/>
                  <a:gd name="connsiteY0" fmla="*/ 0 h 220686"/>
                  <a:gd name="connsiteX1" fmla="*/ 361836 w 378522"/>
                  <a:gd name="connsiteY1" fmla="*/ 34290 h 220686"/>
                  <a:gd name="connsiteX2" fmla="*/ 378523 w 378522"/>
                  <a:gd name="connsiteY2" fmla="*/ 119575 h 220686"/>
                  <a:gd name="connsiteX3" fmla="*/ 82555 w 378522"/>
                  <a:gd name="connsiteY3" fmla="*/ 220687 h 220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22" h="220686">
                    <a:moveTo>
                      <a:pt x="0" y="0"/>
                    </a:moveTo>
                    <a:lnTo>
                      <a:pt x="361836" y="34290"/>
                    </a:lnTo>
                    <a:lnTo>
                      <a:pt x="378523" y="119575"/>
                    </a:lnTo>
                    <a:cubicBezTo>
                      <a:pt x="378523" y="119575"/>
                      <a:pt x="201996" y="198706"/>
                      <a:pt x="82555" y="220687"/>
                    </a:cubicBezTo>
                  </a:path>
                </a:pathLst>
              </a:custGeom>
              <a:solidFill>
                <a:srgbClr val="281805"/>
              </a:solidFill>
              <a:ln w="676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C3AD53ED-CB25-EF31-5D50-D4FA51C26707}"/>
                  </a:ext>
                </a:extLst>
              </p:cNvPr>
              <p:cNvSpPr/>
              <p:nvPr/>
            </p:nvSpPr>
            <p:spPr>
              <a:xfrm>
                <a:off x="-13480067" y="1704817"/>
                <a:ext cx="8782" cy="8792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8792"/>
                </a:pathLst>
              </a:custGeom>
              <a:solidFill>
                <a:srgbClr val="DD9C74"/>
              </a:solidFill>
              <a:ln w="6764" cap="rnd">
                <a:solidFill>
                  <a:srgbClr val="281805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EBF6A7CB-FFAA-959D-8B53-B994682B5095}"/>
                  </a:ext>
                </a:extLst>
              </p:cNvPr>
              <p:cNvSpPr/>
              <p:nvPr/>
            </p:nvSpPr>
            <p:spPr>
              <a:xfrm>
                <a:off x="-10950752" y="2817590"/>
                <a:ext cx="263053" cy="235087"/>
              </a:xfrm>
              <a:custGeom>
                <a:avLst/>
                <a:gdLst>
                  <a:gd name="connsiteX0" fmla="*/ 39545 w 263053"/>
                  <a:gd name="connsiteY0" fmla="*/ 235087 h 235087"/>
                  <a:gd name="connsiteX1" fmla="*/ 24 w 263053"/>
                  <a:gd name="connsiteY1" fmla="*/ 133096 h 235087"/>
                  <a:gd name="connsiteX2" fmla="*/ 91361 w 263053"/>
                  <a:gd name="connsiteY2" fmla="*/ 2091 h 235087"/>
                  <a:gd name="connsiteX3" fmla="*/ 259984 w 263053"/>
                  <a:gd name="connsiteY3" fmla="*/ 51328 h 235087"/>
                  <a:gd name="connsiteX4" fmla="*/ 189725 w 263053"/>
                  <a:gd name="connsiteY4" fmla="*/ 82980 h 235087"/>
                  <a:gd name="connsiteX5" fmla="*/ 173916 w 263053"/>
                  <a:gd name="connsiteY5" fmla="*/ 125183 h 235087"/>
                  <a:gd name="connsiteX6" fmla="*/ 144056 w 263053"/>
                  <a:gd name="connsiteY6" fmla="*/ 148043 h 235087"/>
                  <a:gd name="connsiteX7" fmla="*/ 122978 w 263053"/>
                  <a:gd name="connsiteY7" fmla="*/ 107599 h 235087"/>
                  <a:gd name="connsiteX8" fmla="*/ 124735 w 263053"/>
                  <a:gd name="connsiteY8" fmla="*/ 172662 h 235087"/>
                  <a:gd name="connsiteX9" fmla="*/ 82579 w 263053"/>
                  <a:gd name="connsiteY9" fmla="*/ 228053 h 235087"/>
                  <a:gd name="connsiteX10" fmla="*/ 37789 w 263053"/>
                  <a:gd name="connsiteY10" fmla="*/ 232449 h 235087"/>
                  <a:gd name="connsiteX11" fmla="*/ 39545 w 263053"/>
                  <a:gd name="connsiteY11" fmla="*/ 235087 h 23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3053" h="235087">
                    <a:moveTo>
                      <a:pt x="39545" y="235087"/>
                    </a:moveTo>
                    <a:cubicBezTo>
                      <a:pt x="39545" y="235087"/>
                      <a:pt x="1781" y="184092"/>
                      <a:pt x="24" y="133096"/>
                    </a:cubicBezTo>
                    <a:cubicBezTo>
                      <a:pt x="-854" y="82101"/>
                      <a:pt x="21980" y="13521"/>
                      <a:pt x="91361" y="2091"/>
                    </a:cubicBezTo>
                    <a:cubicBezTo>
                      <a:pt x="91361" y="2091"/>
                      <a:pt x="226611" y="-15494"/>
                      <a:pt x="259984" y="51328"/>
                    </a:cubicBezTo>
                    <a:cubicBezTo>
                      <a:pt x="276671" y="86497"/>
                      <a:pt x="221341" y="61879"/>
                      <a:pt x="189725" y="82980"/>
                    </a:cubicBezTo>
                    <a:cubicBezTo>
                      <a:pt x="172160" y="95289"/>
                      <a:pt x="173916" y="117270"/>
                      <a:pt x="173916" y="125183"/>
                    </a:cubicBezTo>
                    <a:cubicBezTo>
                      <a:pt x="173916" y="146285"/>
                      <a:pt x="158108" y="159473"/>
                      <a:pt x="144056" y="148043"/>
                    </a:cubicBezTo>
                    <a:cubicBezTo>
                      <a:pt x="137030" y="141889"/>
                      <a:pt x="155473" y="119908"/>
                      <a:pt x="122978" y="107599"/>
                    </a:cubicBezTo>
                    <a:cubicBezTo>
                      <a:pt x="81701" y="100565"/>
                      <a:pt x="90483" y="162990"/>
                      <a:pt x="124735" y="172662"/>
                    </a:cubicBezTo>
                    <a:cubicBezTo>
                      <a:pt x="104535" y="183212"/>
                      <a:pt x="105413" y="227174"/>
                      <a:pt x="82579" y="228053"/>
                    </a:cubicBezTo>
                    <a:lnTo>
                      <a:pt x="37789" y="232449"/>
                    </a:lnTo>
                    <a:lnTo>
                      <a:pt x="39545" y="235087"/>
                    </a:lnTo>
                    <a:close/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6137C620-3E58-3D09-C757-7FA10B7A1FDA}"/>
                  </a:ext>
                </a:extLst>
              </p:cNvPr>
              <p:cNvSpPr/>
              <p:nvPr/>
            </p:nvSpPr>
            <p:spPr>
              <a:xfrm>
                <a:off x="-11051904" y="2954985"/>
                <a:ext cx="132793" cy="93781"/>
              </a:xfrm>
              <a:custGeom>
                <a:avLst/>
                <a:gdLst>
                  <a:gd name="connsiteX0" fmla="*/ 122254 w 132793"/>
                  <a:gd name="connsiteY0" fmla="*/ 10648 h 93781"/>
                  <a:gd name="connsiteX1" fmla="*/ 39699 w 132793"/>
                  <a:gd name="connsiteY1" fmla="*/ 22957 h 93781"/>
                  <a:gd name="connsiteX2" fmla="*/ 13352 w 132793"/>
                  <a:gd name="connsiteY2" fmla="*/ 73074 h 93781"/>
                  <a:gd name="connsiteX3" fmla="*/ 44091 w 132793"/>
                  <a:gd name="connsiteY3" fmla="*/ 91537 h 93781"/>
                  <a:gd name="connsiteX4" fmla="*/ 132793 w 132793"/>
                  <a:gd name="connsiteY4" fmla="*/ 37904 h 9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793" h="93781">
                    <a:moveTo>
                      <a:pt x="122254" y="10648"/>
                    </a:moveTo>
                    <a:cubicBezTo>
                      <a:pt x="122254" y="10648"/>
                      <a:pt x="49360" y="-20125"/>
                      <a:pt x="39699" y="22957"/>
                    </a:cubicBezTo>
                    <a:cubicBezTo>
                      <a:pt x="30039" y="66040"/>
                      <a:pt x="29160" y="65161"/>
                      <a:pt x="13352" y="73074"/>
                    </a:cubicBezTo>
                    <a:cubicBezTo>
                      <a:pt x="-2456" y="80987"/>
                      <a:pt x="-15630" y="100330"/>
                      <a:pt x="44091" y="91537"/>
                    </a:cubicBezTo>
                    <a:cubicBezTo>
                      <a:pt x="103811" y="82745"/>
                      <a:pt x="132793" y="37904"/>
                      <a:pt x="132793" y="37904"/>
                    </a:cubicBezTo>
                  </a:path>
                </a:pathLst>
              </a:custGeom>
              <a:solidFill>
                <a:srgbClr val="C96128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D554ED38-1F12-E7E3-8974-957B7E737A14}"/>
                  </a:ext>
                </a:extLst>
              </p:cNvPr>
              <p:cNvSpPr/>
              <p:nvPr/>
            </p:nvSpPr>
            <p:spPr>
              <a:xfrm>
                <a:off x="-11003024" y="3268022"/>
                <a:ext cx="361090" cy="247097"/>
              </a:xfrm>
              <a:custGeom>
                <a:avLst/>
                <a:gdLst>
                  <a:gd name="connsiteX0" fmla="*/ 256048 w 361090"/>
                  <a:gd name="connsiteY0" fmla="*/ 231304 h 247097"/>
                  <a:gd name="connsiteX1" fmla="*/ 296447 w 361090"/>
                  <a:gd name="connsiteY1" fmla="*/ 246251 h 247097"/>
                  <a:gd name="connsiteX2" fmla="*/ 321916 w 361090"/>
                  <a:gd name="connsiteY2" fmla="*/ 230425 h 247097"/>
                  <a:gd name="connsiteX3" fmla="*/ 287665 w 361090"/>
                  <a:gd name="connsiteY3" fmla="*/ 224270 h 247097"/>
                  <a:gd name="connsiteX4" fmla="*/ 312256 w 361090"/>
                  <a:gd name="connsiteY4" fmla="*/ 231304 h 247097"/>
                  <a:gd name="connsiteX5" fmla="*/ 335090 w 361090"/>
                  <a:gd name="connsiteY5" fmla="*/ 208444 h 247097"/>
                  <a:gd name="connsiteX6" fmla="*/ 295569 w 361090"/>
                  <a:gd name="connsiteY6" fmla="*/ 205807 h 247097"/>
                  <a:gd name="connsiteX7" fmla="*/ 343873 w 361090"/>
                  <a:gd name="connsiteY7" fmla="*/ 205807 h 247097"/>
                  <a:gd name="connsiteX8" fmla="*/ 346507 w 361090"/>
                  <a:gd name="connsiteY8" fmla="*/ 188222 h 247097"/>
                  <a:gd name="connsiteX9" fmla="*/ 309621 w 361090"/>
                  <a:gd name="connsiteY9" fmla="*/ 188222 h 247097"/>
                  <a:gd name="connsiteX10" fmla="*/ 337725 w 361090"/>
                  <a:gd name="connsiteY10" fmla="*/ 190860 h 247097"/>
                  <a:gd name="connsiteX11" fmla="*/ 357046 w 361090"/>
                  <a:gd name="connsiteY11" fmla="*/ 169758 h 247097"/>
                  <a:gd name="connsiteX12" fmla="*/ 314890 w 361090"/>
                  <a:gd name="connsiteY12" fmla="*/ 166241 h 247097"/>
                  <a:gd name="connsiteX13" fmla="*/ 298204 w 361090"/>
                  <a:gd name="connsiteY13" fmla="*/ 154811 h 247097"/>
                  <a:gd name="connsiteX14" fmla="*/ 335968 w 361090"/>
                  <a:gd name="connsiteY14" fmla="*/ 130193 h 247097"/>
                  <a:gd name="connsiteX15" fmla="*/ 290300 w 361090"/>
                  <a:gd name="connsiteY15" fmla="*/ 132830 h 247097"/>
                  <a:gd name="connsiteX16" fmla="*/ 221797 w 361090"/>
                  <a:gd name="connsiteY16" fmla="*/ 143381 h 247097"/>
                  <a:gd name="connsiteX17" fmla="*/ 117286 w 361090"/>
                  <a:gd name="connsiteY17" fmla="*/ 52821 h 247097"/>
                  <a:gd name="connsiteX18" fmla="*/ 1358 w 361090"/>
                  <a:gd name="connsiteY18" fmla="*/ 1825 h 247097"/>
                  <a:gd name="connsiteX19" fmla="*/ 31218 w 361090"/>
                  <a:gd name="connsiteY19" fmla="*/ 117004 h 247097"/>
                  <a:gd name="connsiteX20" fmla="*/ 205110 w 361090"/>
                  <a:gd name="connsiteY20" fmla="*/ 197894 h 247097"/>
                  <a:gd name="connsiteX21" fmla="*/ 257805 w 361090"/>
                  <a:gd name="connsiteY21" fmla="*/ 233942 h 247097"/>
                  <a:gd name="connsiteX22" fmla="*/ 256048 w 361090"/>
                  <a:gd name="connsiteY22" fmla="*/ 231304 h 24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61090" h="247097">
                    <a:moveTo>
                      <a:pt x="256048" y="231304"/>
                    </a:moveTo>
                    <a:cubicBezTo>
                      <a:pt x="277126" y="242734"/>
                      <a:pt x="288543" y="244493"/>
                      <a:pt x="296447" y="246251"/>
                    </a:cubicBezTo>
                    <a:cubicBezTo>
                      <a:pt x="314890" y="251527"/>
                      <a:pt x="323673" y="230425"/>
                      <a:pt x="321916" y="230425"/>
                    </a:cubicBezTo>
                    <a:cubicBezTo>
                      <a:pt x="302595" y="233063"/>
                      <a:pt x="287665" y="224270"/>
                      <a:pt x="287665" y="224270"/>
                    </a:cubicBezTo>
                    <a:cubicBezTo>
                      <a:pt x="287665" y="224270"/>
                      <a:pt x="296447" y="230425"/>
                      <a:pt x="312256" y="231304"/>
                    </a:cubicBezTo>
                    <a:cubicBezTo>
                      <a:pt x="331577" y="233942"/>
                      <a:pt x="350020" y="216357"/>
                      <a:pt x="335090" y="208444"/>
                    </a:cubicBezTo>
                    <a:cubicBezTo>
                      <a:pt x="315769" y="211082"/>
                      <a:pt x="295569" y="205807"/>
                      <a:pt x="295569" y="205807"/>
                    </a:cubicBezTo>
                    <a:cubicBezTo>
                      <a:pt x="295569" y="205807"/>
                      <a:pt x="330699" y="214599"/>
                      <a:pt x="343873" y="205807"/>
                    </a:cubicBezTo>
                    <a:cubicBezTo>
                      <a:pt x="356168" y="196135"/>
                      <a:pt x="350898" y="186464"/>
                      <a:pt x="346507" y="188222"/>
                    </a:cubicBezTo>
                    <a:cubicBezTo>
                      <a:pt x="342116" y="189980"/>
                      <a:pt x="327186" y="196135"/>
                      <a:pt x="309621" y="188222"/>
                    </a:cubicBezTo>
                    <a:cubicBezTo>
                      <a:pt x="309621" y="188222"/>
                      <a:pt x="324551" y="192618"/>
                      <a:pt x="337725" y="190860"/>
                    </a:cubicBezTo>
                    <a:cubicBezTo>
                      <a:pt x="350898" y="189101"/>
                      <a:pt x="369342" y="175913"/>
                      <a:pt x="357046" y="169758"/>
                    </a:cubicBezTo>
                    <a:cubicBezTo>
                      <a:pt x="344751" y="163603"/>
                      <a:pt x="327186" y="172396"/>
                      <a:pt x="314890" y="166241"/>
                    </a:cubicBezTo>
                    <a:cubicBezTo>
                      <a:pt x="313134" y="165362"/>
                      <a:pt x="302595" y="158328"/>
                      <a:pt x="298204" y="154811"/>
                    </a:cubicBezTo>
                    <a:cubicBezTo>
                      <a:pt x="298204" y="152174"/>
                      <a:pt x="333334" y="145140"/>
                      <a:pt x="335968" y="130193"/>
                    </a:cubicBezTo>
                    <a:cubicBezTo>
                      <a:pt x="338603" y="115246"/>
                      <a:pt x="294691" y="132830"/>
                      <a:pt x="290300" y="132830"/>
                    </a:cubicBezTo>
                    <a:cubicBezTo>
                      <a:pt x="279761" y="133710"/>
                      <a:pt x="221797" y="143381"/>
                      <a:pt x="221797" y="143381"/>
                    </a:cubicBezTo>
                    <a:cubicBezTo>
                      <a:pt x="221797" y="143381"/>
                      <a:pt x="121677" y="45787"/>
                      <a:pt x="117286" y="52821"/>
                    </a:cubicBezTo>
                    <a:cubicBezTo>
                      <a:pt x="112895" y="59854"/>
                      <a:pt x="-14451" y="-12243"/>
                      <a:pt x="1358" y="1825"/>
                    </a:cubicBezTo>
                    <a:cubicBezTo>
                      <a:pt x="17166" y="15893"/>
                      <a:pt x="-13572" y="94144"/>
                      <a:pt x="31218" y="117004"/>
                    </a:cubicBezTo>
                    <a:cubicBezTo>
                      <a:pt x="76009" y="139864"/>
                      <a:pt x="206867" y="195256"/>
                      <a:pt x="205110" y="197894"/>
                    </a:cubicBezTo>
                    <a:cubicBezTo>
                      <a:pt x="205110" y="197894"/>
                      <a:pt x="236727" y="222512"/>
                      <a:pt x="257805" y="233942"/>
                    </a:cubicBezTo>
                    <a:lnTo>
                      <a:pt x="256048" y="231304"/>
                    </a:lnTo>
                    <a:close/>
                  </a:path>
                </a:pathLst>
              </a:custGeom>
              <a:solidFill>
                <a:srgbClr val="F9C174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AE8AB3A4-3C49-6063-ECA2-F8BE6E22978D}"/>
                  </a:ext>
                </a:extLst>
              </p:cNvPr>
              <p:cNvSpPr/>
              <p:nvPr/>
            </p:nvSpPr>
            <p:spPr>
              <a:xfrm>
                <a:off x="-11006568" y="3174890"/>
                <a:ext cx="157715" cy="150238"/>
              </a:xfrm>
              <a:custGeom>
                <a:avLst/>
                <a:gdLst>
                  <a:gd name="connsiteX0" fmla="*/ 157716 w 157715"/>
                  <a:gd name="connsiteY0" fmla="*/ 29894 h 150238"/>
                  <a:gd name="connsiteX1" fmla="*/ 134003 w 157715"/>
                  <a:gd name="connsiteY1" fmla="*/ 126609 h 150238"/>
                  <a:gd name="connsiteX2" fmla="*/ 1389 w 157715"/>
                  <a:gd name="connsiteY2" fmla="*/ 123092 h 150238"/>
                  <a:gd name="connsiteX3" fmla="*/ 35640 w 157715"/>
                  <a:gd name="connsiteY3" fmla="*/ 0 h 15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715" h="150238">
                    <a:moveTo>
                      <a:pt x="157716" y="29894"/>
                    </a:moveTo>
                    <a:cubicBezTo>
                      <a:pt x="157716" y="29894"/>
                      <a:pt x="149812" y="96715"/>
                      <a:pt x="134003" y="126609"/>
                    </a:cubicBezTo>
                    <a:cubicBezTo>
                      <a:pt x="116438" y="167054"/>
                      <a:pt x="22467" y="148590"/>
                      <a:pt x="1389" y="123092"/>
                    </a:cubicBezTo>
                    <a:cubicBezTo>
                      <a:pt x="-8272" y="57150"/>
                      <a:pt x="35640" y="0"/>
                      <a:pt x="35640" y="0"/>
                    </a:cubicBezTo>
                  </a:path>
                </a:pathLst>
              </a:custGeom>
              <a:solidFill>
                <a:srgbClr val="FFFFFF"/>
              </a:solidFill>
              <a:ln w="676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922028-2E14-3967-4907-745822809B03}"/>
                </a:ext>
              </a:extLst>
            </p:cNvPr>
            <p:cNvGrpSpPr/>
            <p:nvPr userDrawn="1"/>
          </p:nvGrpSpPr>
          <p:grpSpPr>
            <a:xfrm>
              <a:off x="-12394315" y="2136257"/>
              <a:ext cx="4006717" cy="3669345"/>
              <a:chOff x="-12394315" y="2136257"/>
              <a:chExt cx="4006717" cy="3669345"/>
            </a:xfrm>
          </p:grpSpPr>
          <p:grpSp>
            <p:nvGrpSpPr>
              <p:cNvPr id="19" name="Graphic 6">
                <a:extLst>
                  <a:ext uri="{FF2B5EF4-FFF2-40B4-BE49-F238E27FC236}">
                    <a16:creationId xmlns:a16="http://schemas.microsoft.com/office/drawing/2014/main" id="{8A86297F-7303-E8B3-D96D-CA4A682827E6}"/>
                  </a:ext>
                </a:extLst>
              </p:cNvPr>
              <p:cNvGrpSpPr/>
              <p:nvPr/>
            </p:nvGrpSpPr>
            <p:grpSpPr>
              <a:xfrm>
                <a:off x="-12394315" y="2136257"/>
                <a:ext cx="2480746" cy="3669345"/>
                <a:chOff x="-12394315" y="2136257"/>
                <a:chExt cx="2480746" cy="3669345"/>
              </a:xfrm>
            </p:grpSpPr>
            <p:grpSp>
              <p:nvGrpSpPr>
                <p:cNvPr id="36" name="Graphic 6">
                  <a:extLst>
                    <a:ext uri="{FF2B5EF4-FFF2-40B4-BE49-F238E27FC236}">
                      <a16:creationId xmlns:a16="http://schemas.microsoft.com/office/drawing/2014/main" id="{A3250312-0A6D-3492-D890-0D97ADB8A4AD}"/>
                    </a:ext>
                  </a:extLst>
                </p:cNvPr>
                <p:cNvGrpSpPr/>
                <p:nvPr/>
              </p:nvGrpSpPr>
              <p:grpSpPr>
                <a:xfrm>
                  <a:off x="-12394315" y="2136257"/>
                  <a:ext cx="2480746" cy="3669345"/>
                  <a:chOff x="-12394315" y="2136257"/>
                  <a:chExt cx="2480746" cy="3669345"/>
                </a:xfrm>
              </p:grpSpPr>
              <p:sp>
                <p:nvSpPr>
                  <p:cNvPr id="40" name="Freeform 39">
                    <a:extLst>
                      <a:ext uri="{FF2B5EF4-FFF2-40B4-BE49-F238E27FC236}">
                        <a16:creationId xmlns:a16="http://schemas.microsoft.com/office/drawing/2014/main" id="{9026859B-9900-3307-C7F5-7F38057F7961}"/>
                      </a:ext>
                    </a:extLst>
                  </p:cNvPr>
                  <p:cNvSpPr/>
                  <p:nvPr/>
                </p:nvSpPr>
                <p:spPr>
                  <a:xfrm>
                    <a:off x="-12178674" y="3689240"/>
                    <a:ext cx="836249" cy="1834954"/>
                  </a:xfrm>
                  <a:custGeom>
                    <a:avLst/>
                    <a:gdLst>
                      <a:gd name="connsiteX0" fmla="*/ 163 w 836249"/>
                      <a:gd name="connsiteY0" fmla="*/ 1557117 h 1834954"/>
                      <a:gd name="connsiteX1" fmla="*/ 29145 w 836249"/>
                      <a:gd name="connsiteY1" fmla="*/ 1353136 h 1834954"/>
                      <a:gd name="connsiteX2" fmla="*/ 95891 w 836249"/>
                      <a:gd name="connsiteY2" fmla="*/ 0 h 1834954"/>
                      <a:gd name="connsiteX3" fmla="*/ 813416 w 836249"/>
                      <a:gd name="connsiteY3" fmla="*/ 31652 h 1834954"/>
                      <a:gd name="connsiteX4" fmla="*/ 826589 w 836249"/>
                      <a:gd name="connsiteY4" fmla="*/ 371915 h 1834954"/>
                      <a:gd name="connsiteX5" fmla="*/ 836250 w 836249"/>
                      <a:gd name="connsiteY5" fmla="*/ 1670538 h 1834954"/>
                      <a:gd name="connsiteX6" fmla="*/ 775651 w 836249"/>
                      <a:gd name="connsiteY6" fmla="*/ 1762858 h 1834954"/>
                      <a:gd name="connsiteX7" fmla="*/ 746669 w 836249"/>
                      <a:gd name="connsiteY7" fmla="*/ 1825283 h 1834954"/>
                      <a:gd name="connsiteX8" fmla="*/ 614055 w 836249"/>
                      <a:gd name="connsiteY8" fmla="*/ 1834954 h 1834954"/>
                      <a:gd name="connsiteX9" fmla="*/ 597368 w 836249"/>
                      <a:gd name="connsiteY9" fmla="*/ 1776046 h 1834954"/>
                      <a:gd name="connsiteX10" fmla="*/ 518326 w 836249"/>
                      <a:gd name="connsiteY10" fmla="*/ 1664384 h 1834954"/>
                      <a:gd name="connsiteX11" fmla="*/ 451580 w 836249"/>
                      <a:gd name="connsiteY11" fmla="*/ 534572 h 1834954"/>
                      <a:gd name="connsiteX12" fmla="*/ 451580 w 836249"/>
                      <a:gd name="connsiteY12" fmla="*/ 232117 h 1834954"/>
                      <a:gd name="connsiteX13" fmla="*/ 257488 w 836249"/>
                      <a:gd name="connsiteY13" fmla="*/ 1753186 h 1834954"/>
                      <a:gd name="connsiteX14" fmla="*/ 250462 w 836249"/>
                      <a:gd name="connsiteY14" fmla="*/ 1753186 h 1834954"/>
                      <a:gd name="connsiteX15" fmla="*/ 236410 w 836249"/>
                      <a:gd name="connsiteY15" fmla="*/ 1804181 h 1834954"/>
                      <a:gd name="connsiteX16" fmla="*/ 80083 w 836249"/>
                      <a:gd name="connsiteY16" fmla="*/ 1795389 h 1834954"/>
                      <a:gd name="connsiteX17" fmla="*/ 61640 w 836249"/>
                      <a:gd name="connsiteY17" fmla="*/ 1738239 h 1834954"/>
                      <a:gd name="connsiteX18" fmla="*/ 51101 w 836249"/>
                      <a:gd name="connsiteY18" fmla="*/ 1738239 h 1834954"/>
                      <a:gd name="connsiteX19" fmla="*/ 163 w 836249"/>
                      <a:gd name="connsiteY19" fmla="*/ 1556238 h 1834954"/>
                      <a:gd name="connsiteX20" fmla="*/ 163 w 836249"/>
                      <a:gd name="connsiteY20" fmla="*/ 1556238 h 1834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836249" h="1834954">
                        <a:moveTo>
                          <a:pt x="163" y="1557117"/>
                        </a:moveTo>
                        <a:cubicBezTo>
                          <a:pt x="3676" y="1442817"/>
                          <a:pt x="29145" y="1353136"/>
                          <a:pt x="29145" y="1353136"/>
                        </a:cubicBezTo>
                        <a:lnTo>
                          <a:pt x="95891" y="0"/>
                        </a:lnTo>
                        <a:lnTo>
                          <a:pt x="813416" y="31652"/>
                        </a:lnTo>
                        <a:lnTo>
                          <a:pt x="826589" y="371915"/>
                        </a:lnTo>
                        <a:lnTo>
                          <a:pt x="836250" y="1670538"/>
                        </a:lnTo>
                        <a:cubicBezTo>
                          <a:pt x="836250" y="1670538"/>
                          <a:pt x="807268" y="1747031"/>
                          <a:pt x="775651" y="1762858"/>
                        </a:cubicBezTo>
                        <a:lnTo>
                          <a:pt x="746669" y="1825283"/>
                        </a:lnTo>
                        <a:lnTo>
                          <a:pt x="614055" y="1834954"/>
                        </a:lnTo>
                        <a:lnTo>
                          <a:pt x="597368" y="1776046"/>
                        </a:lnTo>
                        <a:cubicBezTo>
                          <a:pt x="597368" y="1776046"/>
                          <a:pt x="518326" y="1734722"/>
                          <a:pt x="518326" y="1664384"/>
                        </a:cubicBezTo>
                        <a:cubicBezTo>
                          <a:pt x="518326" y="1594045"/>
                          <a:pt x="451580" y="534572"/>
                          <a:pt x="451580" y="534572"/>
                        </a:cubicBezTo>
                        <a:lnTo>
                          <a:pt x="451580" y="232117"/>
                        </a:lnTo>
                        <a:cubicBezTo>
                          <a:pt x="451580" y="232117"/>
                          <a:pt x="362877" y="1674055"/>
                          <a:pt x="257488" y="1753186"/>
                        </a:cubicBezTo>
                        <a:lnTo>
                          <a:pt x="250462" y="1753186"/>
                        </a:lnTo>
                        <a:lnTo>
                          <a:pt x="236410" y="1804181"/>
                        </a:lnTo>
                        <a:lnTo>
                          <a:pt x="80083" y="1795389"/>
                        </a:lnTo>
                        <a:lnTo>
                          <a:pt x="61640" y="1738239"/>
                        </a:lnTo>
                        <a:lnTo>
                          <a:pt x="51101" y="1738239"/>
                        </a:lnTo>
                        <a:cubicBezTo>
                          <a:pt x="51101" y="1738239"/>
                          <a:pt x="-3350" y="1670538"/>
                          <a:pt x="163" y="1556238"/>
                        </a:cubicBezTo>
                        <a:lnTo>
                          <a:pt x="163" y="1556238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eform 40">
                    <a:extLst>
                      <a:ext uri="{FF2B5EF4-FFF2-40B4-BE49-F238E27FC236}">
                        <a16:creationId xmlns:a16="http://schemas.microsoft.com/office/drawing/2014/main" id="{204B21E7-C4D2-08FA-7422-C6598575CB38}"/>
                      </a:ext>
                    </a:extLst>
                  </p:cNvPr>
                  <p:cNvSpPr/>
                  <p:nvPr/>
                </p:nvSpPr>
                <p:spPr>
                  <a:xfrm>
                    <a:off x="-12394315" y="2721448"/>
                    <a:ext cx="481974" cy="928012"/>
                  </a:xfrm>
                  <a:custGeom>
                    <a:avLst/>
                    <a:gdLst>
                      <a:gd name="connsiteX0" fmla="*/ 435365 w 481974"/>
                      <a:gd name="connsiteY0" fmla="*/ 1517 h 928012"/>
                      <a:gd name="connsiteX1" fmla="*/ 95485 w 481974"/>
                      <a:gd name="connsiteY1" fmla="*/ 95595 h 928012"/>
                      <a:gd name="connsiteX2" fmla="*/ 6782 w 481974"/>
                      <a:gd name="connsiteY2" fmla="*/ 864043 h 928012"/>
                      <a:gd name="connsiteX3" fmla="*/ 304507 w 481974"/>
                      <a:gd name="connsiteY3" fmla="*/ 921193 h 928012"/>
                      <a:gd name="connsiteX4" fmla="*/ 435365 w 481974"/>
                      <a:gd name="connsiteY4" fmla="*/ 638 h 928012"/>
                      <a:gd name="connsiteX5" fmla="*/ 435365 w 481974"/>
                      <a:gd name="connsiteY5" fmla="*/ 638 h 928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81974" h="928012">
                        <a:moveTo>
                          <a:pt x="435365" y="1517"/>
                        </a:moveTo>
                        <a:cubicBezTo>
                          <a:pt x="435365" y="1517"/>
                          <a:pt x="179796" y="-19584"/>
                          <a:pt x="95485" y="95595"/>
                        </a:cubicBezTo>
                        <a:cubicBezTo>
                          <a:pt x="95485" y="95595"/>
                          <a:pt x="-30104" y="576534"/>
                          <a:pt x="6782" y="864043"/>
                        </a:cubicBezTo>
                        <a:cubicBezTo>
                          <a:pt x="6782" y="864043"/>
                          <a:pt x="6782" y="952845"/>
                          <a:pt x="304507" y="921193"/>
                        </a:cubicBezTo>
                        <a:cubicBezTo>
                          <a:pt x="602231" y="889540"/>
                          <a:pt x="435365" y="638"/>
                          <a:pt x="435365" y="638"/>
                        </a:cubicBezTo>
                        <a:lnTo>
                          <a:pt x="435365" y="6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eform 41">
                    <a:extLst>
                      <a:ext uri="{FF2B5EF4-FFF2-40B4-BE49-F238E27FC236}">
                        <a16:creationId xmlns:a16="http://schemas.microsoft.com/office/drawing/2014/main" id="{03C0D732-24A3-FEBA-1752-E16809F4A388}"/>
                      </a:ext>
                    </a:extLst>
                  </p:cNvPr>
                  <p:cNvSpPr/>
                  <p:nvPr/>
                </p:nvSpPr>
                <p:spPr>
                  <a:xfrm>
                    <a:off x="-12347065" y="2669332"/>
                    <a:ext cx="1228076" cy="1249386"/>
                  </a:xfrm>
                  <a:custGeom>
                    <a:avLst/>
                    <a:gdLst>
                      <a:gd name="connsiteX0" fmla="*/ 97416 w 1228076"/>
                      <a:gd name="connsiteY0" fmla="*/ 886265 h 1249386"/>
                      <a:gd name="connsiteX1" fmla="*/ 158015 w 1228076"/>
                      <a:gd name="connsiteY1" fmla="*/ 914400 h 1249386"/>
                      <a:gd name="connsiteX2" fmla="*/ 158015 w 1228076"/>
                      <a:gd name="connsiteY2" fmla="*/ 911762 h 1249386"/>
                      <a:gd name="connsiteX3" fmla="*/ 185240 w 1228076"/>
                      <a:gd name="connsiteY3" fmla="*/ 911762 h 1249386"/>
                      <a:gd name="connsiteX4" fmla="*/ 220370 w 1228076"/>
                      <a:gd name="connsiteY4" fmla="*/ 903849 h 1249386"/>
                      <a:gd name="connsiteX5" fmla="*/ 220370 w 1228076"/>
                      <a:gd name="connsiteY5" fmla="*/ 917038 h 1249386"/>
                      <a:gd name="connsiteX6" fmla="*/ 245839 w 1228076"/>
                      <a:gd name="connsiteY6" fmla="*/ 1215097 h 1249386"/>
                      <a:gd name="connsiteX7" fmla="*/ 929990 w 1228076"/>
                      <a:gd name="connsiteY7" fmla="*/ 1227406 h 1249386"/>
                      <a:gd name="connsiteX8" fmla="*/ 1035379 w 1228076"/>
                      <a:gd name="connsiteY8" fmla="*/ 1249387 h 1249386"/>
                      <a:gd name="connsiteX9" fmla="*/ 1080169 w 1228076"/>
                      <a:gd name="connsiteY9" fmla="*/ 1227406 h 1249386"/>
                      <a:gd name="connsiteX10" fmla="*/ 1217175 w 1228076"/>
                      <a:gd name="connsiteY10" fmla="*/ 891540 h 1249386"/>
                      <a:gd name="connsiteX11" fmla="*/ 1224201 w 1228076"/>
                      <a:gd name="connsiteY11" fmla="*/ 762293 h 1249386"/>
                      <a:gd name="connsiteX12" fmla="*/ 1153064 w 1228076"/>
                      <a:gd name="connsiteY12" fmla="*/ 324436 h 1249386"/>
                      <a:gd name="connsiteX13" fmla="*/ 785958 w 1228076"/>
                      <a:gd name="connsiteY13" fmla="*/ 0 h 1249386"/>
                      <a:gd name="connsiteX14" fmla="*/ 522485 w 1228076"/>
                      <a:gd name="connsiteY14" fmla="*/ 21981 h 1249386"/>
                      <a:gd name="connsiteX15" fmla="*/ 508433 w 1228076"/>
                      <a:gd name="connsiteY15" fmla="*/ 19343 h 1249386"/>
                      <a:gd name="connsiteX16" fmla="*/ 503164 w 1228076"/>
                      <a:gd name="connsiteY16" fmla="*/ 19343 h 1249386"/>
                      <a:gd name="connsiteX17" fmla="*/ 491747 w 1228076"/>
                      <a:gd name="connsiteY17" fmla="*/ 22860 h 1249386"/>
                      <a:gd name="connsiteX18" fmla="*/ 200170 w 1228076"/>
                      <a:gd name="connsiteY18" fmla="*/ 144194 h 1249386"/>
                      <a:gd name="connsiteX19" fmla="*/ 4322 w 1228076"/>
                      <a:gd name="connsiteY19" fmla="*/ 659423 h 1249386"/>
                      <a:gd name="connsiteX20" fmla="*/ 98294 w 1228076"/>
                      <a:gd name="connsiteY20" fmla="*/ 888023 h 1249386"/>
                      <a:gd name="connsiteX21" fmla="*/ 97416 w 1228076"/>
                      <a:gd name="connsiteY21" fmla="*/ 888023 h 1249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228076" h="1249386">
                        <a:moveTo>
                          <a:pt x="97416" y="886265"/>
                        </a:moveTo>
                        <a:cubicBezTo>
                          <a:pt x="123763" y="901211"/>
                          <a:pt x="127276" y="902970"/>
                          <a:pt x="158015" y="914400"/>
                        </a:cubicBezTo>
                        <a:lnTo>
                          <a:pt x="158015" y="911762"/>
                        </a:lnTo>
                        <a:cubicBezTo>
                          <a:pt x="166797" y="912641"/>
                          <a:pt x="175580" y="912641"/>
                          <a:pt x="185240" y="911762"/>
                        </a:cubicBezTo>
                        <a:cubicBezTo>
                          <a:pt x="197536" y="910004"/>
                          <a:pt x="208953" y="906487"/>
                          <a:pt x="220370" y="903849"/>
                        </a:cubicBezTo>
                        <a:lnTo>
                          <a:pt x="220370" y="917038"/>
                        </a:lnTo>
                        <a:cubicBezTo>
                          <a:pt x="225639" y="1131570"/>
                          <a:pt x="245839" y="1215097"/>
                          <a:pt x="245839" y="1215097"/>
                        </a:cubicBezTo>
                        <a:cubicBezTo>
                          <a:pt x="245839" y="1215097"/>
                          <a:pt x="763124" y="1237957"/>
                          <a:pt x="929990" y="1227406"/>
                        </a:cubicBezTo>
                        <a:lnTo>
                          <a:pt x="1035379" y="1249387"/>
                        </a:lnTo>
                        <a:lnTo>
                          <a:pt x="1080169" y="1227406"/>
                        </a:lnTo>
                        <a:cubicBezTo>
                          <a:pt x="1159211" y="1187841"/>
                          <a:pt x="1182924" y="1014632"/>
                          <a:pt x="1217175" y="891540"/>
                        </a:cubicBezTo>
                        <a:cubicBezTo>
                          <a:pt x="1228592" y="849337"/>
                          <a:pt x="1231227" y="805375"/>
                          <a:pt x="1224201" y="762293"/>
                        </a:cubicBezTo>
                        <a:lnTo>
                          <a:pt x="1153064" y="324436"/>
                        </a:lnTo>
                        <a:cubicBezTo>
                          <a:pt x="1124082" y="86165"/>
                          <a:pt x="785958" y="0"/>
                          <a:pt x="785958" y="0"/>
                        </a:cubicBezTo>
                        <a:cubicBezTo>
                          <a:pt x="680569" y="43962"/>
                          <a:pt x="566398" y="29894"/>
                          <a:pt x="522485" y="21981"/>
                        </a:cubicBezTo>
                        <a:cubicBezTo>
                          <a:pt x="518094" y="20222"/>
                          <a:pt x="512825" y="19343"/>
                          <a:pt x="508433" y="19343"/>
                        </a:cubicBezTo>
                        <a:cubicBezTo>
                          <a:pt x="504042" y="19343"/>
                          <a:pt x="503164" y="19343"/>
                          <a:pt x="503164" y="19343"/>
                        </a:cubicBezTo>
                        <a:lnTo>
                          <a:pt x="491747" y="22860"/>
                        </a:lnTo>
                        <a:cubicBezTo>
                          <a:pt x="431148" y="36049"/>
                          <a:pt x="260769" y="96715"/>
                          <a:pt x="200170" y="144194"/>
                        </a:cubicBezTo>
                        <a:cubicBezTo>
                          <a:pt x="125520" y="202223"/>
                          <a:pt x="45600" y="465113"/>
                          <a:pt x="4322" y="659423"/>
                        </a:cubicBezTo>
                        <a:cubicBezTo>
                          <a:pt x="-13243" y="743829"/>
                          <a:pt x="23644" y="844941"/>
                          <a:pt x="98294" y="888023"/>
                        </a:cubicBezTo>
                        <a:lnTo>
                          <a:pt x="97416" y="8880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eform 42">
                    <a:extLst>
                      <a:ext uri="{FF2B5EF4-FFF2-40B4-BE49-F238E27FC236}">
                        <a16:creationId xmlns:a16="http://schemas.microsoft.com/office/drawing/2014/main" id="{284033AB-6B30-E9EB-7F66-0D0D3B866B18}"/>
                      </a:ext>
                    </a:extLst>
                  </p:cNvPr>
                  <p:cNvSpPr/>
                  <p:nvPr/>
                </p:nvSpPr>
                <p:spPr>
                  <a:xfrm>
                    <a:off x="-11912333" y="2136257"/>
                    <a:ext cx="421914" cy="572934"/>
                  </a:xfrm>
                  <a:custGeom>
                    <a:avLst/>
                    <a:gdLst>
                      <a:gd name="connsiteX0" fmla="*/ 35937 w 421914"/>
                      <a:gd name="connsiteY0" fmla="*/ 108407 h 572934"/>
                      <a:gd name="connsiteX1" fmla="*/ 63163 w 421914"/>
                      <a:gd name="connsiteY1" fmla="*/ 60050 h 572934"/>
                      <a:gd name="connsiteX2" fmla="*/ 173821 w 421914"/>
                      <a:gd name="connsiteY2" fmla="*/ 8175 h 572934"/>
                      <a:gd name="connsiteX3" fmla="*/ 288871 w 421914"/>
                      <a:gd name="connsiteY3" fmla="*/ 21364 h 572934"/>
                      <a:gd name="connsiteX4" fmla="*/ 306436 w 421914"/>
                      <a:gd name="connsiteY4" fmla="*/ 73238 h 572934"/>
                      <a:gd name="connsiteX5" fmla="*/ 367913 w 421914"/>
                      <a:gd name="connsiteY5" fmla="*/ 169074 h 572934"/>
                      <a:gd name="connsiteX6" fmla="*/ 421486 w 421914"/>
                      <a:gd name="connsiteY6" fmla="*/ 229741 h 572934"/>
                      <a:gd name="connsiteX7" fmla="*/ 406556 w 421914"/>
                      <a:gd name="connsiteY7" fmla="*/ 255239 h 572934"/>
                      <a:gd name="connsiteX8" fmla="*/ 407434 w 421914"/>
                      <a:gd name="connsiteY8" fmla="*/ 286012 h 572934"/>
                      <a:gd name="connsiteX9" fmla="*/ 389869 w 421914"/>
                      <a:gd name="connsiteY9" fmla="*/ 307113 h 572934"/>
                      <a:gd name="connsiteX10" fmla="*/ 407434 w 421914"/>
                      <a:gd name="connsiteY10" fmla="*/ 304476 h 572934"/>
                      <a:gd name="connsiteX11" fmla="*/ 407434 w 421914"/>
                      <a:gd name="connsiteY11" fmla="*/ 325577 h 572934"/>
                      <a:gd name="connsiteX12" fmla="*/ 411825 w 421914"/>
                      <a:gd name="connsiteY12" fmla="*/ 375693 h 572934"/>
                      <a:gd name="connsiteX13" fmla="*/ 325757 w 421914"/>
                      <a:gd name="connsiteY13" fmla="*/ 407346 h 572934"/>
                      <a:gd name="connsiteX14" fmla="*/ 309949 w 421914"/>
                      <a:gd name="connsiteY14" fmla="*/ 511974 h 572934"/>
                      <a:gd name="connsiteX15" fmla="*/ 350348 w 421914"/>
                      <a:gd name="connsiteY15" fmla="*/ 533955 h 572934"/>
                      <a:gd name="connsiteX16" fmla="*/ 53502 w 421914"/>
                      <a:gd name="connsiteY16" fmla="*/ 555057 h 572934"/>
                      <a:gd name="connsiteX17" fmla="*/ 103562 w 421914"/>
                      <a:gd name="connsiteY17" fmla="*/ 520767 h 572934"/>
                      <a:gd name="connsiteX18" fmla="*/ 128153 w 421914"/>
                      <a:gd name="connsiteY18" fmla="*/ 395916 h 572934"/>
                      <a:gd name="connsiteX19" fmla="*/ 116736 w 421914"/>
                      <a:gd name="connsiteY19" fmla="*/ 384486 h 572934"/>
                      <a:gd name="connsiteX20" fmla="*/ 49111 w 421914"/>
                      <a:gd name="connsiteY20" fmla="*/ 309751 h 572934"/>
                      <a:gd name="connsiteX21" fmla="*/ 35059 w 421914"/>
                      <a:gd name="connsiteY21" fmla="*/ 108407 h 572934"/>
                      <a:gd name="connsiteX22" fmla="*/ 35059 w 421914"/>
                      <a:gd name="connsiteY22" fmla="*/ 108407 h 572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421914" h="572934">
                        <a:moveTo>
                          <a:pt x="35937" y="108407"/>
                        </a:moveTo>
                        <a:cubicBezTo>
                          <a:pt x="41207" y="90823"/>
                          <a:pt x="49989" y="74117"/>
                          <a:pt x="63163" y="60050"/>
                        </a:cubicBezTo>
                        <a:cubicBezTo>
                          <a:pt x="102684" y="16967"/>
                          <a:pt x="173821" y="8175"/>
                          <a:pt x="173821" y="8175"/>
                        </a:cubicBezTo>
                        <a:cubicBezTo>
                          <a:pt x="239689" y="-11168"/>
                          <a:pt x="266037" y="8175"/>
                          <a:pt x="288871" y="21364"/>
                        </a:cubicBezTo>
                        <a:cubicBezTo>
                          <a:pt x="330148" y="47740"/>
                          <a:pt x="312584" y="67084"/>
                          <a:pt x="306436" y="73238"/>
                        </a:cubicBezTo>
                        <a:cubicBezTo>
                          <a:pt x="314340" y="79393"/>
                          <a:pt x="370548" y="126871"/>
                          <a:pt x="367913" y="169074"/>
                        </a:cubicBezTo>
                        <a:cubicBezTo>
                          <a:pt x="367913" y="181383"/>
                          <a:pt x="421486" y="229741"/>
                          <a:pt x="421486" y="229741"/>
                        </a:cubicBezTo>
                        <a:cubicBezTo>
                          <a:pt x="421486" y="229741"/>
                          <a:pt x="425877" y="247326"/>
                          <a:pt x="406556" y="255239"/>
                        </a:cubicBezTo>
                        <a:cubicBezTo>
                          <a:pt x="388112" y="263152"/>
                          <a:pt x="407434" y="286012"/>
                          <a:pt x="407434" y="286012"/>
                        </a:cubicBezTo>
                        <a:cubicBezTo>
                          <a:pt x="407434" y="286012"/>
                          <a:pt x="417094" y="298321"/>
                          <a:pt x="389869" y="307113"/>
                        </a:cubicBezTo>
                        <a:cubicBezTo>
                          <a:pt x="383721" y="308872"/>
                          <a:pt x="402164" y="302717"/>
                          <a:pt x="407434" y="304476"/>
                        </a:cubicBezTo>
                        <a:cubicBezTo>
                          <a:pt x="407434" y="304476"/>
                          <a:pt x="413582" y="315027"/>
                          <a:pt x="407434" y="325577"/>
                        </a:cubicBezTo>
                        <a:cubicBezTo>
                          <a:pt x="401286" y="335249"/>
                          <a:pt x="415338" y="364263"/>
                          <a:pt x="411825" y="375693"/>
                        </a:cubicBezTo>
                        <a:cubicBezTo>
                          <a:pt x="407434" y="392399"/>
                          <a:pt x="360009" y="402070"/>
                          <a:pt x="325757" y="407346"/>
                        </a:cubicBezTo>
                        <a:lnTo>
                          <a:pt x="309949" y="511974"/>
                        </a:lnTo>
                        <a:cubicBezTo>
                          <a:pt x="324879" y="531317"/>
                          <a:pt x="350348" y="533955"/>
                          <a:pt x="350348" y="533955"/>
                        </a:cubicBezTo>
                        <a:cubicBezTo>
                          <a:pt x="264280" y="606931"/>
                          <a:pt x="53502" y="555057"/>
                          <a:pt x="53502" y="555057"/>
                        </a:cubicBezTo>
                        <a:cubicBezTo>
                          <a:pt x="85119" y="548902"/>
                          <a:pt x="98292" y="530438"/>
                          <a:pt x="103562" y="520767"/>
                        </a:cubicBezTo>
                        <a:lnTo>
                          <a:pt x="128153" y="395916"/>
                        </a:lnTo>
                        <a:cubicBezTo>
                          <a:pt x="124640" y="395916"/>
                          <a:pt x="120248" y="391520"/>
                          <a:pt x="116736" y="384486"/>
                        </a:cubicBezTo>
                        <a:cubicBezTo>
                          <a:pt x="109710" y="370418"/>
                          <a:pt x="85997" y="340524"/>
                          <a:pt x="49111" y="309751"/>
                        </a:cubicBezTo>
                        <a:cubicBezTo>
                          <a:pt x="-71" y="268427"/>
                          <a:pt x="-24662" y="198089"/>
                          <a:pt x="35059" y="108407"/>
                        </a:cubicBezTo>
                        <a:lnTo>
                          <a:pt x="35059" y="10840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eform 43">
                    <a:extLst>
                      <a:ext uri="{FF2B5EF4-FFF2-40B4-BE49-F238E27FC236}">
                        <a16:creationId xmlns:a16="http://schemas.microsoft.com/office/drawing/2014/main" id="{49472F55-37E2-1094-D66F-E34753745EC6}"/>
                      </a:ext>
                    </a:extLst>
                  </p:cNvPr>
                  <p:cNvSpPr/>
                  <p:nvPr/>
                </p:nvSpPr>
                <p:spPr>
                  <a:xfrm>
                    <a:off x="-11908820" y="2136257"/>
                    <a:ext cx="419414" cy="414617"/>
                  </a:xfrm>
                  <a:custGeom>
                    <a:avLst/>
                    <a:gdLst>
                      <a:gd name="connsiteX0" fmla="*/ 32424 w 419414"/>
                      <a:gd name="connsiteY0" fmla="*/ 108407 h 414617"/>
                      <a:gd name="connsiteX1" fmla="*/ 59650 w 419414"/>
                      <a:gd name="connsiteY1" fmla="*/ 60050 h 414617"/>
                      <a:gd name="connsiteX2" fmla="*/ 170308 w 419414"/>
                      <a:gd name="connsiteY2" fmla="*/ 8175 h 414617"/>
                      <a:gd name="connsiteX3" fmla="*/ 285358 w 419414"/>
                      <a:gd name="connsiteY3" fmla="*/ 21364 h 414617"/>
                      <a:gd name="connsiteX4" fmla="*/ 302923 w 419414"/>
                      <a:gd name="connsiteY4" fmla="*/ 73238 h 414617"/>
                      <a:gd name="connsiteX5" fmla="*/ 302923 w 419414"/>
                      <a:gd name="connsiteY5" fmla="*/ 73238 h 414617"/>
                      <a:gd name="connsiteX6" fmla="*/ 249350 w 419414"/>
                      <a:gd name="connsiteY6" fmla="*/ 122475 h 414617"/>
                      <a:gd name="connsiteX7" fmla="*/ 217733 w 419414"/>
                      <a:gd name="connsiteY7" fmla="*/ 223587 h 414617"/>
                      <a:gd name="connsiteX8" fmla="*/ 325757 w 419414"/>
                      <a:gd name="connsiteY8" fmla="*/ 344920 h 414617"/>
                      <a:gd name="connsiteX9" fmla="*/ 339809 w 419414"/>
                      <a:gd name="connsiteY9" fmla="*/ 290408 h 414617"/>
                      <a:gd name="connsiteX10" fmla="*/ 396017 w 419414"/>
                      <a:gd name="connsiteY10" fmla="*/ 261394 h 414617"/>
                      <a:gd name="connsiteX11" fmla="*/ 403043 w 419414"/>
                      <a:gd name="connsiteY11" fmla="*/ 282495 h 414617"/>
                      <a:gd name="connsiteX12" fmla="*/ 361765 w 419414"/>
                      <a:gd name="connsiteY12" fmla="*/ 304476 h 414617"/>
                      <a:gd name="connsiteX13" fmla="*/ 361765 w 419414"/>
                      <a:gd name="connsiteY13" fmla="*/ 355471 h 414617"/>
                      <a:gd name="connsiteX14" fmla="*/ 410069 w 419414"/>
                      <a:gd name="connsiteY14" fmla="*/ 344920 h 414617"/>
                      <a:gd name="connsiteX15" fmla="*/ 413581 w 419414"/>
                      <a:gd name="connsiteY15" fmla="*/ 395916 h 414617"/>
                      <a:gd name="connsiteX16" fmla="*/ 288871 w 419414"/>
                      <a:gd name="connsiteY16" fmla="*/ 403829 h 414617"/>
                      <a:gd name="connsiteX17" fmla="*/ 217733 w 419414"/>
                      <a:gd name="connsiteY17" fmla="*/ 272823 h 414617"/>
                      <a:gd name="connsiteX18" fmla="*/ 210707 w 419414"/>
                      <a:gd name="connsiteY18" fmla="*/ 263152 h 414617"/>
                      <a:gd name="connsiteX19" fmla="*/ 141326 w 419414"/>
                      <a:gd name="connsiteY19" fmla="*/ 311510 h 414617"/>
                      <a:gd name="connsiteX20" fmla="*/ 162404 w 419414"/>
                      <a:gd name="connsiteY20" fmla="*/ 337887 h 414617"/>
                      <a:gd name="connsiteX21" fmla="*/ 142205 w 419414"/>
                      <a:gd name="connsiteY21" fmla="*/ 383607 h 414617"/>
                      <a:gd name="connsiteX22" fmla="*/ 116735 w 419414"/>
                      <a:gd name="connsiteY22" fmla="*/ 385365 h 414617"/>
                      <a:gd name="connsiteX23" fmla="*/ 49111 w 419414"/>
                      <a:gd name="connsiteY23" fmla="*/ 310630 h 414617"/>
                      <a:gd name="connsiteX24" fmla="*/ 35059 w 419414"/>
                      <a:gd name="connsiteY24" fmla="*/ 109287 h 414617"/>
                      <a:gd name="connsiteX25" fmla="*/ 33302 w 419414"/>
                      <a:gd name="connsiteY25" fmla="*/ 109287 h 4146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19414" h="414617">
                        <a:moveTo>
                          <a:pt x="32424" y="108407"/>
                        </a:moveTo>
                        <a:cubicBezTo>
                          <a:pt x="37694" y="90823"/>
                          <a:pt x="46476" y="74117"/>
                          <a:pt x="59650" y="60050"/>
                        </a:cubicBezTo>
                        <a:cubicBezTo>
                          <a:pt x="99171" y="16967"/>
                          <a:pt x="170308" y="8175"/>
                          <a:pt x="170308" y="8175"/>
                        </a:cubicBezTo>
                        <a:cubicBezTo>
                          <a:pt x="236176" y="-11168"/>
                          <a:pt x="262524" y="8175"/>
                          <a:pt x="285358" y="21364"/>
                        </a:cubicBezTo>
                        <a:cubicBezTo>
                          <a:pt x="326636" y="47740"/>
                          <a:pt x="309071" y="67084"/>
                          <a:pt x="302923" y="73238"/>
                        </a:cubicBezTo>
                        <a:lnTo>
                          <a:pt x="302923" y="73238"/>
                        </a:lnTo>
                        <a:cubicBezTo>
                          <a:pt x="302923" y="73238"/>
                          <a:pt x="286236" y="107528"/>
                          <a:pt x="249350" y="122475"/>
                        </a:cubicBezTo>
                        <a:cubicBezTo>
                          <a:pt x="170308" y="153248"/>
                          <a:pt x="214220" y="214794"/>
                          <a:pt x="217733" y="223587"/>
                        </a:cubicBezTo>
                        <a:cubicBezTo>
                          <a:pt x="224759" y="240292"/>
                          <a:pt x="287115" y="322060"/>
                          <a:pt x="325757" y="344920"/>
                        </a:cubicBezTo>
                        <a:cubicBezTo>
                          <a:pt x="327514" y="330853"/>
                          <a:pt x="331905" y="303597"/>
                          <a:pt x="339809" y="290408"/>
                        </a:cubicBezTo>
                        <a:cubicBezTo>
                          <a:pt x="352104" y="270186"/>
                          <a:pt x="396017" y="261394"/>
                          <a:pt x="396017" y="261394"/>
                        </a:cubicBezTo>
                        <a:cubicBezTo>
                          <a:pt x="400408" y="266669"/>
                          <a:pt x="403043" y="276340"/>
                          <a:pt x="403043" y="282495"/>
                        </a:cubicBezTo>
                        <a:cubicBezTo>
                          <a:pt x="403043" y="282495"/>
                          <a:pt x="381087" y="278978"/>
                          <a:pt x="361765" y="304476"/>
                        </a:cubicBezTo>
                        <a:cubicBezTo>
                          <a:pt x="354739" y="313268"/>
                          <a:pt x="358252" y="344920"/>
                          <a:pt x="361765" y="355471"/>
                        </a:cubicBezTo>
                        <a:cubicBezTo>
                          <a:pt x="399530" y="351075"/>
                          <a:pt x="410069" y="344920"/>
                          <a:pt x="410069" y="344920"/>
                        </a:cubicBezTo>
                        <a:cubicBezTo>
                          <a:pt x="410069" y="344920"/>
                          <a:pt x="428512" y="379210"/>
                          <a:pt x="413581" y="395916"/>
                        </a:cubicBezTo>
                        <a:cubicBezTo>
                          <a:pt x="397773" y="412621"/>
                          <a:pt x="311705" y="424051"/>
                          <a:pt x="288871" y="403829"/>
                        </a:cubicBezTo>
                        <a:cubicBezTo>
                          <a:pt x="267793" y="385365"/>
                          <a:pt x="226516" y="292167"/>
                          <a:pt x="217733" y="272823"/>
                        </a:cubicBezTo>
                        <a:cubicBezTo>
                          <a:pt x="215977" y="271065"/>
                          <a:pt x="213342" y="268427"/>
                          <a:pt x="210707" y="263152"/>
                        </a:cubicBezTo>
                        <a:cubicBezTo>
                          <a:pt x="168552" y="192813"/>
                          <a:pt x="96536" y="231500"/>
                          <a:pt x="141326" y="311510"/>
                        </a:cubicBezTo>
                        <a:cubicBezTo>
                          <a:pt x="147474" y="322060"/>
                          <a:pt x="154500" y="330853"/>
                          <a:pt x="162404" y="337887"/>
                        </a:cubicBezTo>
                        <a:cubicBezTo>
                          <a:pt x="150987" y="358109"/>
                          <a:pt x="146596" y="373056"/>
                          <a:pt x="142205" y="383607"/>
                        </a:cubicBezTo>
                        <a:cubicBezTo>
                          <a:pt x="135179" y="400312"/>
                          <a:pt x="124640" y="401191"/>
                          <a:pt x="116735" y="385365"/>
                        </a:cubicBezTo>
                        <a:cubicBezTo>
                          <a:pt x="109709" y="371297"/>
                          <a:pt x="85997" y="341403"/>
                          <a:pt x="49111" y="310630"/>
                        </a:cubicBezTo>
                        <a:cubicBezTo>
                          <a:pt x="-71" y="269307"/>
                          <a:pt x="-24662" y="198968"/>
                          <a:pt x="35059" y="109287"/>
                        </a:cubicBezTo>
                        <a:lnTo>
                          <a:pt x="33302" y="109287"/>
                        </a:lnTo>
                        <a:close/>
                      </a:path>
                    </a:pathLst>
                  </a:custGeom>
                  <a:solidFill>
                    <a:srgbClr val="4D260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eform 44">
                    <a:extLst>
                      <a:ext uri="{FF2B5EF4-FFF2-40B4-BE49-F238E27FC236}">
                        <a16:creationId xmlns:a16="http://schemas.microsoft.com/office/drawing/2014/main" id="{B1F7E57D-74A7-92DA-C4C9-1ED4682052A5}"/>
                      </a:ext>
                    </a:extLst>
                  </p:cNvPr>
                  <p:cNvSpPr/>
                  <p:nvPr/>
                </p:nvSpPr>
                <p:spPr>
                  <a:xfrm>
                    <a:off x="-11589492" y="5467924"/>
                    <a:ext cx="418819" cy="329711"/>
                  </a:xfrm>
                  <a:custGeom>
                    <a:avLst/>
                    <a:gdLst>
                      <a:gd name="connsiteX0" fmla="*/ 32777 w 418819"/>
                      <a:gd name="connsiteY0" fmla="*/ 41324 h 329711"/>
                      <a:gd name="connsiteX1" fmla="*/ 6430 w 418819"/>
                      <a:gd name="connsiteY1" fmla="*/ 35169 h 329711"/>
                      <a:gd name="connsiteX2" fmla="*/ 14334 w 418819"/>
                      <a:gd name="connsiteY2" fmla="*/ 151228 h 329711"/>
                      <a:gd name="connsiteX3" fmla="*/ 282 w 418819"/>
                      <a:gd name="connsiteY3" fmla="*/ 277837 h 329711"/>
                      <a:gd name="connsiteX4" fmla="*/ 282 w 418819"/>
                      <a:gd name="connsiteY4" fmla="*/ 329712 h 329711"/>
                      <a:gd name="connsiteX5" fmla="*/ 129384 w 418819"/>
                      <a:gd name="connsiteY5" fmla="*/ 329712 h 329711"/>
                      <a:gd name="connsiteX6" fmla="*/ 138166 w 418819"/>
                      <a:gd name="connsiteY6" fmla="*/ 291025 h 329711"/>
                      <a:gd name="connsiteX7" fmla="*/ 209304 w 418819"/>
                      <a:gd name="connsiteY7" fmla="*/ 329712 h 329711"/>
                      <a:gd name="connsiteX8" fmla="*/ 413934 w 418819"/>
                      <a:gd name="connsiteY8" fmla="*/ 329712 h 329711"/>
                      <a:gd name="connsiteX9" fmla="*/ 418326 w 418819"/>
                      <a:gd name="connsiteY9" fmla="*/ 277837 h 329711"/>
                      <a:gd name="connsiteX10" fmla="*/ 378805 w 418819"/>
                      <a:gd name="connsiteY10" fmla="*/ 211895 h 329711"/>
                      <a:gd name="connsiteX11" fmla="*/ 204913 w 418819"/>
                      <a:gd name="connsiteY11" fmla="*/ 107266 h 329711"/>
                      <a:gd name="connsiteX12" fmla="*/ 179444 w 418819"/>
                      <a:gd name="connsiteY12" fmla="*/ 0 h 329711"/>
                      <a:gd name="connsiteX13" fmla="*/ 102158 w 418819"/>
                      <a:gd name="connsiteY13" fmla="*/ 21981 h 329711"/>
                      <a:gd name="connsiteX14" fmla="*/ 32777 w 418819"/>
                      <a:gd name="connsiteY14" fmla="*/ 41324 h 3297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18819" h="329711">
                        <a:moveTo>
                          <a:pt x="32777" y="41324"/>
                        </a:moveTo>
                        <a:cubicBezTo>
                          <a:pt x="32777" y="41324"/>
                          <a:pt x="-4987" y="10551"/>
                          <a:pt x="6430" y="35169"/>
                        </a:cubicBezTo>
                        <a:cubicBezTo>
                          <a:pt x="17847" y="59788"/>
                          <a:pt x="11699" y="137160"/>
                          <a:pt x="14334" y="151228"/>
                        </a:cubicBezTo>
                        <a:cubicBezTo>
                          <a:pt x="14334" y="151228"/>
                          <a:pt x="-2353" y="225962"/>
                          <a:pt x="282" y="277837"/>
                        </a:cubicBezTo>
                        <a:lnTo>
                          <a:pt x="282" y="329712"/>
                        </a:lnTo>
                        <a:lnTo>
                          <a:pt x="129384" y="329712"/>
                        </a:lnTo>
                        <a:lnTo>
                          <a:pt x="138166" y="291025"/>
                        </a:lnTo>
                        <a:cubicBezTo>
                          <a:pt x="138166" y="291025"/>
                          <a:pt x="179444" y="299818"/>
                          <a:pt x="209304" y="329712"/>
                        </a:cubicBezTo>
                        <a:lnTo>
                          <a:pt x="413934" y="329712"/>
                        </a:lnTo>
                        <a:lnTo>
                          <a:pt x="418326" y="277837"/>
                        </a:lnTo>
                        <a:cubicBezTo>
                          <a:pt x="418326" y="277837"/>
                          <a:pt x="426230" y="240030"/>
                          <a:pt x="378805" y="211895"/>
                        </a:cubicBezTo>
                        <a:cubicBezTo>
                          <a:pt x="356849" y="199585"/>
                          <a:pt x="261120" y="201344"/>
                          <a:pt x="204913" y="107266"/>
                        </a:cubicBezTo>
                        <a:cubicBezTo>
                          <a:pt x="166270" y="42203"/>
                          <a:pt x="179444" y="0"/>
                          <a:pt x="179444" y="0"/>
                        </a:cubicBezTo>
                        <a:cubicBezTo>
                          <a:pt x="179444" y="0"/>
                          <a:pt x="116210" y="0"/>
                          <a:pt x="102158" y="21981"/>
                        </a:cubicBezTo>
                        <a:cubicBezTo>
                          <a:pt x="88106" y="43962"/>
                          <a:pt x="32777" y="41324"/>
                          <a:pt x="32777" y="41324"/>
                        </a:cubicBez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eform 45">
                    <a:extLst>
                      <a:ext uri="{FF2B5EF4-FFF2-40B4-BE49-F238E27FC236}">
                        <a16:creationId xmlns:a16="http://schemas.microsoft.com/office/drawing/2014/main" id="{F1E2D671-21A6-8CA1-7314-B3C9BB4BFD46}"/>
                      </a:ext>
                    </a:extLst>
                  </p:cNvPr>
                  <p:cNvSpPr/>
                  <p:nvPr/>
                </p:nvSpPr>
                <p:spPr>
                  <a:xfrm>
                    <a:off x="-12205541" y="5475665"/>
                    <a:ext cx="265034" cy="329937"/>
                  </a:xfrm>
                  <a:custGeom>
                    <a:avLst/>
                    <a:gdLst>
                      <a:gd name="connsiteX0" fmla="*/ 108707 w 265034"/>
                      <a:gd name="connsiteY0" fmla="*/ 44133 h 329937"/>
                      <a:gd name="connsiteX1" fmla="*/ 55134 w 265034"/>
                      <a:gd name="connsiteY1" fmla="*/ 160192 h 329937"/>
                      <a:gd name="connsiteX2" fmla="*/ 1561 w 265034"/>
                      <a:gd name="connsiteY2" fmla="*/ 241081 h 329937"/>
                      <a:gd name="connsiteX3" fmla="*/ 1561 w 265034"/>
                      <a:gd name="connsiteY3" fmla="*/ 317574 h 329937"/>
                      <a:gd name="connsiteX4" fmla="*/ 245713 w 265034"/>
                      <a:gd name="connsiteY4" fmla="*/ 294714 h 329937"/>
                      <a:gd name="connsiteX5" fmla="*/ 263278 w 265034"/>
                      <a:gd name="connsiteY5" fmla="*/ 154037 h 329937"/>
                      <a:gd name="connsiteX6" fmla="*/ 265034 w 265034"/>
                      <a:gd name="connsiteY6" fmla="*/ 10723 h 329937"/>
                      <a:gd name="connsiteX7" fmla="*/ 125393 w 265034"/>
                      <a:gd name="connsiteY7" fmla="*/ 172 h 329937"/>
                      <a:gd name="connsiteX8" fmla="*/ 108707 w 265034"/>
                      <a:gd name="connsiteY8" fmla="*/ 44133 h 329937"/>
                      <a:gd name="connsiteX9" fmla="*/ 109585 w 265034"/>
                      <a:gd name="connsiteY9" fmla="*/ 44133 h 329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5034" h="329937">
                        <a:moveTo>
                          <a:pt x="108707" y="44133"/>
                        </a:moveTo>
                        <a:cubicBezTo>
                          <a:pt x="108707" y="44133"/>
                          <a:pt x="103437" y="117989"/>
                          <a:pt x="55134" y="160192"/>
                        </a:cubicBezTo>
                        <a:cubicBezTo>
                          <a:pt x="55134" y="160192"/>
                          <a:pt x="5074" y="192723"/>
                          <a:pt x="1561" y="241081"/>
                        </a:cubicBezTo>
                        <a:cubicBezTo>
                          <a:pt x="-1952" y="283284"/>
                          <a:pt x="1561" y="317574"/>
                          <a:pt x="1561" y="317574"/>
                        </a:cubicBezTo>
                        <a:cubicBezTo>
                          <a:pt x="1561" y="317574"/>
                          <a:pt x="200922" y="357140"/>
                          <a:pt x="245713" y="294714"/>
                        </a:cubicBezTo>
                        <a:cubicBezTo>
                          <a:pt x="245713" y="294714"/>
                          <a:pt x="268547" y="204154"/>
                          <a:pt x="263278" y="154037"/>
                        </a:cubicBezTo>
                        <a:cubicBezTo>
                          <a:pt x="258008" y="103921"/>
                          <a:pt x="265034" y="10723"/>
                          <a:pt x="265034" y="10723"/>
                        </a:cubicBezTo>
                        <a:cubicBezTo>
                          <a:pt x="265034" y="10723"/>
                          <a:pt x="133298" y="-1586"/>
                          <a:pt x="125393" y="172"/>
                        </a:cubicBezTo>
                        <a:cubicBezTo>
                          <a:pt x="118368" y="1930"/>
                          <a:pt x="108707" y="44133"/>
                          <a:pt x="108707" y="44133"/>
                        </a:cubicBezTo>
                        <a:lnTo>
                          <a:pt x="109585" y="44133"/>
                        </a:lnTo>
                        <a:close/>
                      </a:path>
                    </a:pathLst>
                  </a:custGeom>
                  <a:solidFill>
                    <a:srgbClr val="5E3930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eform 46">
                    <a:extLst>
                      <a:ext uri="{FF2B5EF4-FFF2-40B4-BE49-F238E27FC236}">
                        <a16:creationId xmlns:a16="http://schemas.microsoft.com/office/drawing/2014/main" id="{3B1AD537-B470-6695-F6B9-967349D10C25}"/>
                      </a:ext>
                    </a:extLst>
                  </p:cNvPr>
                  <p:cNvSpPr/>
                  <p:nvPr/>
                </p:nvSpPr>
                <p:spPr>
                  <a:xfrm>
                    <a:off x="-12144260" y="2715053"/>
                    <a:ext cx="329838" cy="862525"/>
                  </a:xfrm>
                  <a:custGeom>
                    <a:avLst/>
                    <a:gdLst>
                      <a:gd name="connsiteX0" fmla="*/ 103633 w 329838"/>
                      <a:gd name="connsiteY0" fmla="*/ 31652 h 862525"/>
                      <a:gd name="connsiteX1" fmla="*/ 189700 w 329838"/>
                      <a:gd name="connsiteY1" fmla="*/ 0 h 862525"/>
                      <a:gd name="connsiteX2" fmla="*/ 305628 w 329838"/>
                      <a:gd name="connsiteY2" fmla="*/ 504678 h 862525"/>
                      <a:gd name="connsiteX3" fmla="*/ 0 w 329838"/>
                      <a:gd name="connsiteY3" fmla="*/ 862525 h 862525"/>
                      <a:gd name="connsiteX4" fmla="*/ 103633 w 329838"/>
                      <a:gd name="connsiteY4" fmla="*/ 31652 h 862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9838" h="862525">
                        <a:moveTo>
                          <a:pt x="103633" y="31652"/>
                        </a:moveTo>
                        <a:lnTo>
                          <a:pt x="189700" y="0"/>
                        </a:lnTo>
                        <a:cubicBezTo>
                          <a:pt x="189700" y="0"/>
                          <a:pt x="399600" y="269924"/>
                          <a:pt x="305628" y="504678"/>
                        </a:cubicBezTo>
                        <a:cubicBezTo>
                          <a:pt x="211656" y="740312"/>
                          <a:pt x="0" y="862525"/>
                          <a:pt x="0" y="862525"/>
                        </a:cubicBezTo>
                        <a:cubicBezTo>
                          <a:pt x="0" y="862525"/>
                          <a:pt x="454051" y="622495"/>
                          <a:pt x="103633" y="3165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 47">
                    <a:extLst>
                      <a:ext uri="{FF2B5EF4-FFF2-40B4-BE49-F238E27FC236}">
                        <a16:creationId xmlns:a16="http://schemas.microsoft.com/office/drawing/2014/main" id="{C64B7A5E-A314-0262-DDDA-A0E3CFCF4C47}"/>
                      </a:ext>
                    </a:extLst>
                  </p:cNvPr>
                  <p:cNvSpPr/>
                  <p:nvPr/>
                </p:nvSpPr>
                <p:spPr>
                  <a:xfrm>
                    <a:off x="-12175876" y="2827120"/>
                    <a:ext cx="360797" cy="516625"/>
                  </a:xfrm>
                  <a:custGeom>
                    <a:avLst/>
                    <a:gdLst>
                      <a:gd name="connsiteX0" fmla="*/ 302994 w 360797"/>
                      <a:gd name="connsiteY0" fmla="*/ 35643 h 516625"/>
                      <a:gd name="connsiteX1" fmla="*/ 319680 w 360797"/>
                      <a:gd name="connsiteY1" fmla="*/ 8387 h 516625"/>
                      <a:gd name="connsiteX2" fmla="*/ 288942 w 360797"/>
                      <a:gd name="connsiteY2" fmla="*/ 3991 h 516625"/>
                      <a:gd name="connsiteX3" fmla="*/ 214291 w 360797"/>
                      <a:gd name="connsiteY3" fmla="*/ 47073 h 516625"/>
                      <a:gd name="connsiteX4" fmla="*/ 189700 w 360797"/>
                      <a:gd name="connsiteY4" fmla="*/ 149064 h 516625"/>
                      <a:gd name="connsiteX5" fmla="*/ 194970 w 360797"/>
                      <a:gd name="connsiteY5" fmla="*/ 210610 h 516625"/>
                      <a:gd name="connsiteX6" fmla="*/ 0 w 360797"/>
                      <a:gd name="connsiteY6" fmla="*/ 415471 h 516625"/>
                      <a:gd name="connsiteX7" fmla="*/ 132615 w 360797"/>
                      <a:gd name="connsiteY7" fmla="*/ 514824 h 516625"/>
                      <a:gd name="connsiteX8" fmla="*/ 262594 w 360797"/>
                      <a:gd name="connsiteY8" fmla="*/ 328427 h 516625"/>
                      <a:gd name="connsiteX9" fmla="*/ 286307 w 360797"/>
                      <a:gd name="connsiteY9" fmla="*/ 224678 h 516625"/>
                      <a:gd name="connsiteX10" fmla="*/ 309141 w 360797"/>
                      <a:gd name="connsiteY10" fmla="*/ 186871 h 516625"/>
                      <a:gd name="connsiteX11" fmla="*/ 355688 w 360797"/>
                      <a:gd name="connsiteY11" fmla="*/ 127083 h 516625"/>
                      <a:gd name="connsiteX12" fmla="*/ 339880 w 360797"/>
                      <a:gd name="connsiteY12" fmla="*/ 98069 h 516625"/>
                      <a:gd name="connsiteX13" fmla="*/ 279281 w 360797"/>
                      <a:gd name="connsiteY13" fmla="*/ 153460 h 516625"/>
                      <a:gd name="connsiteX14" fmla="*/ 346028 w 360797"/>
                      <a:gd name="connsiteY14" fmla="*/ 91914 h 516625"/>
                      <a:gd name="connsiteX15" fmla="*/ 335489 w 360797"/>
                      <a:gd name="connsiteY15" fmla="*/ 61141 h 516625"/>
                      <a:gd name="connsiteX16" fmla="*/ 262594 w 360797"/>
                      <a:gd name="connsiteY16" fmla="*/ 113016 h 516625"/>
                      <a:gd name="connsiteX17" fmla="*/ 329341 w 360797"/>
                      <a:gd name="connsiteY17" fmla="*/ 56745 h 516625"/>
                      <a:gd name="connsiteX18" fmla="*/ 302115 w 360797"/>
                      <a:gd name="connsiteY18" fmla="*/ 35643 h 516625"/>
                      <a:gd name="connsiteX19" fmla="*/ 247664 w 360797"/>
                      <a:gd name="connsiteY19" fmla="*/ 73450 h 516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60797" h="516625">
                        <a:moveTo>
                          <a:pt x="302994" y="35643"/>
                        </a:moveTo>
                        <a:cubicBezTo>
                          <a:pt x="302994" y="35643"/>
                          <a:pt x="328463" y="24213"/>
                          <a:pt x="319680" y="8387"/>
                        </a:cubicBezTo>
                        <a:cubicBezTo>
                          <a:pt x="311776" y="-7439"/>
                          <a:pt x="288942" y="3991"/>
                          <a:pt x="288942" y="3991"/>
                        </a:cubicBezTo>
                        <a:cubicBezTo>
                          <a:pt x="288942" y="3991"/>
                          <a:pt x="230978" y="35643"/>
                          <a:pt x="214291" y="47073"/>
                        </a:cubicBezTo>
                        <a:cubicBezTo>
                          <a:pt x="197605" y="58503"/>
                          <a:pt x="180918" y="84880"/>
                          <a:pt x="189700" y="149064"/>
                        </a:cubicBezTo>
                        <a:cubicBezTo>
                          <a:pt x="191457" y="180716"/>
                          <a:pt x="194970" y="210610"/>
                          <a:pt x="194970" y="210610"/>
                        </a:cubicBezTo>
                        <a:cubicBezTo>
                          <a:pt x="194970" y="232591"/>
                          <a:pt x="0" y="415471"/>
                          <a:pt x="0" y="415471"/>
                        </a:cubicBezTo>
                        <a:cubicBezTo>
                          <a:pt x="0" y="415471"/>
                          <a:pt x="26347" y="532409"/>
                          <a:pt x="132615" y="514824"/>
                        </a:cubicBezTo>
                        <a:lnTo>
                          <a:pt x="262594" y="328427"/>
                        </a:lnTo>
                        <a:cubicBezTo>
                          <a:pt x="283672" y="294137"/>
                          <a:pt x="285429" y="263364"/>
                          <a:pt x="286307" y="224678"/>
                        </a:cubicBezTo>
                        <a:cubicBezTo>
                          <a:pt x="290698" y="207973"/>
                          <a:pt x="304750" y="193026"/>
                          <a:pt x="309141" y="186871"/>
                        </a:cubicBezTo>
                        <a:cubicBezTo>
                          <a:pt x="309141" y="186871"/>
                          <a:pt x="344271" y="140272"/>
                          <a:pt x="355688" y="127083"/>
                        </a:cubicBezTo>
                        <a:cubicBezTo>
                          <a:pt x="367105" y="113895"/>
                          <a:pt x="358323" y="89276"/>
                          <a:pt x="339880" y="98069"/>
                        </a:cubicBezTo>
                        <a:cubicBezTo>
                          <a:pt x="329341" y="103344"/>
                          <a:pt x="279281" y="153460"/>
                          <a:pt x="279281" y="153460"/>
                        </a:cubicBezTo>
                        <a:lnTo>
                          <a:pt x="346028" y="91914"/>
                        </a:lnTo>
                        <a:cubicBezTo>
                          <a:pt x="353053" y="85759"/>
                          <a:pt x="352175" y="55866"/>
                          <a:pt x="335489" y="61141"/>
                        </a:cubicBezTo>
                        <a:cubicBezTo>
                          <a:pt x="324071" y="64658"/>
                          <a:pt x="262594" y="113016"/>
                          <a:pt x="262594" y="113016"/>
                        </a:cubicBezTo>
                        <a:lnTo>
                          <a:pt x="329341" y="56745"/>
                        </a:lnTo>
                        <a:cubicBezTo>
                          <a:pt x="339880" y="45315"/>
                          <a:pt x="329341" y="18059"/>
                          <a:pt x="302115" y="35643"/>
                        </a:cubicBezTo>
                        <a:cubicBezTo>
                          <a:pt x="274890" y="53228"/>
                          <a:pt x="272255" y="53228"/>
                          <a:pt x="247664" y="73450"/>
                        </a:cubicBezTo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 48">
                    <a:extLst>
                      <a:ext uri="{FF2B5EF4-FFF2-40B4-BE49-F238E27FC236}">
                        <a16:creationId xmlns:a16="http://schemas.microsoft.com/office/drawing/2014/main" id="{2D9F1366-CE26-20E6-DC4E-A0C271085FA9}"/>
                      </a:ext>
                    </a:extLst>
                  </p:cNvPr>
                  <p:cNvSpPr/>
                  <p:nvPr/>
                </p:nvSpPr>
                <p:spPr>
                  <a:xfrm>
                    <a:off x="-11478552" y="3895859"/>
                    <a:ext cx="167744" cy="84406"/>
                  </a:xfrm>
                  <a:custGeom>
                    <a:avLst/>
                    <a:gdLst>
                      <a:gd name="connsiteX0" fmla="*/ 123832 w 167744"/>
                      <a:gd name="connsiteY0" fmla="*/ 84406 h 84406"/>
                      <a:gd name="connsiteX1" fmla="*/ 167744 w 167744"/>
                      <a:gd name="connsiteY1" fmla="*/ 21981 h 84406"/>
                      <a:gd name="connsiteX2" fmla="*/ 62355 w 167744"/>
                      <a:gd name="connsiteY2" fmla="*/ 0 h 84406"/>
                      <a:gd name="connsiteX3" fmla="*/ 0 w 167744"/>
                      <a:gd name="connsiteY3" fmla="*/ 2638 h 84406"/>
                      <a:gd name="connsiteX4" fmla="*/ 123832 w 167744"/>
                      <a:gd name="connsiteY4" fmla="*/ 83527 h 84406"/>
                      <a:gd name="connsiteX5" fmla="*/ 123832 w 167744"/>
                      <a:gd name="connsiteY5" fmla="*/ 83527 h 84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7744" h="84406">
                        <a:moveTo>
                          <a:pt x="123832" y="84406"/>
                        </a:moveTo>
                        <a:lnTo>
                          <a:pt x="167744" y="21981"/>
                        </a:lnTo>
                        <a:lnTo>
                          <a:pt x="62355" y="0"/>
                        </a:lnTo>
                        <a:cubicBezTo>
                          <a:pt x="62355" y="0"/>
                          <a:pt x="26347" y="2638"/>
                          <a:pt x="0" y="2638"/>
                        </a:cubicBezTo>
                        <a:cubicBezTo>
                          <a:pt x="50938" y="60667"/>
                          <a:pt x="123832" y="83527"/>
                          <a:pt x="123832" y="83527"/>
                        </a:cubicBezTo>
                        <a:lnTo>
                          <a:pt x="123832" y="83527"/>
                        </a:lnTo>
                        <a:close/>
                      </a:path>
                    </a:pathLst>
                  </a:custGeom>
                  <a:solidFill>
                    <a:srgbClr val="B38958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F7E9CC43-AB89-BFD5-458C-49518D902D99}"/>
                    </a:ext>
                  </a:extLst>
                </p:cNvPr>
                <p:cNvSpPr/>
                <p:nvPr/>
              </p:nvSpPr>
              <p:spPr>
                <a:xfrm>
                  <a:off x="-11431157" y="3442176"/>
                  <a:ext cx="73802" cy="454562"/>
                </a:xfrm>
                <a:custGeom>
                  <a:avLst/>
                  <a:gdLst>
                    <a:gd name="connsiteX0" fmla="*/ 14960 w 73802"/>
                    <a:gd name="connsiteY0" fmla="*/ 454562 h 454562"/>
                    <a:gd name="connsiteX1" fmla="*/ 30 w 73802"/>
                    <a:gd name="connsiteY1" fmla="*/ 398291 h 454562"/>
                    <a:gd name="connsiteX2" fmla="*/ 73802 w 73802"/>
                    <a:gd name="connsiteY2" fmla="*/ 0 h 454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802" h="454562">
                      <a:moveTo>
                        <a:pt x="14960" y="454562"/>
                      </a:moveTo>
                      <a:cubicBezTo>
                        <a:pt x="30" y="437857"/>
                        <a:pt x="30" y="430823"/>
                        <a:pt x="30" y="398291"/>
                      </a:cubicBezTo>
                      <a:cubicBezTo>
                        <a:pt x="-1726" y="251460"/>
                        <a:pt x="73802" y="134522"/>
                        <a:pt x="73802" y="0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39D82144-8214-F6FA-AF90-E251BBC5A05F}"/>
                    </a:ext>
                  </a:extLst>
                </p:cNvPr>
                <p:cNvSpPr/>
                <p:nvPr/>
              </p:nvSpPr>
              <p:spPr>
                <a:xfrm>
                  <a:off x="-12279509" y="3211427"/>
                  <a:ext cx="132614" cy="54023"/>
                </a:xfrm>
                <a:custGeom>
                  <a:avLst/>
                  <a:gdLst>
                    <a:gd name="connsiteX0" fmla="*/ 132615 w 132614"/>
                    <a:gd name="connsiteY0" fmla="*/ 3908 h 54023"/>
                    <a:gd name="connsiteX1" fmla="*/ 92215 w 132614"/>
                    <a:gd name="connsiteY1" fmla="*/ 3908 h 54023"/>
                    <a:gd name="connsiteX2" fmla="*/ 0 w 132614"/>
                    <a:gd name="connsiteY2" fmla="*/ 54024 h 54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2614" h="54023">
                      <a:moveTo>
                        <a:pt x="132615" y="3908"/>
                      </a:moveTo>
                      <a:cubicBezTo>
                        <a:pt x="132615" y="3908"/>
                        <a:pt x="118563" y="-4885"/>
                        <a:pt x="92215" y="3908"/>
                      </a:cubicBezTo>
                      <a:cubicBezTo>
                        <a:pt x="74651" y="9183"/>
                        <a:pt x="0" y="54024"/>
                        <a:pt x="0" y="54024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B0C3588D-5561-822D-A6E3-62F4EE15BA6F}"/>
                    </a:ext>
                  </a:extLst>
                </p:cNvPr>
                <p:cNvSpPr/>
                <p:nvPr/>
              </p:nvSpPr>
              <p:spPr>
                <a:xfrm>
                  <a:off x="-12031845" y="3319084"/>
                  <a:ext cx="21923" cy="111662"/>
                </a:xfrm>
                <a:custGeom>
                  <a:avLst/>
                  <a:gdLst>
                    <a:gd name="connsiteX0" fmla="*/ 5270 w 21923"/>
                    <a:gd name="connsiteY0" fmla="*/ 0 h 111662"/>
                    <a:gd name="connsiteX1" fmla="*/ 21078 w 21923"/>
                    <a:gd name="connsiteY1" fmla="*/ 50116 h 111662"/>
                    <a:gd name="connsiteX2" fmla="*/ 0 w 21923"/>
                    <a:gd name="connsiteY2" fmla="*/ 111662 h 11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923" h="111662">
                      <a:moveTo>
                        <a:pt x="5270" y="0"/>
                      </a:moveTo>
                      <a:cubicBezTo>
                        <a:pt x="5270" y="0"/>
                        <a:pt x="26347" y="28135"/>
                        <a:pt x="21078" y="50116"/>
                      </a:cubicBezTo>
                      <a:cubicBezTo>
                        <a:pt x="15808" y="72976"/>
                        <a:pt x="0" y="111662"/>
                        <a:pt x="0" y="111662"/>
                      </a:cubicBezTo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" name="Graphic 6">
                <a:extLst>
                  <a:ext uri="{FF2B5EF4-FFF2-40B4-BE49-F238E27FC236}">
                    <a16:creationId xmlns:a16="http://schemas.microsoft.com/office/drawing/2014/main" id="{11D2ADC8-B80E-5CD9-DB64-44CB52CC69D7}"/>
                  </a:ext>
                </a:extLst>
              </p:cNvPr>
              <p:cNvGrpSpPr/>
              <p:nvPr/>
            </p:nvGrpSpPr>
            <p:grpSpPr>
              <a:xfrm>
                <a:off x="-10159651" y="3689492"/>
                <a:ext cx="1772053" cy="2111660"/>
                <a:chOff x="-10159651" y="3689492"/>
                <a:chExt cx="1772053" cy="2111660"/>
              </a:xfrm>
            </p:grpSpPr>
            <p:grpSp>
              <p:nvGrpSpPr>
                <p:cNvPr id="21" name="Graphic 6">
                  <a:extLst>
                    <a:ext uri="{FF2B5EF4-FFF2-40B4-BE49-F238E27FC236}">
                      <a16:creationId xmlns:a16="http://schemas.microsoft.com/office/drawing/2014/main" id="{53B3B48A-CE6A-6538-A37A-E7F360B2D84D}"/>
                    </a:ext>
                  </a:extLst>
                </p:cNvPr>
                <p:cNvGrpSpPr/>
                <p:nvPr/>
              </p:nvGrpSpPr>
              <p:grpSpPr>
                <a:xfrm>
                  <a:off x="-10145379" y="3689492"/>
                  <a:ext cx="1583761" cy="2111660"/>
                  <a:chOff x="-10145379" y="3689492"/>
                  <a:chExt cx="1583761" cy="2111660"/>
                </a:xfrm>
              </p:grpSpPr>
              <p:sp>
                <p:nvSpPr>
                  <p:cNvPr id="27" name="Freeform 26">
                    <a:extLst>
                      <a:ext uri="{FF2B5EF4-FFF2-40B4-BE49-F238E27FC236}">
                        <a16:creationId xmlns:a16="http://schemas.microsoft.com/office/drawing/2014/main" id="{215CB06D-B865-45BE-BB99-CA7A75311A02}"/>
                      </a:ext>
                    </a:extLst>
                  </p:cNvPr>
                  <p:cNvSpPr/>
                  <p:nvPr/>
                </p:nvSpPr>
                <p:spPr>
                  <a:xfrm>
                    <a:off x="-9701867" y="5162831"/>
                    <a:ext cx="224829" cy="623972"/>
                  </a:xfrm>
                  <a:custGeom>
                    <a:avLst/>
                    <a:gdLst>
                      <a:gd name="connsiteX0" fmla="*/ 103633 w 224829"/>
                      <a:gd name="connsiteY0" fmla="*/ 612824 h 623972"/>
                      <a:gd name="connsiteX1" fmla="*/ 90459 w 224829"/>
                      <a:gd name="connsiteY1" fmla="*/ 563587 h 623972"/>
                      <a:gd name="connsiteX2" fmla="*/ 96607 w 224829"/>
                      <a:gd name="connsiteY2" fmla="*/ 496765 h 623972"/>
                      <a:gd name="connsiteX3" fmla="*/ 28104 w 224829"/>
                      <a:gd name="connsiteY3" fmla="*/ 125730 h 623972"/>
                      <a:gd name="connsiteX4" fmla="*/ 0 w 224829"/>
                      <a:gd name="connsiteY4" fmla="*/ 4396 h 623972"/>
                      <a:gd name="connsiteX5" fmla="*/ 180040 w 224829"/>
                      <a:gd name="connsiteY5" fmla="*/ 0 h 623972"/>
                      <a:gd name="connsiteX6" fmla="*/ 185309 w 224829"/>
                      <a:gd name="connsiteY6" fmla="*/ 118696 h 623972"/>
                      <a:gd name="connsiteX7" fmla="*/ 194970 w 224829"/>
                      <a:gd name="connsiteY7" fmla="*/ 517867 h 623972"/>
                      <a:gd name="connsiteX8" fmla="*/ 224830 w 224829"/>
                      <a:gd name="connsiteY8" fmla="*/ 556553 h 623972"/>
                      <a:gd name="connsiteX9" fmla="*/ 103633 w 224829"/>
                      <a:gd name="connsiteY9" fmla="*/ 612824 h 623972"/>
                      <a:gd name="connsiteX10" fmla="*/ 103633 w 224829"/>
                      <a:gd name="connsiteY10" fmla="*/ 612824 h 623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24829" h="623972">
                        <a:moveTo>
                          <a:pt x="103633" y="612824"/>
                        </a:moveTo>
                        <a:cubicBezTo>
                          <a:pt x="103633" y="612824"/>
                          <a:pt x="83433" y="589964"/>
                          <a:pt x="90459" y="563587"/>
                        </a:cubicBezTo>
                        <a:cubicBezTo>
                          <a:pt x="97485" y="537210"/>
                          <a:pt x="108024" y="528418"/>
                          <a:pt x="96607" y="496765"/>
                        </a:cubicBezTo>
                        <a:cubicBezTo>
                          <a:pt x="96607" y="496765"/>
                          <a:pt x="10539" y="196069"/>
                          <a:pt x="28104" y="125730"/>
                        </a:cubicBezTo>
                        <a:cubicBezTo>
                          <a:pt x="18443" y="85285"/>
                          <a:pt x="0" y="4396"/>
                          <a:pt x="0" y="4396"/>
                        </a:cubicBezTo>
                        <a:lnTo>
                          <a:pt x="180040" y="0"/>
                        </a:lnTo>
                        <a:lnTo>
                          <a:pt x="185309" y="118696"/>
                        </a:lnTo>
                        <a:lnTo>
                          <a:pt x="194970" y="517867"/>
                        </a:lnTo>
                        <a:lnTo>
                          <a:pt x="224830" y="556553"/>
                        </a:lnTo>
                        <a:cubicBezTo>
                          <a:pt x="224830" y="556553"/>
                          <a:pt x="134371" y="656785"/>
                          <a:pt x="103633" y="612824"/>
                        </a:cubicBezTo>
                        <a:lnTo>
                          <a:pt x="103633" y="612824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eform 27">
                    <a:extLst>
                      <a:ext uri="{FF2B5EF4-FFF2-40B4-BE49-F238E27FC236}">
                        <a16:creationId xmlns:a16="http://schemas.microsoft.com/office/drawing/2014/main" id="{24327F31-FBDD-2E2F-8725-31F1109BB6F8}"/>
                      </a:ext>
                    </a:extLst>
                  </p:cNvPr>
                  <p:cNvSpPr/>
                  <p:nvPr/>
                </p:nvSpPr>
                <p:spPr>
                  <a:xfrm>
                    <a:off x="-9620519" y="5684214"/>
                    <a:ext cx="289335" cy="116937"/>
                  </a:xfrm>
                  <a:custGeom>
                    <a:avLst/>
                    <a:gdLst>
                      <a:gd name="connsiteX0" fmla="*/ 276096 w 289335"/>
                      <a:gd name="connsiteY0" fmla="*/ 61546 h 116937"/>
                      <a:gd name="connsiteX1" fmla="*/ 129430 w 289335"/>
                      <a:gd name="connsiteY1" fmla="*/ 0 h 116937"/>
                      <a:gd name="connsiteX2" fmla="*/ 99569 w 289335"/>
                      <a:gd name="connsiteY2" fmla="*/ 76493 h 116937"/>
                      <a:gd name="connsiteX3" fmla="*/ 328 w 289335"/>
                      <a:gd name="connsiteY3" fmla="*/ 76493 h 116937"/>
                      <a:gd name="connsiteX4" fmla="*/ 7354 w 289335"/>
                      <a:gd name="connsiteY4" fmla="*/ 114300 h 116937"/>
                      <a:gd name="connsiteX5" fmla="*/ 264679 w 289335"/>
                      <a:gd name="connsiteY5" fmla="*/ 116938 h 116937"/>
                      <a:gd name="connsiteX6" fmla="*/ 276096 w 289335"/>
                      <a:gd name="connsiteY6" fmla="*/ 60667 h 116937"/>
                      <a:gd name="connsiteX7" fmla="*/ 276096 w 289335"/>
                      <a:gd name="connsiteY7" fmla="*/ 60667 h 116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89335" h="116937">
                        <a:moveTo>
                          <a:pt x="276096" y="61546"/>
                        </a:moveTo>
                        <a:cubicBezTo>
                          <a:pt x="246236" y="36049"/>
                          <a:pt x="129430" y="0"/>
                          <a:pt x="129430" y="0"/>
                        </a:cubicBezTo>
                        <a:cubicBezTo>
                          <a:pt x="129430" y="0"/>
                          <a:pt x="125039" y="72097"/>
                          <a:pt x="99569" y="76493"/>
                        </a:cubicBezTo>
                        <a:cubicBezTo>
                          <a:pt x="74101" y="80889"/>
                          <a:pt x="328" y="76493"/>
                          <a:pt x="328" y="76493"/>
                        </a:cubicBezTo>
                        <a:cubicBezTo>
                          <a:pt x="328" y="76493"/>
                          <a:pt x="-2306" y="109904"/>
                          <a:pt x="7354" y="114300"/>
                        </a:cubicBezTo>
                        <a:cubicBezTo>
                          <a:pt x="14380" y="116938"/>
                          <a:pt x="249749" y="116938"/>
                          <a:pt x="264679" y="116938"/>
                        </a:cubicBezTo>
                        <a:cubicBezTo>
                          <a:pt x="279609" y="116938"/>
                          <a:pt x="305078" y="86164"/>
                          <a:pt x="276096" y="60667"/>
                        </a:cubicBezTo>
                        <a:lnTo>
                          <a:pt x="276096" y="60667"/>
                        </a:lnTo>
                        <a:close/>
                      </a:path>
                    </a:pathLst>
                  </a:custGeom>
                  <a:solidFill>
                    <a:srgbClr val="281805"/>
                  </a:solidFill>
                  <a:ln w="6764" cap="flat">
                    <a:solidFill>
                      <a:srgbClr val="28180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9" name="Graphic 6">
                    <a:extLst>
                      <a:ext uri="{FF2B5EF4-FFF2-40B4-BE49-F238E27FC236}">
                        <a16:creationId xmlns:a16="http://schemas.microsoft.com/office/drawing/2014/main" id="{72D6052B-7F44-A53C-7FEA-68868F6BD3A0}"/>
                      </a:ext>
                    </a:extLst>
                  </p:cNvPr>
                  <p:cNvGrpSpPr/>
                  <p:nvPr/>
                </p:nvGrpSpPr>
                <p:grpSpPr>
                  <a:xfrm>
                    <a:off x="-10000469" y="4565833"/>
                    <a:ext cx="972045" cy="1224518"/>
                    <a:chOff x="-10000469" y="4565833"/>
                    <a:chExt cx="972045" cy="1224518"/>
                  </a:xfrm>
                </p:grpSpPr>
                <p:sp>
                  <p:nvSpPr>
                    <p:cNvPr id="34" name="Freeform 33">
                      <a:extLst>
                        <a:ext uri="{FF2B5EF4-FFF2-40B4-BE49-F238E27FC236}">
                          <a16:creationId xmlns:a16="http://schemas.microsoft.com/office/drawing/2014/main" id="{47457D96-7C73-A710-8A43-A328156D61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967975" y="5144367"/>
                      <a:ext cx="182674" cy="645984"/>
                    </a:xfrm>
                    <a:custGeom>
                      <a:avLst/>
                      <a:gdLst>
                        <a:gd name="connsiteX0" fmla="*/ 113293 w 182674"/>
                        <a:gd name="connsiteY0" fmla="*/ 605790 h 645984"/>
                        <a:gd name="connsiteX1" fmla="*/ 106267 w 182674"/>
                        <a:gd name="connsiteY1" fmla="*/ 513471 h 645984"/>
                        <a:gd name="connsiteX2" fmla="*/ 182675 w 182674"/>
                        <a:gd name="connsiteY2" fmla="*/ 7034 h 645984"/>
                        <a:gd name="connsiteX3" fmla="*/ 0 w 182674"/>
                        <a:gd name="connsiteY3" fmla="*/ 0 h 645984"/>
                        <a:gd name="connsiteX4" fmla="*/ 20200 w 182674"/>
                        <a:gd name="connsiteY4" fmla="*/ 512591 h 645984"/>
                        <a:gd name="connsiteX5" fmla="*/ 2635 w 182674"/>
                        <a:gd name="connsiteY5" fmla="*/ 622495 h 645984"/>
                        <a:gd name="connsiteX6" fmla="*/ 113293 w 182674"/>
                        <a:gd name="connsiteY6" fmla="*/ 606669 h 645984"/>
                        <a:gd name="connsiteX7" fmla="*/ 113293 w 182674"/>
                        <a:gd name="connsiteY7" fmla="*/ 606669 h 6459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82674" h="645984">
                          <a:moveTo>
                            <a:pt x="113293" y="605790"/>
                          </a:moveTo>
                          <a:cubicBezTo>
                            <a:pt x="113293" y="605790"/>
                            <a:pt x="94850" y="545123"/>
                            <a:pt x="106267" y="513471"/>
                          </a:cubicBezTo>
                          <a:lnTo>
                            <a:pt x="182675" y="7034"/>
                          </a:lnTo>
                          <a:lnTo>
                            <a:pt x="0" y="0"/>
                          </a:lnTo>
                          <a:lnTo>
                            <a:pt x="20200" y="512591"/>
                          </a:lnTo>
                          <a:cubicBezTo>
                            <a:pt x="20200" y="512591"/>
                            <a:pt x="-6148" y="584688"/>
                            <a:pt x="2635" y="622495"/>
                          </a:cubicBezTo>
                          <a:cubicBezTo>
                            <a:pt x="10539" y="660302"/>
                            <a:pt x="83433" y="650631"/>
                            <a:pt x="113293" y="606669"/>
                          </a:cubicBezTo>
                          <a:lnTo>
                            <a:pt x="113293" y="606669"/>
                          </a:lnTo>
                          <a:close/>
                        </a:path>
                      </a:pathLst>
                    </a:custGeom>
                    <a:solidFill>
                      <a:srgbClr val="DE9C74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5" name="Freeform 34">
                      <a:extLst>
                        <a:ext uri="{FF2B5EF4-FFF2-40B4-BE49-F238E27FC236}">
                          <a16:creationId xmlns:a16="http://schemas.microsoft.com/office/drawing/2014/main" id="{1C558E9A-3546-C277-41A5-015CF2EE02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000469" y="4565833"/>
                      <a:ext cx="499719" cy="602272"/>
                    </a:xfrm>
                    <a:custGeom>
                      <a:avLst/>
                      <a:gdLst>
                        <a:gd name="connsiteX0" fmla="*/ 233612 w 499719"/>
                        <a:gd name="connsiteY0" fmla="*/ 601394 h 602272"/>
                        <a:gd name="connsiteX1" fmla="*/ 0 w 499719"/>
                        <a:gd name="connsiteY1" fmla="*/ 601394 h 602272"/>
                        <a:gd name="connsiteX2" fmla="*/ 20199 w 499719"/>
                        <a:gd name="connsiteY2" fmla="*/ 135401 h 602272"/>
                        <a:gd name="connsiteX3" fmla="*/ 44790 w 499719"/>
                        <a:gd name="connsiteY3" fmla="*/ 45720 h 602272"/>
                        <a:gd name="connsiteX4" fmla="*/ 388183 w 499719"/>
                        <a:gd name="connsiteY4" fmla="*/ 0 h 602272"/>
                        <a:gd name="connsiteX5" fmla="*/ 449660 w 499719"/>
                        <a:gd name="connsiteY5" fmla="*/ 124851 h 602272"/>
                        <a:gd name="connsiteX6" fmla="*/ 499720 w 499719"/>
                        <a:gd name="connsiteY6" fmla="*/ 596998 h 602272"/>
                        <a:gd name="connsiteX7" fmla="*/ 274890 w 499719"/>
                        <a:gd name="connsiteY7" fmla="*/ 602273 h 602272"/>
                        <a:gd name="connsiteX8" fmla="*/ 259960 w 499719"/>
                        <a:gd name="connsiteY8" fmla="*/ 366639 h 602272"/>
                        <a:gd name="connsiteX9" fmla="*/ 238882 w 499719"/>
                        <a:gd name="connsiteY9" fmla="*/ 371915 h 602272"/>
                        <a:gd name="connsiteX10" fmla="*/ 233612 w 499719"/>
                        <a:gd name="connsiteY10" fmla="*/ 602273 h 602272"/>
                        <a:gd name="connsiteX11" fmla="*/ 233612 w 499719"/>
                        <a:gd name="connsiteY11" fmla="*/ 602273 h 6022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499719" h="602272">
                          <a:moveTo>
                            <a:pt x="233612" y="601394"/>
                          </a:moveTo>
                          <a:lnTo>
                            <a:pt x="0" y="601394"/>
                          </a:lnTo>
                          <a:lnTo>
                            <a:pt x="20199" y="135401"/>
                          </a:lnTo>
                          <a:lnTo>
                            <a:pt x="44790" y="45720"/>
                          </a:lnTo>
                          <a:lnTo>
                            <a:pt x="388183" y="0"/>
                          </a:lnTo>
                          <a:lnTo>
                            <a:pt x="449660" y="124851"/>
                          </a:lnTo>
                          <a:cubicBezTo>
                            <a:pt x="462834" y="160020"/>
                            <a:pt x="499720" y="596998"/>
                            <a:pt x="499720" y="596998"/>
                          </a:cubicBezTo>
                          <a:lnTo>
                            <a:pt x="274890" y="602273"/>
                          </a:lnTo>
                          <a:lnTo>
                            <a:pt x="259960" y="366639"/>
                          </a:lnTo>
                          <a:lnTo>
                            <a:pt x="238882" y="371915"/>
                          </a:lnTo>
                          <a:lnTo>
                            <a:pt x="233612" y="602273"/>
                          </a:lnTo>
                          <a:lnTo>
                            <a:pt x="233612" y="602273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764" cap="rnd">
                      <a:solidFill>
                        <a:srgbClr val="281805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" name="Freeform 29">
                    <a:extLst>
                      <a:ext uri="{FF2B5EF4-FFF2-40B4-BE49-F238E27FC236}">
                        <a16:creationId xmlns:a16="http://schemas.microsoft.com/office/drawing/2014/main" id="{3FAA6EB5-56D0-7D18-DF60-66BAEDAC788F}"/>
                      </a:ext>
                    </a:extLst>
                  </p:cNvPr>
                  <p:cNvSpPr/>
                  <p:nvPr/>
                </p:nvSpPr>
                <p:spPr>
                  <a:xfrm>
                    <a:off x="-10145379" y="4042691"/>
                    <a:ext cx="736845" cy="653268"/>
                  </a:xfrm>
                  <a:custGeom>
                    <a:avLst/>
                    <a:gdLst>
                      <a:gd name="connsiteX0" fmla="*/ 95728 w 736845"/>
                      <a:gd name="connsiteY0" fmla="*/ 109025 h 653268"/>
                      <a:gd name="connsiteX1" fmla="*/ 230978 w 736845"/>
                      <a:gd name="connsiteY1" fmla="*/ 19343 h 653268"/>
                      <a:gd name="connsiteX2" fmla="*/ 413652 w 736845"/>
                      <a:gd name="connsiteY2" fmla="*/ 0 h 653268"/>
                      <a:gd name="connsiteX3" fmla="*/ 555049 w 736845"/>
                      <a:gd name="connsiteY3" fmla="*/ 23739 h 653268"/>
                      <a:gd name="connsiteX4" fmla="*/ 663951 w 736845"/>
                      <a:gd name="connsiteY4" fmla="*/ 91440 h 653268"/>
                      <a:gd name="connsiteX5" fmla="*/ 736845 w 736845"/>
                      <a:gd name="connsiteY5" fmla="*/ 383345 h 653268"/>
                      <a:gd name="connsiteX6" fmla="*/ 610379 w 736845"/>
                      <a:gd name="connsiteY6" fmla="*/ 413238 h 653268"/>
                      <a:gd name="connsiteX7" fmla="*/ 613892 w 736845"/>
                      <a:gd name="connsiteY7" fmla="*/ 302455 h 653268"/>
                      <a:gd name="connsiteX8" fmla="*/ 603352 w 736845"/>
                      <a:gd name="connsiteY8" fmla="*/ 648872 h 653268"/>
                      <a:gd name="connsiteX9" fmla="*/ 152814 w 736845"/>
                      <a:gd name="connsiteY9" fmla="*/ 653269 h 653268"/>
                      <a:gd name="connsiteX10" fmla="*/ 172135 w 736845"/>
                      <a:gd name="connsiteY10" fmla="*/ 314765 h 653268"/>
                      <a:gd name="connsiteX11" fmla="*/ 133493 w 736845"/>
                      <a:gd name="connsiteY11" fmla="*/ 414997 h 653268"/>
                      <a:gd name="connsiteX12" fmla="*/ 0 w 736845"/>
                      <a:gd name="connsiteY12" fmla="*/ 327074 h 653268"/>
                      <a:gd name="connsiteX13" fmla="*/ 96607 w 736845"/>
                      <a:gd name="connsiteY13" fmla="*/ 110783 h 653268"/>
                      <a:gd name="connsiteX14" fmla="*/ 96607 w 736845"/>
                      <a:gd name="connsiteY14" fmla="*/ 109025 h 6532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736845" h="653268">
                        <a:moveTo>
                          <a:pt x="95728" y="109025"/>
                        </a:moveTo>
                        <a:cubicBezTo>
                          <a:pt x="137006" y="36049"/>
                          <a:pt x="230978" y="19343"/>
                          <a:pt x="230978" y="19343"/>
                        </a:cubicBezTo>
                        <a:cubicBezTo>
                          <a:pt x="230978" y="19343"/>
                          <a:pt x="310898" y="2638"/>
                          <a:pt x="413652" y="0"/>
                        </a:cubicBezTo>
                        <a:cubicBezTo>
                          <a:pt x="518163" y="4396"/>
                          <a:pt x="555049" y="23739"/>
                          <a:pt x="555049" y="23739"/>
                        </a:cubicBezTo>
                        <a:cubicBezTo>
                          <a:pt x="598083" y="38686"/>
                          <a:pt x="645508" y="63305"/>
                          <a:pt x="663951" y="91440"/>
                        </a:cubicBezTo>
                        <a:cubicBezTo>
                          <a:pt x="685029" y="122213"/>
                          <a:pt x="716646" y="252339"/>
                          <a:pt x="736845" y="383345"/>
                        </a:cubicBezTo>
                        <a:lnTo>
                          <a:pt x="610379" y="413238"/>
                        </a:lnTo>
                        <a:lnTo>
                          <a:pt x="613892" y="302455"/>
                        </a:lnTo>
                        <a:lnTo>
                          <a:pt x="603352" y="648872"/>
                        </a:lnTo>
                        <a:lnTo>
                          <a:pt x="152814" y="653269"/>
                        </a:lnTo>
                        <a:cubicBezTo>
                          <a:pt x="152814" y="653269"/>
                          <a:pt x="170379" y="452804"/>
                          <a:pt x="172135" y="314765"/>
                        </a:cubicBezTo>
                        <a:lnTo>
                          <a:pt x="133493" y="414997"/>
                        </a:lnTo>
                        <a:cubicBezTo>
                          <a:pt x="133493" y="414997"/>
                          <a:pt x="36008" y="371915"/>
                          <a:pt x="0" y="327074"/>
                        </a:cubicBezTo>
                        <a:cubicBezTo>
                          <a:pt x="12295" y="284871"/>
                          <a:pt x="55329" y="182880"/>
                          <a:pt x="96607" y="110783"/>
                        </a:cubicBezTo>
                        <a:lnTo>
                          <a:pt x="96607" y="1090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eform 30">
                    <a:extLst>
                      <a:ext uri="{FF2B5EF4-FFF2-40B4-BE49-F238E27FC236}">
                        <a16:creationId xmlns:a16="http://schemas.microsoft.com/office/drawing/2014/main" id="{60350DBC-3891-D90E-D738-4F8E67B1ADB3}"/>
                      </a:ext>
                    </a:extLst>
                  </p:cNvPr>
                  <p:cNvSpPr/>
                  <p:nvPr/>
                </p:nvSpPr>
                <p:spPr>
                  <a:xfrm>
                    <a:off x="-9872246" y="3894980"/>
                    <a:ext cx="243273" cy="239150"/>
                  </a:xfrm>
                  <a:custGeom>
                    <a:avLst/>
                    <a:gdLst>
                      <a:gd name="connsiteX0" fmla="*/ 0 w 243273"/>
                      <a:gd name="connsiteY0" fmla="*/ 160899 h 239150"/>
                      <a:gd name="connsiteX1" fmla="*/ 58842 w 243273"/>
                      <a:gd name="connsiteY1" fmla="*/ 152107 h 239150"/>
                      <a:gd name="connsiteX2" fmla="*/ 65868 w 243273"/>
                      <a:gd name="connsiteY2" fmla="*/ 0 h 239150"/>
                      <a:gd name="connsiteX3" fmla="*/ 195848 w 243273"/>
                      <a:gd name="connsiteY3" fmla="*/ 43962 h 239150"/>
                      <a:gd name="connsiteX4" fmla="*/ 191457 w 243273"/>
                      <a:gd name="connsiteY4" fmla="*/ 150349 h 239150"/>
                      <a:gd name="connsiteX5" fmla="*/ 243273 w 243273"/>
                      <a:gd name="connsiteY5" fmla="*/ 159141 h 239150"/>
                      <a:gd name="connsiteX6" fmla="*/ 122076 w 243273"/>
                      <a:gd name="connsiteY6" fmla="*/ 239151 h 239150"/>
                      <a:gd name="connsiteX7" fmla="*/ 0 w 243273"/>
                      <a:gd name="connsiteY7" fmla="*/ 160899 h 239150"/>
                      <a:gd name="connsiteX8" fmla="*/ 0 w 243273"/>
                      <a:gd name="connsiteY8" fmla="*/ 160899 h 239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3273" h="239150">
                        <a:moveTo>
                          <a:pt x="0" y="160899"/>
                        </a:moveTo>
                        <a:lnTo>
                          <a:pt x="58842" y="152107"/>
                        </a:lnTo>
                        <a:lnTo>
                          <a:pt x="65868" y="0"/>
                        </a:lnTo>
                        <a:lnTo>
                          <a:pt x="195848" y="43962"/>
                        </a:lnTo>
                        <a:lnTo>
                          <a:pt x="191457" y="150349"/>
                        </a:lnTo>
                        <a:lnTo>
                          <a:pt x="243273" y="159141"/>
                        </a:lnTo>
                        <a:cubicBezTo>
                          <a:pt x="243273" y="159141"/>
                          <a:pt x="218683" y="239151"/>
                          <a:pt x="122076" y="239151"/>
                        </a:cubicBezTo>
                        <a:cubicBezTo>
                          <a:pt x="25469" y="239151"/>
                          <a:pt x="0" y="160899"/>
                          <a:pt x="0" y="160899"/>
                        </a:cubicBezTo>
                        <a:lnTo>
                          <a:pt x="0" y="160899"/>
                        </a:lnTo>
                        <a:close/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eform 31">
                    <a:extLst>
                      <a:ext uri="{FF2B5EF4-FFF2-40B4-BE49-F238E27FC236}">
                        <a16:creationId xmlns:a16="http://schemas.microsoft.com/office/drawing/2014/main" id="{175CEECE-86CF-0D5F-1CC4-DBE17644F9BA}"/>
                      </a:ext>
                    </a:extLst>
                  </p:cNvPr>
                  <p:cNvSpPr/>
                  <p:nvPr/>
                </p:nvSpPr>
                <p:spPr>
                  <a:xfrm>
                    <a:off x="-9812907" y="3743752"/>
                    <a:ext cx="230192" cy="262889"/>
                  </a:xfrm>
                  <a:custGeom>
                    <a:avLst/>
                    <a:gdLst>
                      <a:gd name="connsiteX0" fmla="*/ 23216 w 230192"/>
                      <a:gd name="connsiteY0" fmla="*/ 196068 h 262889"/>
                      <a:gd name="connsiteX1" fmla="*/ 10042 w 230192"/>
                      <a:gd name="connsiteY1" fmla="*/ 176725 h 262889"/>
                      <a:gd name="connsiteX2" fmla="*/ 8286 w 230192"/>
                      <a:gd name="connsiteY2" fmla="*/ 174088 h 262889"/>
                      <a:gd name="connsiteX3" fmla="*/ 48685 w 230192"/>
                      <a:gd name="connsiteY3" fmla="*/ 116059 h 262889"/>
                      <a:gd name="connsiteX4" fmla="*/ 53955 w 230192"/>
                      <a:gd name="connsiteY4" fmla="*/ 104629 h 262889"/>
                      <a:gd name="connsiteX5" fmla="*/ 73276 w 230192"/>
                      <a:gd name="connsiteY5" fmla="*/ 101991 h 262889"/>
                      <a:gd name="connsiteX6" fmla="*/ 68885 w 230192"/>
                      <a:gd name="connsiteY6" fmla="*/ 88802 h 262889"/>
                      <a:gd name="connsiteX7" fmla="*/ 107527 w 230192"/>
                      <a:gd name="connsiteY7" fmla="*/ 30773 h 262889"/>
                      <a:gd name="connsiteX8" fmla="*/ 159344 w 230192"/>
                      <a:gd name="connsiteY8" fmla="*/ 2638 h 262889"/>
                      <a:gd name="connsiteX9" fmla="*/ 167248 w 230192"/>
                      <a:gd name="connsiteY9" fmla="*/ 0 h 262889"/>
                      <a:gd name="connsiteX10" fmla="*/ 193595 w 230192"/>
                      <a:gd name="connsiteY10" fmla="*/ 74735 h 262889"/>
                      <a:gd name="connsiteX11" fmla="*/ 226090 w 230192"/>
                      <a:gd name="connsiteY11" fmla="*/ 116059 h 262889"/>
                      <a:gd name="connsiteX12" fmla="*/ 220821 w 230192"/>
                      <a:gd name="connsiteY12" fmla="*/ 141556 h 262889"/>
                      <a:gd name="connsiteX13" fmla="*/ 220821 w 230192"/>
                      <a:gd name="connsiteY13" fmla="*/ 171450 h 262889"/>
                      <a:gd name="connsiteX14" fmla="*/ 213795 w 230192"/>
                      <a:gd name="connsiteY14" fmla="*/ 186397 h 262889"/>
                      <a:gd name="connsiteX15" fmla="*/ 219064 w 230192"/>
                      <a:gd name="connsiteY15" fmla="*/ 203102 h 262889"/>
                      <a:gd name="connsiteX16" fmla="*/ 212916 w 230192"/>
                      <a:gd name="connsiteY16" fmla="*/ 245305 h 262889"/>
                      <a:gd name="connsiteX17" fmla="*/ 118945 w 230192"/>
                      <a:gd name="connsiteY17" fmla="*/ 262890 h 262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30192" h="262889">
                        <a:moveTo>
                          <a:pt x="23216" y="196068"/>
                        </a:moveTo>
                        <a:cubicBezTo>
                          <a:pt x="17947" y="190793"/>
                          <a:pt x="13555" y="183759"/>
                          <a:pt x="10042" y="176725"/>
                        </a:cubicBezTo>
                        <a:cubicBezTo>
                          <a:pt x="10042" y="175846"/>
                          <a:pt x="9164" y="174967"/>
                          <a:pt x="8286" y="174088"/>
                        </a:cubicBezTo>
                        <a:cubicBezTo>
                          <a:pt x="-16305" y="119575"/>
                          <a:pt x="18825" y="92319"/>
                          <a:pt x="48685" y="116059"/>
                        </a:cubicBezTo>
                        <a:cubicBezTo>
                          <a:pt x="55711" y="121334"/>
                          <a:pt x="48685" y="94078"/>
                          <a:pt x="53955" y="104629"/>
                        </a:cubicBezTo>
                        <a:cubicBezTo>
                          <a:pt x="62737" y="123972"/>
                          <a:pt x="81180" y="131005"/>
                          <a:pt x="73276" y="101991"/>
                        </a:cubicBezTo>
                        <a:cubicBezTo>
                          <a:pt x="73276" y="99353"/>
                          <a:pt x="71519" y="98474"/>
                          <a:pt x="68885" y="88802"/>
                        </a:cubicBezTo>
                        <a:cubicBezTo>
                          <a:pt x="60102" y="62425"/>
                          <a:pt x="85571" y="36928"/>
                          <a:pt x="107527" y="30773"/>
                        </a:cubicBezTo>
                        <a:cubicBezTo>
                          <a:pt x="138266" y="21981"/>
                          <a:pt x="159344" y="2638"/>
                          <a:pt x="159344" y="2638"/>
                        </a:cubicBezTo>
                        <a:cubicBezTo>
                          <a:pt x="159344" y="2638"/>
                          <a:pt x="166370" y="0"/>
                          <a:pt x="167248" y="0"/>
                        </a:cubicBezTo>
                        <a:cubicBezTo>
                          <a:pt x="172517" y="5275"/>
                          <a:pt x="195351" y="35169"/>
                          <a:pt x="193595" y="74735"/>
                        </a:cubicBezTo>
                        <a:cubicBezTo>
                          <a:pt x="193595" y="84406"/>
                          <a:pt x="219942" y="106387"/>
                          <a:pt x="226090" y="116059"/>
                        </a:cubicBezTo>
                        <a:cubicBezTo>
                          <a:pt x="232238" y="125730"/>
                          <a:pt x="232238" y="133643"/>
                          <a:pt x="220821" y="141556"/>
                        </a:cubicBezTo>
                        <a:cubicBezTo>
                          <a:pt x="206769" y="150349"/>
                          <a:pt x="216429" y="167054"/>
                          <a:pt x="220821" y="171450"/>
                        </a:cubicBezTo>
                        <a:cubicBezTo>
                          <a:pt x="225212" y="176725"/>
                          <a:pt x="209403" y="184638"/>
                          <a:pt x="213795" y="186397"/>
                        </a:cubicBezTo>
                        <a:cubicBezTo>
                          <a:pt x="213795" y="186397"/>
                          <a:pt x="224334" y="195189"/>
                          <a:pt x="219064" y="203102"/>
                        </a:cubicBezTo>
                        <a:cubicBezTo>
                          <a:pt x="213795" y="211015"/>
                          <a:pt x="216429" y="236513"/>
                          <a:pt x="212916" y="245305"/>
                        </a:cubicBezTo>
                        <a:cubicBezTo>
                          <a:pt x="206769" y="262011"/>
                          <a:pt x="142657" y="262011"/>
                          <a:pt x="118945" y="262890"/>
                        </a:cubicBezTo>
                      </a:path>
                    </a:pathLst>
                  </a:custGeom>
                  <a:solidFill>
                    <a:srgbClr val="DE9C74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eform 32">
                    <a:extLst>
                      <a:ext uri="{FF2B5EF4-FFF2-40B4-BE49-F238E27FC236}">
                        <a16:creationId xmlns:a16="http://schemas.microsoft.com/office/drawing/2014/main" id="{9D957394-0F42-73FD-EC36-F78647F19DBC}"/>
                      </a:ext>
                    </a:extLst>
                  </p:cNvPr>
                  <p:cNvSpPr/>
                  <p:nvPr/>
                </p:nvSpPr>
                <p:spPr>
                  <a:xfrm>
                    <a:off x="-9913093" y="3689492"/>
                    <a:ext cx="287769" cy="295389"/>
                  </a:xfrm>
                  <a:custGeom>
                    <a:avLst/>
                    <a:gdLst>
                      <a:gd name="connsiteX0" fmla="*/ 24160 w 287769"/>
                      <a:gd name="connsiteY0" fmla="*/ 76241 h 295389"/>
                      <a:gd name="connsiteX1" fmla="*/ 61047 w 287769"/>
                      <a:gd name="connsiteY1" fmla="*/ 23487 h 295389"/>
                      <a:gd name="connsiteX2" fmla="*/ 174340 w 287769"/>
                      <a:gd name="connsiteY2" fmla="*/ 627 h 295389"/>
                      <a:gd name="connsiteX3" fmla="*/ 271825 w 287769"/>
                      <a:gd name="connsiteY3" fmla="*/ 67449 h 295389"/>
                      <a:gd name="connsiteX4" fmla="*/ 198931 w 287769"/>
                      <a:gd name="connsiteY4" fmla="*/ 88550 h 295389"/>
                      <a:gd name="connsiteX5" fmla="*/ 175218 w 287769"/>
                      <a:gd name="connsiteY5" fmla="*/ 162406 h 295389"/>
                      <a:gd name="connsiteX6" fmla="*/ 157653 w 287769"/>
                      <a:gd name="connsiteY6" fmla="*/ 185266 h 295389"/>
                      <a:gd name="connsiteX7" fmla="*/ 141845 w 287769"/>
                      <a:gd name="connsiteY7" fmla="*/ 172077 h 295389"/>
                      <a:gd name="connsiteX8" fmla="*/ 108472 w 287769"/>
                      <a:gd name="connsiteY8" fmla="*/ 227469 h 295389"/>
                      <a:gd name="connsiteX9" fmla="*/ 130428 w 287769"/>
                      <a:gd name="connsiteY9" fmla="*/ 250329 h 295389"/>
                      <a:gd name="connsiteX10" fmla="*/ 104959 w 287769"/>
                      <a:gd name="connsiteY10" fmla="*/ 285498 h 295389"/>
                      <a:gd name="connsiteX11" fmla="*/ 83881 w 287769"/>
                      <a:gd name="connsiteY11" fmla="*/ 285498 h 295389"/>
                      <a:gd name="connsiteX12" fmla="*/ 34699 w 287769"/>
                      <a:gd name="connsiteY12" fmla="*/ 221314 h 295389"/>
                      <a:gd name="connsiteX13" fmla="*/ 24160 w 287769"/>
                      <a:gd name="connsiteY13" fmla="*/ 77120 h 295389"/>
                      <a:gd name="connsiteX14" fmla="*/ 24160 w 287769"/>
                      <a:gd name="connsiteY14" fmla="*/ 77120 h 2953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7769" h="295389">
                        <a:moveTo>
                          <a:pt x="24160" y="76241"/>
                        </a:moveTo>
                        <a:cubicBezTo>
                          <a:pt x="24160" y="76241"/>
                          <a:pt x="22404" y="46347"/>
                          <a:pt x="61047" y="23487"/>
                        </a:cubicBezTo>
                        <a:cubicBezTo>
                          <a:pt x="99689" y="-252"/>
                          <a:pt x="174340" y="627"/>
                          <a:pt x="174340" y="627"/>
                        </a:cubicBezTo>
                        <a:cubicBezTo>
                          <a:pt x="321006" y="-7286"/>
                          <a:pt x="290268" y="62174"/>
                          <a:pt x="271825" y="67449"/>
                        </a:cubicBezTo>
                        <a:cubicBezTo>
                          <a:pt x="253382" y="71845"/>
                          <a:pt x="229669" y="79758"/>
                          <a:pt x="198931" y="88550"/>
                        </a:cubicBezTo>
                        <a:cubicBezTo>
                          <a:pt x="176974" y="94705"/>
                          <a:pt x="146236" y="116686"/>
                          <a:pt x="175218" y="162406"/>
                        </a:cubicBezTo>
                        <a:cubicBezTo>
                          <a:pt x="204200" y="208126"/>
                          <a:pt x="157653" y="185266"/>
                          <a:pt x="157653" y="185266"/>
                        </a:cubicBezTo>
                        <a:cubicBezTo>
                          <a:pt x="157653" y="185266"/>
                          <a:pt x="146236" y="187024"/>
                          <a:pt x="141845" y="172077"/>
                        </a:cubicBezTo>
                        <a:cubicBezTo>
                          <a:pt x="137454" y="158010"/>
                          <a:pt x="83881" y="154493"/>
                          <a:pt x="108472" y="227469"/>
                        </a:cubicBezTo>
                        <a:cubicBezTo>
                          <a:pt x="115498" y="243295"/>
                          <a:pt x="128671" y="249450"/>
                          <a:pt x="130428" y="250329"/>
                        </a:cubicBezTo>
                        <a:cubicBezTo>
                          <a:pt x="138332" y="252087"/>
                          <a:pt x="108472" y="277585"/>
                          <a:pt x="104959" y="285498"/>
                        </a:cubicBezTo>
                        <a:cubicBezTo>
                          <a:pt x="98811" y="298687"/>
                          <a:pt x="90029" y="298687"/>
                          <a:pt x="83881" y="285498"/>
                        </a:cubicBezTo>
                        <a:cubicBezTo>
                          <a:pt x="78611" y="274068"/>
                          <a:pt x="61925" y="248570"/>
                          <a:pt x="34699" y="221314"/>
                        </a:cubicBezTo>
                        <a:cubicBezTo>
                          <a:pt x="-1309" y="185266"/>
                          <a:pt x="-16239" y="135150"/>
                          <a:pt x="24160" y="77120"/>
                        </a:cubicBezTo>
                        <a:lnTo>
                          <a:pt x="24160" y="77120"/>
                        </a:lnTo>
                        <a:close/>
                      </a:path>
                    </a:pathLst>
                  </a:custGeom>
                  <a:solidFill>
                    <a:srgbClr val="7A3E1A"/>
                  </a:solidFill>
                  <a:ln w="6764" cap="rnd">
                    <a:solidFill>
                      <a:srgbClr val="281805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B7486EAC-DEBA-513D-9D04-D414AA485DEF}"/>
                    </a:ext>
                  </a:extLst>
                </p:cNvPr>
                <p:cNvSpPr/>
                <p:nvPr/>
              </p:nvSpPr>
              <p:spPr>
                <a:xfrm>
                  <a:off x="-9624582" y="5681577"/>
                  <a:ext cx="160174" cy="74431"/>
                </a:xfrm>
                <a:custGeom>
                  <a:avLst/>
                  <a:gdLst>
                    <a:gd name="connsiteX0" fmla="*/ 10539 w 160174"/>
                    <a:gd name="connsiteY0" fmla="*/ 0 h 74431"/>
                    <a:gd name="connsiteX1" fmla="*/ 0 w 160174"/>
                    <a:gd name="connsiteY1" fmla="*/ 33411 h 74431"/>
                    <a:gd name="connsiteX2" fmla="*/ 137884 w 160174"/>
                    <a:gd name="connsiteY2" fmla="*/ 73856 h 74431"/>
                    <a:gd name="connsiteX3" fmla="*/ 146667 w 160174"/>
                    <a:gd name="connsiteY3" fmla="*/ 40445 h 74431"/>
                    <a:gd name="connsiteX4" fmla="*/ 10539 w 160174"/>
                    <a:gd name="connsiteY4" fmla="*/ 0 h 7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174" h="74431">
                      <a:moveTo>
                        <a:pt x="10539" y="0"/>
                      </a:moveTo>
                      <a:lnTo>
                        <a:pt x="0" y="33411"/>
                      </a:lnTo>
                      <a:cubicBezTo>
                        <a:pt x="0" y="33411"/>
                        <a:pt x="106267" y="67701"/>
                        <a:pt x="137884" y="73856"/>
                      </a:cubicBezTo>
                      <a:cubicBezTo>
                        <a:pt x="162475" y="79131"/>
                        <a:pt x="168623" y="46599"/>
                        <a:pt x="146667" y="40445"/>
                      </a:cubicBezTo>
                      <a:cubicBezTo>
                        <a:pt x="127345" y="35169"/>
                        <a:pt x="10539" y="0"/>
                        <a:pt x="10539" y="0"/>
                      </a:cubicBez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" name="Freeform 22">
                  <a:extLst>
                    <a:ext uri="{FF2B5EF4-FFF2-40B4-BE49-F238E27FC236}">
                      <a16:creationId xmlns:a16="http://schemas.microsoft.com/office/drawing/2014/main" id="{DCE372F2-9C53-7508-AB4C-DC49A1CFC66E}"/>
                    </a:ext>
                  </a:extLst>
                </p:cNvPr>
                <p:cNvSpPr/>
                <p:nvPr/>
              </p:nvSpPr>
              <p:spPr>
                <a:xfrm>
                  <a:off x="-9714724" y="4269532"/>
                  <a:ext cx="129662" cy="117936"/>
                </a:xfrm>
                <a:custGeom>
                  <a:avLst/>
                  <a:gdLst>
                    <a:gd name="connsiteX0" fmla="*/ 561 w 129662"/>
                    <a:gd name="connsiteY0" fmla="*/ 0 h 117936"/>
                    <a:gd name="connsiteX1" fmla="*/ 129663 w 129662"/>
                    <a:gd name="connsiteY1" fmla="*/ 4396 h 117936"/>
                    <a:gd name="connsiteX2" fmla="*/ 60282 w 129662"/>
                    <a:gd name="connsiteY2" fmla="*/ 117817 h 117936"/>
                    <a:gd name="connsiteX3" fmla="*/ 561 w 129662"/>
                    <a:gd name="connsiteY3" fmla="*/ 0 h 117936"/>
                    <a:gd name="connsiteX4" fmla="*/ 561 w 129662"/>
                    <a:gd name="connsiteY4" fmla="*/ 0 h 11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62" h="117936">
                      <a:moveTo>
                        <a:pt x="561" y="0"/>
                      </a:moveTo>
                      <a:lnTo>
                        <a:pt x="129663" y="4396"/>
                      </a:lnTo>
                      <a:cubicBezTo>
                        <a:pt x="129663" y="4396"/>
                        <a:pt x="129663" y="122213"/>
                        <a:pt x="60282" y="117817"/>
                      </a:cubicBezTo>
                      <a:cubicBezTo>
                        <a:pt x="-9978" y="113421"/>
                        <a:pt x="561" y="0"/>
                        <a:pt x="561" y="0"/>
                      </a:cubicBezTo>
                      <a:lnTo>
                        <a:pt x="561" y="0"/>
                      </a:lnTo>
                      <a:close/>
                    </a:path>
                  </a:pathLst>
                </a:custGeom>
                <a:noFill/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" name="Freeform 23">
                  <a:extLst>
                    <a:ext uri="{FF2B5EF4-FFF2-40B4-BE49-F238E27FC236}">
                      <a16:creationId xmlns:a16="http://schemas.microsoft.com/office/drawing/2014/main" id="{148ABC81-AE0A-C25C-FD60-017CE77B1A2B}"/>
                    </a:ext>
                  </a:extLst>
                </p:cNvPr>
                <p:cNvSpPr/>
                <p:nvPr/>
              </p:nvSpPr>
              <p:spPr>
                <a:xfrm>
                  <a:off x="-10009689" y="5676985"/>
                  <a:ext cx="164667" cy="122799"/>
                </a:xfrm>
                <a:custGeom>
                  <a:avLst/>
                  <a:gdLst>
                    <a:gd name="connsiteX0" fmla="*/ 164668 w 164667"/>
                    <a:gd name="connsiteY0" fmla="*/ 103945 h 122799"/>
                    <a:gd name="connsiteX1" fmla="*/ 161155 w 164667"/>
                    <a:gd name="connsiteY1" fmla="*/ 52070 h 122799"/>
                    <a:gd name="connsiteX2" fmla="*/ 154129 w 164667"/>
                    <a:gd name="connsiteY2" fmla="*/ 28331 h 122799"/>
                    <a:gd name="connsiteX3" fmla="*/ 135686 w 164667"/>
                    <a:gd name="connsiteY3" fmla="*/ 12505 h 122799"/>
                    <a:gd name="connsiteX4" fmla="*/ 46983 w 164667"/>
                    <a:gd name="connsiteY4" fmla="*/ 12505 h 122799"/>
                    <a:gd name="connsiteX5" fmla="*/ 2193 w 164667"/>
                    <a:gd name="connsiteY5" fmla="*/ 81085 h 122799"/>
                    <a:gd name="connsiteX6" fmla="*/ 14488 w 164667"/>
                    <a:gd name="connsiteY6" fmla="*/ 122408 h 122799"/>
                    <a:gd name="connsiteX7" fmla="*/ 149738 w 164667"/>
                    <a:gd name="connsiteY7" fmla="*/ 122408 h 122799"/>
                    <a:gd name="connsiteX8" fmla="*/ 163790 w 164667"/>
                    <a:gd name="connsiteY8" fmla="*/ 103065 h 122799"/>
                    <a:gd name="connsiteX9" fmla="*/ 164668 w 164667"/>
                    <a:gd name="connsiteY9" fmla="*/ 103065 h 122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667" h="122799">
                      <a:moveTo>
                        <a:pt x="164668" y="103945"/>
                      </a:moveTo>
                      <a:lnTo>
                        <a:pt x="161155" y="52070"/>
                      </a:lnTo>
                      <a:lnTo>
                        <a:pt x="154129" y="28331"/>
                      </a:lnTo>
                      <a:cubicBezTo>
                        <a:pt x="151494" y="24814"/>
                        <a:pt x="140955" y="16901"/>
                        <a:pt x="135686" y="12505"/>
                      </a:cubicBezTo>
                      <a:cubicBezTo>
                        <a:pt x="100556" y="-15631"/>
                        <a:pt x="46983" y="12505"/>
                        <a:pt x="46983" y="12505"/>
                      </a:cubicBezTo>
                      <a:cubicBezTo>
                        <a:pt x="32931" y="37123"/>
                        <a:pt x="4828" y="73172"/>
                        <a:pt x="2193" y="81085"/>
                      </a:cubicBezTo>
                      <a:cubicBezTo>
                        <a:pt x="-4833" y="106582"/>
                        <a:pt x="6584" y="121529"/>
                        <a:pt x="14488" y="122408"/>
                      </a:cubicBezTo>
                      <a:cubicBezTo>
                        <a:pt x="22393" y="123288"/>
                        <a:pt x="142712" y="122408"/>
                        <a:pt x="149738" y="122408"/>
                      </a:cubicBezTo>
                      <a:cubicBezTo>
                        <a:pt x="156764" y="122408"/>
                        <a:pt x="164668" y="108341"/>
                        <a:pt x="163790" y="103065"/>
                      </a:cubicBezTo>
                      <a:lnTo>
                        <a:pt x="164668" y="103065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676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reeform 24">
                  <a:extLst>
                    <a:ext uri="{FF2B5EF4-FFF2-40B4-BE49-F238E27FC236}">
                      <a16:creationId xmlns:a16="http://schemas.microsoft.com/office/drawing/2014/main" id="{520B04B6-978B-F756-8594-4F29D99EE3C7}"/>
                    </a:ext>
                  </a:extLst>
                </p:cNvPr>
                <p:cNvSpPr/>
                <p:nvPr/>
              </p:nvSpPr>
              <p:spPr>
                <a:xfrm>
                  <a:off x="-10159651" y="4379436"/>
                  <a:ext cx="328603" cy="513470"/>
                </a:xfrm>
                <a:custGeom>
                  <a:avLst/>
                  <a:gdLst>
                    <a:gd name="connsiteX0" fmla="*/ 218902 w 328603"/>
                    <a:gd name="connsiteY0" fmla="*/ 334987 h 513470"/>
                    <a:gd name="connsiteX1" fmla="*/ 274231 w 328603"/>
                    <a:gd name="connsiteY1" fmla="*/ 357847 h 513470"/>
                    <a:gd name="connsiteX2" fmla="*/ 293552 w 328603"/>
                    <a:gd name="connsiteY2" fmla="*/ 376311 h 513470"/>
                    <a:gd name="connsiteX3" fmla="*/ 325169 w 328603"/>
                    <a:gd name="connsiteY3" fmla="*/ 414117 h 513470"/>
                    <a:gd name="connsiteX4" fmla="*/ 284770 w 328603"/>
                    <a:gd name="connsiteY4" fmla="*/ 412359 h 513470"/>
                    <a:gd name="connsiteX5" fmla="*/ 266327 w 328603"/>
                    <a:gd name="connsiteY5" fmla="*/ 396533 h 513470"/>
                    <a:gd name="connsiteX6" fmla="*/ 275109 w 328603"/>
                    <a:gd name="connsiteY6" fmla="*/ 410601 h 513470"/>
                    <a:gd name="connsiteX7" fmla="*/ 326047 w 328603"/>
                    <a:gd name="connsiteY7" fmla="*/ 461596 h 513470"/>
                    <a:gd name="connsiteX8" fmla="*/ 313752 w 328603"/>
                    <a:gd name="connsiteY8" fmla="*/ 477422 h 513470"/>
                    <a:gd name="connsiteX9" fmla="*/ 260179 w 328603"/>
                    <a:gd name="connsiteY9" fmla="*/ 433461 h 513470"/>
                    <a:gd name="connsiteX10" fmla="*/ 273353 w 328603"/>
                    <a:gd name="connsiteY10" fmla="*/ 448408 h 513470"/>
                    <a:gd name="connsiteX11" fmla="*/ 307604 w 328603"/>
                    <a:gd name="connsiteY11" fmla="*/ 477422 h 513470"/>
                    <a:gd name="connsiteX12" fmla="*/ 307604 w 328603"/>
                    <a:gd name="connsiteY12" fmla="*/ 503799 h 513470"/>
                    <a:gd name="connsiteX13" fmla="*/ 236466 w 328603"/>
                    <a:gd name="connsiteY13" fmla="*/ 442253 h 513470"/>
                    <a:gd name="connsiteX14" fmla="*/ 248762 w 328603"/>
                    <a:gd name="connsiteY14" fmla="*/ 456321 h 513470"/>
                    <a:gd name="connsiteX15" fmla="*/ 283891 w 328603"/>
                    <a:gd name="connsiteY15" fmla="*/ 494127 h 513470"/>
                    <a:gd name="connsiteX16" fmla="*/ 274231 w 328603"/>
                    <a:gd name="connsiteY16" fmla="*/ 513471 h 513470"/>
                    <a:gd name="connsiteX17" fmla="*/ 212754 w 328603"/>
                    <a:gd name="connsiteY17" fmla="*/ 446649 h 513470"/>
                    <a:gd name="connsiteX18" fmla="*/ 247883 w 328603"/>
                    <a:gd name="connsiteY18" fmla="*/ 497644 h 513470"/>
                    <a:gd name="connsiteX19" fmla="*/ 241736 w 328603"/>
                    <a:gd name="connsiteY19" fmla="*/ 511712 h 513470"/>
                    <a:gd name="connsiteX20" fmla="*/ 189041 w 328603"/>
                    <a:gd name="connsiteY20" fmla="*/ 458079 h 513470"/>
                    <a:gd name="connsiteX21" fmla="*/ 160937 w 328603"/>
                    <a:gd name="connsiteY21" fmla="*/ 392137 h 513470"/>
                    <a:gd name="connsiteX22" fmla="*/ 157425 w 328603"/>
                    <a:gd name="connsiteY22" fmla="*/ 370156 h 513470"/>
                    <a:gd name="connsiteX23" fmla="*/ 219 w 328603"/>
                    <a:gd name="connsiteY23" fmla="*/ 103749 h 513470"/>
                    <a:gd name="connsiteX24" fmla="*/ 26566 w 328603"/>
                    <a:gd name="connsiteY24" fmla="*/ 0 h 513470"/>
                    <a:gd name="connsiteX25" fmla="*/ 138103 w 328603"/>
                    <a:gd name="connsiteY25" fmla="*/ 73855 h 513470"/>
                    <a:gd name="connsiteX26" fmla="*/ 117904 w 328603"/>
                    <a:gd name="connsiteY26" fmla="*/ 124851 h 513470"/>
                    <a:gd name="connsiteX27" fmla="*/ 220658 w 328603"/>
                    <a:gd name="connsiteY27" fmla="*/ 334987 h 513470"/>
                    <a:gd name="connsiteX28" fmla="*/ 218902 w 328603"/>
                    <a:gd name="connsiteY28" fmla="*/ 334987 h 513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28603" h="513470">
                      <a:moveTo>
                        <a:pt x="218902" y="334987"/>
                      </a:moveTo>
                      <a:cubicBezTo>
                        <a:pt x="225049" y="343779"/>
                        <a:pt x="266327" y="352571"/>
                        <a:pt x="274231" y="357847"/>
                      </a:cubicBezTo>
                      <a:cubicBezTo>
                        <a:pt x="283891" y="364881"/>
                        <a:pt x="293552" y="376311"/>
                        <a:pt x="293552" y="376311"/>
                      </a:cubicBezTo>
                      <a:cubicBezTo>
                        <a:pt x="303213" y="392137"/>
                        <a:pt x="325169" y="409721"/>
                        <a:pt x="325169" y="414117"/>
                      </a:cubicBezTo>
                      <a:cubicBezTo>
                        <a:pt x="325169" y="418514"/>
                        <a:pt x="304091" y="433461"/>
                        <a:pt x="284770" y="412359"/>
                      </a:cubicBezTo>
                      <a:cubicBezTo>
                        <a:pt x="265448" y="391258"/>
                        <a:pt x="273353" y="399171"/>
                        <a:pt x="266327" y="396533"/>
                      </a:cubicBezTo>
                      <a:cubicBezTo>
                        <a:pt x="269839" y="406204"/>
                        <a:pt x="273353" y="407963"/>
                        <a:pt x="275109" y="410601"/>
                      </a:cubicBezTo>
                      <a:cubicBezTo>
                        <a:pt x="283891" y="422031"/>
                        <a:pt x="319899" y="456321"/>
                        <a:pt x="326047" y="461596"/>
                      </a:cubicBezTo>
                      <a:cubicBezTo>
                        <a:pt x="332195" y="466871"/>
                        <a:pt x="326925" y="479181"/>
                        <a:pt x="313752" y="477422"/>
                      </a:cubicBezTo>
                      <a:cubicBezTo>
                        <a:pt x="299700" y="475664"/>
                        <a:pt x="260179" y="433461"/>
                        <a:pt x="260179" y="433461"/>
                      </a:cubicBezTo>
                      <a:lnTo>
                        <a:pt x="273353" y="448408"/>
                      </a:lnTo>
                      <a:cubicBezTo>
                        <a:pt x="275109" y="451045"/>
                        <a:pt x="301456" y="473026"/>
                        <a:pt x="307604" y="477422"/>
                      </a:cubicBezTo>
                      <a:cubicBezTo>
                        <a:pt x="313752" y="481818"/>
                        <a:pt x="324291" y="500282"/>
                        <a:pt x="307604" y="503799"/>
                      </a:cubicBezTo>
                      <a:cubicBezTo>
                        <a:pt x="290918" y="506437"/>
                        <a:pt x="236466" y="442253"/>
                        <a:pt x="236466" y="442253"/>
                      </a:cubicBezTo>
                      <a:lnTo>
                        <a:pt x="248762" y="456321"/>
                      </a:lnTo>
                      <a:cubicBezTo>
                        <a:pt x="248762" y="456321"/>
                        <a:pt x="268083" y="479181"/>
                        <a:pt x="283891" y="494127"/>
                      </a:cubicBezTo>
                      <a:cubicBezTo>
                        <a:pt x="299700" y="509075"/>
                        <a:pt x="274231" y="513471"/>
                        <a:pt x="274231" y="513471"/>
                      </a:cubicBezTo>
                      <a:cubicBezTo>
                        <a:pt x="250518" y="508195"/>
                        <a:pt x="216267" y="450166"/>
                        <a:pt x="212754" y="446649"/>
                      </a:cubicBezTo>
                      <a:cubicBezTo>
                        <a:pt x="214510" y="456321"/>
                        <a:pt x="247883" y="497644"/>
                        <a:pt x="247883" y="497644"/>
                      </a:cubicBezTo>
                      <a:cubicBezTo>
                        <a:pt x="247883" y="497644"/>
                        <a:pt x="254031" y="509075"/>
                        <a:pt x="241736" y="511712"/>
                      </a:cubicBezTo>
                      <a:cubicBezTo>
                        <a:pt x="229441" y="514350"/>
                        <a:pt x="197824" y="480939"/>
                        <a:pt x="189041" y="458079"/>
                      </a:cubicBezTo>
                      <a:cubicBezTo>
                        <a:pt x="180259" y="435219"/>
                        <a:pt x="174111" y="426427"/>
                        <a:pt x="160937" y="392137"/>
                      </a:cubicBezTo>
                      <a:cubicBezTo>
                        <a:pt x="158303" y="384224"/>
                        <a:pt x="157425" y="378948"/>
                        <a:pt x="157425" y="370156"/>
                      </a:cubicBezTo>
                      <a:cubicBezTo>
                        <a:pt x="157425" y="370156"/>
                        <a:pt x="-6807" y="146831"/>
                        <a:pt x="219" y="103749"/>
                      </a:cubicBezTo>
                      <a:cubicBezTo>
                        <a:pt x="7245" y="60667"/>
                        <a:pt x="18662" y="18464"/>
                        <a:pt x="26566" y="0"/>
                      </a:cubicBezTo>
                      <a:cubicBezTo>
                        <a:pt x="79261" y="44841"/>
                        <a:pt x="138103" y="73855"/>
                        <a:pt x="138103" y="73855"/>
                      </a:cubicBezTo>
                      <a:lnTo>
                        <a:pt x="117904" y="124851"/>
                      </a:lnTo>
                      <a:lnTo>
                        <a:pt x="220658" y="334987"/>
                      </a:lnTo>
                      <a:lnTo>
                        <a:pt x="218902" y="33498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5A33FE83-7776-2F7C-4996-A996745F69F5}"/>
                    </a:ext>
                  </a:extLst>
                </p:cNvPr>
                <p:cNvSpPr/>
                <p:nvPr/>
              </p:nvSpPr>
              <p:spPr>
                <a:xfrm>
                  <a:off x="-9537636" y="4429552"/>
                  <a:ext cx="288981" cy="457248"/>
                </a:xfrm>
                <a:custGeom>
                  <a:avLst/>
                  <a:gdLst>
                    <a:gd name="connsiteX0" fmla="*/ 202874 w 288981"/>
                    <a:gd name="connsiteY0" fmla="*/ 274320 h 457248"/>
                    <a:gd name="connsiteX1" fmla="*/ 252056 w 288981"/>
                    <a:gd name="connsiteY1" fmla="*/ 307731 h 457248"/>
                    <a:gd name="connsiteX2" fmla="*/ 269621 w 288981"/>
                    <a:gd name="connsiteY2" fmla="*/ 329712 h 457248"/>
                    <a:gd name="connsiteX3" fmla="*/ 288942 w 288981"/>
                    <a:gd name="connsiteY3" fmla="*/ 370156 h 457248"/>
                    <a:gd name="connsiteX4" fmla="*/ 254690 w 288981"/>
                    <a:gd name="connsiteY4" fmla="*/ 360485 h 457248"/>
                    <a:gd name="connsiteX5" fmla="*/ 236247 w 288981"/>
                    <a:gd name="connsiteY5" fmla="*/ 339383 h 457248"/>
                    <a:gd name="connsiteX6" fmla="*/ 242395 w 288981"/>
                    <a:gd name="connsiteY6" fmla="*/ 358726 h 457248"/>
                    <a:gd name="connsiteX7" fmla="*/ 281038 w 288981"/>
                    <a:gd name="connsiteY7" fmla="*/ 417635 h 457248"/>
                    <a:gd name="connsiteX8" fmla="*/ 266108 w 288981"/>
                    <a:gd name="connsiteY8" fmla="*/ 431702 h 457248"/>
                    <a:gd name="connsiteX9" fmla="*/ 223074 w 288981"/>
                    <a:gd name="connsiteY9" fmla="*/ 377190 h 457248"/>
                    <a:gd name="connsiteX10" fmla="*/ 232734 w 288981"/>
                    <a:gd name="connsiteY10" fmla="*/ 393896 h 457248"/>
                    <a:gd name="connsiteX11" fmla="*/ 257325 w 288981"/>
                    <a:gd name="connsiteY11" fmla="*/ 429065 h 457248"/>
                    <a:gd name="connsiteX12" fmla="*/ 253812 w 288981"/>
                    <a:gd name="connsiteY12" fmla="*/ 453683 h 457248"/>
                    <a:gd name="connsiteX13" fmla="*/ 198483 w 288981"/>
                    <a:gd name="connsiteY13" fmla="*/ 380707 h 457248"/>
                    <a:gd name="connsiteX14" fmla="*/ 203752 w 288981"/>
                    <a:gd name="connsiteY14" fmla="*/ 394775 h 457248"/>
                    <a:gd name="connsiteX15" fmla="*/ 233613 w 288981"/>
                    <a:gd name="connsiteY15" fmla="*/ 441374 h 457248"/>
                    <a:gd name="connsiteX16" fmla="*/ 219561 w 288981"/>
                    <a:gd name="connsiteY16" fmla="*/ 457200 h 457248"/>
                    <a:gd name="connsiteX17" fmla="*/ 174770 w 288981"/>
                    <a:gd name="connsiteY17" fmla="*/ 380707 h 457248"/>
                    <a:gd name="connsiteX18" fmla="*/ 197605 w 288981"/>
                    <a:gd name="connsiteY18" fmla="*/ 437857 h 457248"/>
                    <a:gd name="connsiteX19" fmla="*/ 190579 w 288981"/>
                    <a:gd name="connsiteY19" fmla="*/ 449287 h 457248"/>
                    <a:gd name="connsiteX20" fmla="*/ 149301 w 288981"/>
                    <a:gd name="connsiteY20" fmla="*/ 386861 h 457248"/>
                    <a:gd name="connsiteX21" fmla="*/ 135249 w 288981"/>
                    <a:gd name="connsiteY21" fmla="*/ 317402 h 457248"/>
                    <a:gd name="connsiteX22" fmla="*/ 135249 w 288981"/>
                    <a:gd name="connsiteY22" fmla="*/ 295422 h 457248"/>
                    <a:gd name="connsiteX23" fmla="*/ 0 w 288981"/>
                    <a:gd name="connsiteY23" fmla="*/ 87044 h 457248"/>
                    <a:gd name="connsiteX24" fmla="*/ 1757 w 288981"/>
                    <a:gd name="connsiteY24" fmla="*/ 24619 h 457248"/>
                    <a:gd name="connsiteX25" fmla="*/ 108024 w 288981"/>
                    <a:gd name="connsiteY25" fmla="*/ 0 h 457248"/>
                    <a:gd name="connsiteX26" fmla="*/ 115928 w 288981"/>
                    <a:gd name="connsiteY26" fmla="*/ 57150 h 457248"/>
                    <a:gd name="connsiteX27" fmla="*/ 201996 w 288981"/>
                    <a:gd name="connsiteY27" fmla="*/ 273441 h 457248"/>
                    <a:gd name="connsiteX28" fmla="*/ 201996 w 288981"/>
                    <a:gd name="connsiteY28" fmla="*/ 273441 h 457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8981" h="457248">
                      <a:moveTo>
                        <a:pt x="202874" y="274320"/>
                      </a:moveTo>
                      <a:cubicBezTo>
                        <a:pt x="207265" y="283992"/>
                        <a:pt x="245908" y="300697"/>
                        <a:pt x="252056" y="307731"/>
                      </a:cubicBezTo>
                      <a:cubicBezTo>
                        <a:pt x="259960" y="316523"/>
                        <a:pt x="269621" y="329712"/>
                        <a:pt x="269621" y="329712"/>
                      </a:cubicBezTo>
                      <a:cubicBezTo>
                        <a:pt x="275768" y="347296"/>
                        <a:pt x="289820" y="365760"/>
                        <a:pt x="288942" y="370156"/>
                      </a:cubicBezTo>
                      <a:cubicBezTo>
                        <a:pt x="288064" y="374552"/>
                        <a:pt x="266108" y="386861"/>
                        <a:pt x="254690" y="360485"/>
                      </a:cubicBezTo>
                      <a:cubicBezTo>
                        <a:pt x="249421" y="349055"/>
                        <a:pt x="243273" y="343779"/>
                        <a:pt x="236247" y="339383"/>
                      </a:cubicBezTo>
                      <a:cubicBezTo>
                        <a:pt x="238004" y="349055"/>
                        <a:pt x="241517" y="355209"/>
                        <a:pt x="242395" y="358726"/>
                      </a:cubicBezTo>
                      <a:cubicBezTo>
                        <a:pt x="244152" y="369277"/>
                        <a:pt x="276646" y="411480"/>
                        <a:pt x="281038" y="417635"/>
                      </a:cubicBezTo>
                      <a:cubicBezTo>
                        <a:pt x="285429" y="424669"/>
                        <a:pt x="279281" y="436098"/>
                        <a:pt x="266108" y="431702"/>
                      </a:cubicBezTo>
                      <a:cubicBezTo>
                        <a:pt x="252934" y="427306"/>
                        <a:pt x="223074" y="377190"/>
                        <a:pt x="223074" y="377190"/>
                      </a:cubicBezTo>
                      <a:lnTo>
                        <a:pt x="232734" y="393896"/>
                      </a:lnTo>
                      <a:cubicBezTo>
                        <a:pt x="233613" y="397412"/>
                        <a:pt x="256447" y="424669"/>
                        <a:pt x="257325" y="429065"/>
                      </a:cubicBezTo>
                      <a:cubicBezTo>
                        <a:pt x="262594" y="436098"/>
                        <a:pt x="269621" y="453683"/>
                        <a:pt x="253812" y="453683"/>
                      </a:cubicBezTo>
                      <a:cubicBezTo>
                        <a:pt x="238004" y="453683"/>
                        <a:pt x="198483" y="380707"/>
                        <a:pt x="198483" y="380707"/>
                      </a:cubicBezTo>
                      <a:lnTo>
                        <a:pt x="203752" y="394775"/>
                      </a:lnTo>
                      <a:cubicBezTo>
                        <a:pt x="203752" y="394775"/>
                        <a:pt x="221317" y="423789"/>
                        <a:pt x="233613" y="441374"/>
                      </a:cubicBezTo>
                      <a:cubicBezTo>
                        <a:pt x="246786" y="458959"/>
                        <a:pt x="219561" y="457200"/>
                        <a:pt x="219561" y="457200"/>
                      </a:cubicBezTo>
                      <a:cubicBezTo>
                        <a:pt x="197605" y="446649"/>
                        <a:pt x="176527" y="384224"/>
                        <a:pt x="174770" y="380707"/>
                      </a:cubicBezTo>
                      <a:cubicBezTo>
                        <a:pt x="174770" y="390378"/>
                        <a:pt x="197605" y="437857"/>
                        <a:pt x="197605" y="437857"/>
                      </a:cubicBezTo>
                      <a:cubicBezTo>
                        <a:pt x="197605" y="437857"/>
                        <a:pt x="202874" y="450166"/>
                        <a:pt x="190579" y="449287"/>
                      </a:cubicBezTo>
                      <a:cubicBezTo>
                        <a:pt x="174770" y="449287"/>
                        <a:pt x="153692" y="410601"/>
                        <a:pt x="149301" y="386861"/>
                      </a:cubicBezTo>
                      <a:cubicBezTo>
                        <a:pt x="144910" y="363122"/>
                        <a:pt x="141397" y="353451"/>
                        <a:pt x="135249" y="317402"/>
                      </a:cubicBezTo>
                      <a:cubicBezTo>
                        <a:pt x="133493" y="309489"/>
                        <a:pt x="134371" y="304214"/>
                        <a:pt x="135249" y="295422"/>
                      </a:cubicBezTo>
                      <a:lnTo>
                        <a:pt x="0" y="87044"/>
                      </a:lnTo>
                      <a:lnTo>
                        <a:pt x="1757" y="24619"/>
                      </a:lnTo>
                      <a:lnTo>
                        <a:pt x="108024" y="0"/>
                      </a:lnTo>
                      <a:lnTo>
                        <a:pt x="115928" y="57150"/>
                      </a:lnTo>
                      <a:lnTo>
                        <a:pt x="201996" y="273441"/>
                      </a:lnTo>
                      <a:lnTo>
                        <a:pt x="201996" y="273441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676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" name="Subtitle 2">
            <a:extLst>
              <a:ext uri="{FF2B5EF4-FFF2-40B4-BE49-F238E27FC236}">
                <a16:creationId xmlns:a16="http://schemas.microsoft.com/office/drawing/2014/main" id="{631B3F4D-4C9A-2DC8-3938-FB857DF958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7"/>
            <a:ext cx="11129391" cy="48135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F9573AC-F553-93C7-B8EF-A148F6A69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129389" cy="3798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A0488E8-202A-2D14-E1F2-870DDDC992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999" y="6483508"/>
            <a:ext cx="1984061" cy="24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640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E9A298C-07CA-F134-C3C8-D3F72B21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9" name="footnotes">
            <a:extLst>
              <a:ext uri="{FF2B5EF4-FFF2-40B4-BE49-F238E27FC236}">
                <a16:creationId xmlns:a16="http://schemas.microsoft.com/office/drawing/2014/main" id="{07A7F6E9-1BEA-8C95-8A28-731013871F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CFF9C7C-42A5-A37A-36B5-B9F946D6996A}"/>
              </a:ext>
            </a:extLst>
          </p:cNvPr>
          <p:cNvGrpSpPr/>
          <p:nvPr userDrawn="1"/>
        </p:nvGrpSpPr>
        <p:grpSpPr>
          <a:xfrm>
            <a:off x="4870516" y="675643"/>
            <a:ext cx="8250014" cy="5804357"/>
            <a:chOff x="-1037312" y="825767"/>
            <a:chExt cx="8250014" cy="5804357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FDF0B514-35E3-A49C-6843-A20134B59A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67489" y="1191966"/>
              <a:ext cx="4615031" cy="4615031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86F3A0CA-C609-156E-73D6-BFA86EB70D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-1037312" y="825767"/>
              <a:ext cx="8250014" cy="58043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2326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A680CB-D028-25E1-3625-086BE1CE8C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4" name="footnotes">
            <a:extLst>
              <a:ext uri="{FF2B5EF4-FFF2-40B4-BE49-F238E27FC236}">
                <a16:creationId xmlns:a16="http://schemas.microsoft.com/office/drawing/2014/main" id="{DD4350DC-EEE4-0ACA-39D3-52388B0315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097865-D63D-BAD2-5EC8-9E05B2B05D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12DFE95-BB99-0981-E7C3-CC8634FD8D3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95831" y="902640"/>
            <a:ext cx="5052719" cy="505271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EA592FD-36D4-0795-D12D-239322F3F7D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92636" y="412751"/>
            <a:ext cx="7632091" cy="536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657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71FECBDB-0204-F169-0062-7F4D852B9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1116DF71-C805-4A66-B529-6672142A24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B2D267A-80E5-F6A6-3F99-9246BAD699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ECF7ACC-BCF3-5887-B2AB-0F2A28C247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12326" y="545121"/>
            <a:ext cx="4751675" cy="5749959"/>
          </a:xfrm>
          <a:prstGeom prst="rect">
            <a:avLst/>
          </a:prstGeom>
        </p:spPr>
      </p:pic>
      <p:sp>
        <p:nvSpPr>
          <p:cNvPr id="57" name="Freeform 56">
            <a:extLst>
              <a:ext uri="{FF2B5EF4-FFF2-40B4-BE49-F238E27FC236}">
                <a16:creationId xmlns:a16="http://schemas.microsoft.com/office/drawing/2014/main" id="{7E43ED5B-313E-51C4-A761-B3FCF03DB8CC}"/>
              </a:ext>
            </a:extLst>
          </p:cNvPr>
          <p:cNvSpPr/>
          <p:nvPr/>
        </p:nvSpPr>
        <p:spPr>
          <a:xfrm>
            <a:off x="13782317" y="1075636"/>
            <a:ext cx="10641" cy="10639"/>
          </a:xfrm>
          <a:custGeom>
            <a:avLst/>
            <a:gdLst/>
            <a:ahLst/>
            <a:cxnLst/>
            <a:rect l="l" t="t" r="r" b="b"/>
            <a:pathLst>
              <a:path w="10641" h="10639"/>
            </a:pathLst>
          </a:custGeom>
          <a:solidFill>
            <a:srgbClr val="7A3E1A"/>
          </a:solidFill>
          <a:ln w="15960" cap="flat">
            <a:solidFill>
              <a:srgbClr val="28180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09096A8-713F-0183-6549-E14028BB9486}"/>
              </a:ext>
            </a:extLst>
          </p:cNvPr>
          <p:cNvGrpSpPr/>
          <p:nvPr userDrawn="1"/>
        </p:nvGrpSpPr>
        <p:grpSpPr>
          <a:xfrm flipH="1">
            <a:off x="6296528" y="1061489"/>
            <a:ext cx="5468526" cy="4617743"/>
            <a:chOff x="15003265" y="1942745"/>
            <a:chExt cx="4435068" cy="3745069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AD107FC-4855-B881-F225-DBD690567ACA}"/>
                </a:ext>
              </a:extLst>
            </p:cNvPr>
            <p:cNvSpPr/>
            <p:nvPr/>
          </p:nvSpPr>
          <p:spPr>
            <a:xfrm>
              <a:off x="17273829" y="2922635"/>
              <a:ext cx="368199" cy="448982"/>
            </a:xfrm>
            <a:custGeom>
              <a:avLst/>
              <a:gdLst>
                <a:gd name="connsiteX0" fmla="*/ 4257 w 368199"/>
                <a:gd name="connsiteY0" fmla="*/ 0 h 448982"/>
                <a:gd name="connsiteX1" fmla="*/ 368200 w 368199"/>
                <a:gd name="connsiteY1" fmla="*/ 224491 h 448982"/>
                <a:gd name="connsiteX2" fmla="*/ 242629 w 368199"/>
                <a:gd name="connsiteY2" fmla="*/ 448983 h 448982"/>
                <a:gd name="connsiteX3" fmla="*/ 0 w 368199"/>
                <a:gd name="connsiteY3" fmla="*/ 326629 h 448982"/>
                <a:gd name="connsiteX4" fmla="*/ 4257 w 368199"/>
                <a:gd name="connsiteY4" fmla="*/ 0 h 448982"/>
                <a:gd name="connsiteX5" fmla="*/ 4257 w 368199"/>
                <a:gd name="connsiteY5" fmla="*/ 0 h 44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8199" h="448982">
                  <a:moveTo>
                    <a:pt x="4257" y="0"/>
                  </a:moveTo>
                  <a:cubicBezTo>
                    <a:pt x="108544" y="70220"/>
                    <a:pt x="368200" y="224491"/>
                    <a:pt x="368200" y="224491"/>
                  </a:cubicBezTo>
                  <a:lnTo>
                    <a:pt x="242629" y="448983"/>
                  </a:lnTo>
                  <a:cubicBezTo>
                    <a:pt x="242629" y="448983"/>
                    <a:pt x="127699" y="403233"/>
                    <a:pt x="0" y="326629"/>
                  </a:cubicBezTo>
                  <a:lnTo>
                    <a:pt x="4257" y="0"/>
                  </a:lnTo>
                  <a:lnTo>
                    <a:pt x="4257" y="0"/>
                  </a:lnTo>
                  <a:close/>
                </a:path>
              </a:pathLst>
            </a:custGeom>
            <a:solidFill>
              <a:srgbClr val="FFFFFF"/>
            </a:solidFill>
            <a:ln w="15960" cap="flat">
              <a:solidFill>
                <a:srgbClr val="28180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1C35B3FE-E940-FD93-FE7D-52093093AF5F}"/>
                </a:ext>
              </a:extLst>
            </p:cNvPr>
            <p:cNvSpPr/>
            <p:nvPr/>
          </p:nvSpPr>
          <p:spPr>
            <a:xfrm>
              <a:off x="15013202" y="4784820"/>
              <a:ext cx="1945286" cy="163846"/>
            </a:xfrm>
            <a:custGeom>
              <a:avLst/>
              <a:gdLst>
                <a:gd name="connsiteX0" fmla="*/ 1945287 w 1945286"/>
                <a:gd name="connsiteY0" fmla="*/ 0 h 163846"/>
                <a:gd name="connsiteX1" fmla="*/ 0 w 1945286"/>
                <a:gd name="connsiteY1" fmla="*/ 163847 h 16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5286" h="163846">
                  <a:moveTo>
                    <a:pt x="1945287" y="0"/>
                  </a:moveTo>
                  <a:cubicBezTo>
                    <a:pt x="1166321" y="136184"/>
                    <a:pt x="517182" y="163847"/>
                    <a:pt x="0" y="163847"/>
                  </a:cubicBezTo>
                </a:path>
              </a:pathLst>
            </a:custGeom>
            <a:noFill/>
            <a:ln w="15960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aphic 8">
              <a:extLst>
                <a:ext uri="{FF2B5EF4-FFF2-40B4-BE49-F238E27FC236}">
                  <a16:creationId xmlns:a16="http://schemas.microsoft.com/office/drawing/2014/main" id="{0C300E12-2146-94C3-A5E9-083F81984C12}"/>
                </a:ext>
              </a:extLst>
            </p:cNvPr>
            <p:cNvGrpSpPr/>
            <p:nvPr/>
          </p:nvGrpSpPr>
          <p:grpSpPr>
            <a:xfrm>
              <a:off x="15003265" y="1942745"/>
              <a:ext cx="1465350" cy="670282"/>
              <a:chOff x="18754078" y="1990624"/>
              <a:chExt cx="1465350" cy="670282"/>
            </a:xfrm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65874CC5-983D-AEDD-7C66-0DBF20EB5411}"/>
                  </a:ext>
                </a:extLst>
              </p:cNvPr>
              <p:cNvSpPr/>
              <p:nvPr/>
            </p:nvSpPr>
            <p:spPr>
              <a:xfrm>
                <a:off x="19464937" y="2017222"/>
                <a:ext cx="754490" cy="463877"/>
              </a:xfrm>
              <a:custGeom>
                <a:avLst/>
                <a:gdLst>
                  <a:gd name="connsiteX0" fmla="*/ 233052 w 754490"/>
                  <a:gd name="connsiteY0" fmla="*/ 1064 h 463877"/>
                  <a:gd name="connsiteX1" fmla="*/ 427793 w 754490"/>
                  <a:gd name="connsiteY1" fmla="*/ 108522 h 463877"/>
                  <a:gd name="connsiteX2" fmla="*/ 576776 w 754490"/>
                  <a:gd name="connsiteY2" fmla="*/ 108522 h 463877"/>
                  <a:gd name="connsiteX3" fmla="*/ 754491 w 754490"/>
                  <a:gd name="connsiteY3" fmla="*/ 286200 h 463877"/>
                  <a:gd name="connsiteX4" fmla="*/ 754491 w 754490"/>
                  <a:gd name="connsiteY4" fmla="*/ 286200 h 463877"/>
                  <a:gd name="connsiteX5" fmla="*/ 576776 w 754490"/>
                  <a:gd name="connsiteY5" fmla="*/ 463878 h 463877"/>
                  <a:gd name="connsiteX6" fmla="*/ 231987 w 754490"/>
                  <a:gd name="connsiteY6" fmla="*/ 463878 h 463877"/>
                  <a:gd name="connsiteX7" fmla="*/ 0 w 754490"/>
                  <a:gd name="connsiteY7" fmla="*/ 231939 h 463877"/>
                  <a:gd name="connsiteX8" fmla="*/ 231987 w 754490"/>
                  <a:gd name="connsiteY8" fmla="*/ 0 h 463877"/>
                  <a:gd name="connsiteX9" fmla="*/ 233052 w 754490"/>
                  <a:gd name="connsiteY9" fmla="*/ 0 h 46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4490" h="463877">
                    <a:moveTo>
                      <a:pt x="233052" y="1064"/>
                    </a:moveTo>
                    <a:cubicBezTo>
                      <a:pt x="314991" y="1064"/>
                      <a:pt x="387355" y="43622"/>
                      <a:pt x="427793" y="108522"/>
                    </a:cubicBezTo>
                    <a:lnTo>
                      <a:pt x="576776" y="108522"/>
                    </a:lnTo>
                    <a:cubicBezTo>
                      <a:pt x="674678" y="108522"/>
                      <a:pt x="754491" y="188317"/>
                      <a:pt x="754491" y="286200"/>
                    </a:cubicBezTo>
                    <a:lnTo>
                      <a:pt x="754491" y="286200"/>
                    </a:lnTo>
                    <a:cubicBezTo>
                      <a:pt x="754491" y="384082"/>
                      <a:pt x="674678" y="463878"/>
                      <a:pt x="576776" y="463878"/>
                    </a:cubicBezTo>
                    <a:lnTo>
                      <a:pt x="231987" y="463878"/>
                    </a:lnTo>
                    <a:cubicBezTo>
                      <a:pt x="104288" y="463878"/>
                      <a:pt x="0" y="360676"/>
                      <a:pt x="0" y="231939"/>
                    </a:cubicBezTo>
                    <a:cubicBezTo>
                      <a:pt x="0" y="103202"/>
                      <a:pt x="103224" y="0"/>
                      <a:pt x="231987" y="0"/>
                    </a:cubicBezTo>
                    <a:lnTo>
                      <a:pt x="23305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9" name="Graphic 8">
                <a:extLst>
                  <a:ext uri="{FF2B5EF4-FFF2-40B4-BE49-F238E27FC236}">
                    <a16:creationId xmlns:a16="http://schemas.microsoft.com/office/drawing/2014/main" id="{8C1A6A25-FE82-ACA1-BFAB-34EA05522BE6}"/>
                  </a:ext>
                </a:extLst>
              </p:cNvPr>
              <p:cNvGrpSpPr/>
              <p:nvPr/>
            </p:nvGrpSpPr>
            <p:grpSpPr>
              <a:xfrm>
                <a:off x="18754078" y="1990624"/>
                <a:ext cx="1251453" cy="670282"/>
                <a:chOff x="18754078" y="1990624"/>
                <a:chExt cx="1251453" cy="670282"/>
              </a:xfrm>
            </p:grpSpPr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D74A13FC-69A9-8E44-86E1-39705C2E7747}"/>
                    </a:ext>
                  </a:extLst>
                </p:cNvPr>
                <p:cNvSpPr/>
                <p:nvPr/>
              </p:nvSpPr>
              <p:spPr>
                <a:xfrm>
                  <a:off x="18754078" y="1990624"/>
                  <a:ext cx="1251453" cy="670282"/>
                </a:xfrm>
                <a:custGeom>
                  <a:avLst/>
                  <a:gdLst>
                    <a:gd name="connsiteX0" fmla="*/ 212832 w 1251453"/>
                    <a:gd name="connsiteY0" fmla="*/ 235131 h 670282"/>
                    <a:gd name="connsiteX1" fmla="*/ 533145 w 1251453"/>
                    <a:gd name="connsiteY1" fmla="*/ 0 h 670282"/>
                    <a:gd name="connsiteX2" fmla="*/ 835367 w 1251453"/>
                    <a:gd name="connsiteY2" fmla="*/ 188317 h 670282"/>
                    <a:gd name="connsiteX3" fmla="*/ 868355 w 1251453"/>
                    <a:gd name="connsiteY3" fmla="*/ 184062 h 670282"/>
                    <a:gd name="connsiteX4" fmla="*/ 999247 w 1251453"/>
                    <a:gd name="connsiteY4" fmla="*/ 314926 h 670282"/>
                    <a:gd name="connsiteX5" fmla="*/ 1073738 w 1251453"/>
                    <a:gd name="connsiteY5" fmla="*/ 314926 h 670282"/>
                    <a:gd name="connsiteX6" fmla="*/ 1251453 w 1251453"/>
                    <a:gd name="connsiteY6" fmla="*/ 492604 h 670282"/>
                    <a:gd name="connsiteX7" fmla="*/ 1251453 w 1251453"/>
                    <a:gd name="connsiteY7" fmla="*/ 492604 h 670282"/>
                    <a:gd name="connsiteX8" fmla="*/ 1073738 w 1251453"/>
                    <a:gd name="connsiteY8" fmla="*/ 670282 h 670282"/>
                    <a:gd name="connsiteX9" fmla="*/ 218153 w 1251453"/>
                    <a:gd name="connsiteY9" fmla="*/ 670282 h 670282"/>
                    <a:gd name="connsiteX10" fmla="*/ 0 w 1251453"/>
                    <a:gd name="connsiteY10" fmla="*/ 452174 h 670282"/>
                    <a:gd name="connsiteX11" fmla="*/ 212832 w 1251453"/>
                    <a:gd name="connsiteY11" fmla="*/ 234067 h 670282"/>
                    <a:gd name="connsiteX12" fmla="*/ 212832 w 1251453"/>
                    <a:gd name="connsiteY12" fmla="*/ 234067 h 670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51453" h="670282">
                      <a:moveTo>
                        <a:pt x="212832" y="235131"/>
                      </a:moveTo>
                      <a:cubicBezTo>
                        <a:pt x="255399" y="98946"/>
                        <a:pt x="383098" y="0"/>
                        <a:pt x="533145" y="0"/>
                      </a:cubicBezTo>
                      <a:cubicBezTo>
                        <a:pt x="683192" y="0"/>
                        <a:pt x="780030" y="76604"/>
                        <a:pt x="835367" y="188317"/>
                      </a:cubicBezTo>
                      <a:cubicBezTo>
                        <a:pt x="846008" y="185126"/>
                        <a:pt x="856650" y="184062"/>
                        <a:pt x="868355" y="184062"/>
                      </a:cubicBezTo>
                      <a:cubicBezTo>
                        <a:pt x="940718" y="184062"/>
                        <a:pt x="999247" y="242578"/>
                        <a:pt x="999247" y="314926"/>
                      </a:cubicBezTo>
                      <a:lnTo>
                        <a:pt x="1073738" y="314926"/>
                      </a:lnTo>
                      <a:cubicBezTo>
                        <a:pt x="1171641" y="314926"/>
                        <a:pt x="1251453" y="394722"/>
                        <a:pt x="1251453" y="492604"/>
                      </a:cubicBezTo>
                      <a:lnTo>
                        <a:pt x="1251453" y="492604"/>
                      </a:lnTo>
                      <a:cubicBezTo>
                        <a:pt x="1251453" y="590487"/>
                        <a:pt x="1171641" y="670282"/>
                        <a:pt x="1073738" y="670282"/>
                      </a:cubicBezTo>
                      <a:lnTo>
                        <a:pt x="218153" y="670282"/>
                      </a:lnTo>
                      <a:cubicBezTo>
                        <a:pt x="97903" y="670282"/>
                        <a:pt x="0" y="572400"/>
                        <a:pt x="0" y="452174"/>
                      </a:cubicBezTo>
                      <a:cubicBezTo>
                        <a:pt x="0" y="331949"/>
                        <a:pt x="94710" y="237259"/>
                        <a:pt x="212832" y="234067"/>
                      </a:cubicBezTo>
                      <a:lnTo>
                        <a:pt x="212832" y="2340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1" name="Freeform 20">
                  <a:extLst>
                    <a:ext uri="{FF2B5EF4-FFF2-40B4-BE49-F238E27FC236}">
                      <a16:creationId xmlns:a16="http://schemas.microsoft.com/office/drawing/2014/main" id="{6F5438A0-4989-C855-EBEF-024D5EC5DB3A}"/>
                    </a:ext>
                  </a:extLst>
                </p:cNvPr>
                <p:cNvSpPr/>
                <p:nvPr/>
              </p:nvSpPr>
              <p:spPr>
                <a:xfrm>
                  <a:off x="18969038" y="2225754"/>
                  <a:ext cx="127699" cy="41493"/>
                </a:xfrm>
                <a:custGeom>
                  <a:avLst/>
                  <a:gdLst>
                    <a:gd name="connsiteX0" fmla="*/ 0 w 127699"/>
                    <a:gd name="connsiteY0" fmla="*/ 0 h 41493"/>
                    <a:gd name="connsiteX1" fmla="*/ 127699 w 127699"/>
                    <a:gd name="connsiteY1" fmla="*/ 41494 h 4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699" h="41493">
                      <a:moveTo>
                        <a:pt x="0" y="0"/>
                      </a:moveTo>
                      <a:cubicBezTo>
                        <a:pt x="47887" y="0"/>
                        <a:pt x="91518" y="14895"/>
                        <a:pt x="127699" y="41494"/>
                      </a:cubicBezTo>
                    </a:path>
                  </a:pathLst>
                </a:custGeom>
                <a:noFill/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3" name="Graphic 8">
              <a:extLst>
                <a:ext uri="{FF2B5EF4-FFF2-40B4-BE49-F238E27FC236}">
                  <a16:creationId xmlns:a16="http://schemas.microsoft.com/office/drawing/2014/main" id="{46919405-B07C-DCB8-6927-63C1770FEEAA}"/>
                </a:ext>
              </a:extLst>
            </p:cNvPr>
            <p:cNvGrpSpPr/>
            <p:nvPr/>
          </p:nvGrpSpPr>
          <p:grpSpPr>
            <a:xfrm>
              <a:off x="15981938" y="3498226"/>
              <a:ext cx="3456395" cy="1970416"/>
              <a:chOff x="15981938" y="3498226"/>
              <a:chExt cx="3456395" cy="1970416"/>
            </a:xfrm>
            <a:solidFill>
              <a:srgbClr val="FFFFFF"/>
            </a:solidFill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20B8ED1B-571A-D9C4-2B8C-8E035A73EDC5}"/>
                  </a:ext>
                </a:extLst>
              </p:cNvPr>
              <p:cNvSpPr/>
              <p:nvPr/>
            </p:nvSpPr>
            <p:spPr>
              <a:xfrm>
                <a:off x="15981938" y="3498226"/>
                <a:ext cx="3040308" cy="215979"/>
              </a:xfrm>
              <a:custGeom>
                <a:avLst/>
                <a:gdLst>
                  <a:gd name="connsiteX0" fmla="*/ 0 w 3040308"/>
                  <a:gd name="connsiteY0" fmla="*/ 0 h 215979"/>
                  <a:gd name="connsiteX1" fmla="*/ 3040309 w 3040308"/>
                  <a:gd name="connsiteY1" fmla="*/ 0 h 215979"/>
                  <a:gd name="connsiteX2" fmla="*/ 3040309 w 3040308"/>
                  <a:gd name="connsiteY2" fmla="*/ 215980 h 215979"/>
                  <a:gd name="connsiteX3" fmla="*/ 0 w 3040308"/>
                  <a:gd name="connsiteY3" fmla="*/ 21598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0308" h="215979">
                    <a:moveTo>
                      <a:pt x="0" y="0"/>
                    </a:moveTo>
                    <a:lnTo>
                      <a:pt x="3040309" y="0"/>
                    </a:lnTo>
                    <a:lnTo>
                      <a:pt x="3040309" y="215980"/>
                    </a:lnTo>
                    <a:lnTo>
                      <a:pt x="0" y="21598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0ADF603C-144E-7C45-E4BD-F60F68D0DC2D}"/>
                  </a:ext>
                </a:extLst>
              </p:cNvPr>
              <p:cNvSpPr/>
              <p:nvPr/>
            </p:nvSpPr>
            <p:spPr>
              <a:xfrm>
                <a:off x="15981938" y="3770595"/>
                <a:ext cx="3040308" cy="215979"/>
              </a:xfrm>
              <a:custGeom>
                <a:avLst/>
                <a:gdLst>
                  <a:gd name="connsiteX0" fmla="*/ 0 w 3040308"/>
                  <a:gd name="connsiteY0" fmla="*/ 0 h 215979"/>
                  <a:gd name="connsiteX1" fmla="*/ 3040309 w 3040308"/>
                  <a:gd name="connsiteY1" fmla="*/ 0 h 215979"/>
                  <a:gd name="connsiteX2" fmla="*/ 3040309 w 3040308"/>
                  <a:gd name="connsiteY2" fmla="*/ 215980 h 215979"/>
                  <a:gd name="connsiteX3" fmla="*/ 0 w 3040308"/>
                  <a:gd name="connsiteY3" fmla="*/ 21598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0308" h="215979">
                    <a:moveTo>
                      <a:pt x="0" y="0"/>
                    </a:moveTo>
                    <a:lnTo>
                      <a:pt x="3040309" y="0"/>
                    </a:lnTo>
                    <a:lnTo>
                      <a:pt x="3040309" y="215980"/>
                    </a:lnTo>
                    <a:lnTo>
                      <a:pt x="0" y="21598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DD716ECF-6D76-084C-0E02-C7FE7CA1031E}"/>
                  </a:ext>
                </a:extLst>
              </p:cNvPr>
              <p:cNvSpPr/>
              <p:nvPr/>
            </p:nvSpPr>
            <p:spPr>
              <a:xfrm>
                <a:off x="15981938" y="4041900"/>
                <a:ext cx="3040308" cy="215979"/>
              </a:xfrm>
              <a:custGeom>
                <a:avLst/>
                <a:gdLst>
                  <a:gd name="connsiteX0" fmla="*/ 0 w 3040308"/>
                  <a:gd name="connsiteY0" fmla="*/ 0 h 215979"/>
                  <a:gd name="connsiteX1" fmla="*/ 3040309 w 3040308"/>
                  <a:gd name="connsiteY1" fmla="*/ 0 h 215979"/>
                  <a:gd name="connsiteX2" fmla="*/ 3040309 w 3040308"/>
                  <a:gd name="connsiteY2" fmla="*/ 215980 h 215979"/>
                  <a:gd name="connsiteX3" fmla="*/ 0 w 3040308"/>
                  <a:gd name="connsiteY3" fmla="*/ 21598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0308" h="215979">
                    <a:moveTo>
                      <a:pt x="0" y="0"/>
                    </a:moveTo>
                    <a:lnTo>
                      <a:pt x="3040309" y="0"/>
                    </a:lnTo>
                    <a:lnTo>
                      <a:pt x="3040309" y="215980"/>
                    </a:lnTo>
                    <a:lnTo>
                      <a:pt x="0" y="21598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DC9993AB-14EA-2269-9071-E138ECD8382E}"/>
                  </a:ext>
                </a:extLst>
              </p:cNvPr>
              <p:cNvSpPr/>
              <p:nvPr/>
            </p:nvSpPr>
            <p:spPr>
              <a:xfrm>
                <a:off x="15981938" y="4314268"/>
                <a:ext cx="3456395" cy="215979"/>
              </a:xfrm>
              <a:custGeom>
                <a:avLst/>
                <a:gdLst>
                  <a:gd name="connsiteX0" fmla="*/ 0 w 3456395"/>
                  <a:gd name="connsiteY0" fmla="*/ 0 h 215979"/>
                  <a:gd name="connsiteX1" fmla="*/ 3328696 w 3456395"/>
                  <a:gd name="connsiteY1" fmla="*/ 0 h 215979"/>
                  <a:gd name="connsiteX2" fmla="*/ 3456396 w 3456395"/>
                  <a:gd name="connsiteY2" fmla="*/ 127673 h 215979"/>
                  <a:gd name="connsiteX3" fmla="*/ 3456396 w 3456395"/>
                  <a:gd name="connsiteY3" fmla="*/ 215980 h 215979"/>
                  <a:gd name="connsiteX4" fmla="*/ 127699 w 3456395"/>
                  <a:gd name="connsiteY4" fmla="*/ 215980 h 215979"/>
                  <a:gd name="connsiteX5" fmla="*/ 0 w 3456395"/>
                  <a:gd name="connsiteY5" fmla="*/ 88307 h 215979"/>
                  <a:gd name="connsiteX6" fmla="*/ 0 w 3456395"/>
                  <a:gd name="connsiteY6" fmla="*/ 0 h 215979"/>
                  <a:gd name="connsiteX7" fmla="*/ 0 w 3456395"/>
                  <a:gd name="connsiteY7" fmla="*/ 0 h 21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6395" h="215979">
                    <a:moveTo>
                      <a:pt x="0" y="0"/>
                    </a:moveTo>
                    <a:lnTo>
                      <a:pt x="3328696" y="0"/>
                    </a:lnTo>
                    <a:cubicBezTo>
                      <a:pt x="3398931" y="0"/>
                      <a:pt x="3456396" y="57453"/>
                      <a:pt x="3456396" y="127673"/>
                    </a:cubicBezTo>
                    <a:lnTo>
                      <a:pt x="3456396" y="215980"/>
                    </a:lnTo>
                    <a:lnTo>
                      <a:pt x="127699" y="215980"/>
                    </a:lnTo>
                    <a:cubicBezTo>
                      <a:pt x="57465" y="215980"/>
                      <a:pt x="0" y="158527"/>
                      <a:pt x="0" y="88307"/>
                    </a:cubicBez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8" name="Graphic 8">
                <a:extLst>
                  <a:ext uri="{FF2B5EF4-FFF2-40B4-BE49-F238E27FC236}">
                    <a16:creationId xmlns:a16="http://schemas.microsoft.com/office/drawing/2014/main" id="{8AAEE313-CC7B-BAF1-8A8E-D2565F425842}"/>
                  </a:ext>
                </a:extLst>
              </p:cNvPr>
              <p:cNvGrpSpPr/>
              <p:nvPr/>
            </p:nvGrpSpPr>
            <p:grpSpPr>
              <a:xfrm>
                <a:off x="16071327" y="4530248"/>
                <a:ext cx="3254205" cy="938394"/>
                <a:chOff x="16071327" y="4530248"/>
                <a:chExt cx="3254205" cy="938394"/>
              </a:xfrm>
              <a:solidFill>
                <a:srgbClr val="FFFFFF"/>
              </a:solidFill>
            </p:grpSpPr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139A891F-7AC9-FA67-3015-C9F5AD37C19D}"/>
                    </a:ext>
                  </a:extLst>
                </p:cNvPr>
                <p:cNvSpPr/>
                <p:nvPr/>
              </p:nvSpPr>
              <p:spPr>
                <a:xfrm>
                  <a:off x="16071327" y="4530248"/>
                  <a:ext cx="268168" cy="938394"/>
                </a:xfrm>
                <a:custGeom>
                  <a:avLst/>
                  <a:gdLst>
                    <a:gd name="connsiteX0" fmla="*/ 41502 w 268168"/>
                    <a:gd name="connsiteY0" fmla="*/ 938395 h 938394"/>
                    <a:gd name="connsiteX1" fmla="*/ 0 w 268168"/>
                    <a:gd name="connsiteY1" fmla="*/ 938395 h 938394"/>
                    <a:gd name="connsiteX2" fmla="*/ 96839 w 268168"/>
                    <a:gd name="connsiteY2" fmla="*/ 0 h 938394"/>
                    <a:gd name="connsiteX3" fmla="*/ 268169 w 268168"/>
                    <a:gd name="connsiteY3" fmla="*/ 0 h 938394"/>
                    <a:gd name="connsiteX4" fmla="*/ 75555 w 268168"/>
                    <a:gd name="connsiteY4" fmla="*/ 908605 h 938394"/>
                    <a:gd name="connsiteX5" fmla="*/ 41502 w 268168"/>
                    <a:gd name="connsiteY5" fmla="*/ 938395 h 938394"/>
                    <a:gd name="connsiteX6" fmla="*/ 41502 w 268168"/>
                    <a:gd name="connsiteY6" fmla="*/ 938395 h 938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68168" h="938394">
                      <a:moveTo>
                        <a:pt x="41502" y="938395"/>
                      </a:moveTo>
                      <a:lnTo>
                        <a:pt x="0" y="938395"/>
                      </a:lnTo>
                      <a:lnTo>
                        <a:pt x="96839" y="0"/>
                      </a:lnTo>
                      <a:lnTo>
                        <a:pt x="268169" y="0"/>
                      </a:lnTo>
                      <a:lnTo>
                        <a:pt x="75555" y="908605"/>
                      </a:lnTo>
                      <a:cubicBezTo>
                        <a:pt x="72363" y="925628"/>
                        <a:pt x="58529" y="938395"/>
                        <a:pt x="41502" y="938395"/>
                      </a:cubicBezTo>
                      <a:lnTo>
                        <a:pt x="41502" y="93839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AA6C21AD-16B7-5115-4A91-B511D937F2DD}"/>
                    </a:ext>
                  </a:extLst>
                </p:cNvPr>
                <p:cNvSpPr/>
                <p:nvPr/>
              </p:nvSpPr>
              <p:spPr>
                <a:xfrm>
                  <a:off x="19057364" y="4530248"/>
                  <a:ext cx="268168" cy="938394"/>
                </a:xfrm>
                <a:custGeom>
                  <a:avLst/>
                  <a:gdLst>
                    <a:gd name="connsiteX0" fmla="*/ 226666 w 268168"/>
                    <a:gd name="connsiteY0" fmla="*/ 938395 h 938394"/>
                    <a:gd name="connsiteX1" fmla="*/ 268169 w 268168"/>
                    <a:gd name="connsiteY1" fmla="*/ 938395 h 938394"/>
                    <a:gd name="connsiteX2" fmla="*/ 171330 w 268168"/>
                    <a:gd name="connsiteY2" fmla="*/ 0 h 938394"/>
                    <a:gd name="connsiteX3" fmla="*/ 0 w 268168"/>
                    <a:gd name="connsiteY3" fmla="*/ 0 h 938394"/>
                    <a:gd name="connsiteX4" fmla="*/ 192613 w 268168"/>
                    <a:gd name="connsiteY4" fmla="*/ 908605 h 938394"/>
                    <a:gd name="connsiteX5" fmla="*/ 226666 w 268168"/>
                    <a:gd name="connsiteY5" fmla="*/ 938395 h 938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168" h="938394">
                      <a:moveTo>
                        <a:pt x="226666" y="938395"/>
                      </a:moveTo>
                      <a:lnTo>
                        <a:pt x="268169" y="938395"/>
                      </a:lnTo>
                      <a:lnTo>
                        <a:pt x="171330" y="0"/>
                      </a:lnTo>
                      <a:lnTo>
                        <a:pt x="0" y="0"/>
                      </a:lnTo>
                      <a:lnTo>
                        <a:pt x="192613" y="908605"/>
                      </a:lnTo>
                      <a:cubicBezTo>
                        <a:pt x="195805" y="925628"/>
                        <a:pt x="209640" y="938395"/>
                        <a:pt x="226666" y="9383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41" name="Graphic 8">
              <a:extLst>
                <a:ext uri="{FF2B5EF4-FFF2-40B4-BE49-F238E27FC236}">
                  <a16:creationId xmlns:a16="http://schemas.microsoft.com/office/drawing/2014/main" id="{1F9092AC-2521-C7DD-03A7-1452FC2F15FE}"/>
                </a:ext>
              </a:extLst>
            </p:cNvPr>
            <p:cNvGrpSpPr/>
            <p:nvPr/>
          </p:nvGrpSpPr>
          <p:grpSpPr>
            <a:xfrm>
              <a:off x="17163845" y="2324398"/>
              <a:ext cx="1760596" cy="3321968"/>
              <a:chOff x="17163845" y="2324398"/>
              <a:chExt cx="1760596" cy="3321968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EE172F4-C327-0FE8-5417-E62BF44951D6}"/>
                  </a:ext>
                </a:extLst>
              </p:cNvPr>
              <p:cNvSpPr/>
              <p:nvPr/>
            </p:nvSpPr>
            <p:spPr>
              <a:xfrm>
                <a:off x="18408225" y="5066474"/>
                <a:ext cx="196869" cy="169166"/>
              </a:xfrm>
              <a:custGeom>
                <a:avLst/>
                <a:gdLst>
                  <a:gd name="connsiteX0" fmla="*/ 185164 w 196869"/>
                  <a:gd name="connsiteY0" fmla="*/ 0 h 169166"/>
                  <a:gd name="connsiteX1" fmla="*/ 196870 w 196869"/>
                  <a:gd name="connsiteY1" fmla="*/ 120225 h 169166"/>
                  <a:gd name="connsiteX2" fmla="*/ 115994 w 196869"/>
                  <a:gd name="connsiteY2" fmla="*/ 145760 h 169166"/>
                  <a:gd name="connsiteX3" fmla="*/ 48951 w 196869"/>
                  <a:gd name="connsiteY3" fmla="*/ 169166 h 169166"/>
                  <a:gd name="connsiteX4" fmla="*/ 0 w 196869"/>
                  <a:gd name="connsiteY4" fmla="*/ 10639 h 169166"/>
                  <a:gd name="connsiteX5" fmla="*/ 185164 w 196869"/>
                  <a:gd name="connsiteY5" fmla="*/ 0 h 169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6869" h="169166">
                    <a:moveTo>
                      <a:pt x="185164" y="0"/>
                    </a:moveTo>
                    <a:cubicBezTo>
                      <a:pt x="189421" y="42558"/>
                      <a:pt x="193677" y="82987"/>
                      <a:pt x="196870" y="120225"/>
                    </a:cubicBezTo>
                    <a:cubicBezTo>
                      <a:pt x="175587" y="121289"/>
                      <a:pt x="127699" y="125545"/>
                      <a:pt x="115994" y="145760"/>
                    </a:cubicBezTo>
                    <a:cubicBezTo>
                      <a:pt x="104288" y="163847"/>
                      <a:pt x="69170" y="168102"/>
                      <a:pt x="48951" y="169166"/>
                    </a:cubicBezTo>
                    <a:cubicBezTo>
                      <a:pt x="37246" y="120225"/>
                      <a:pt x="19155" y="65964"/>
                      <a:pt x="0" y="10639"/>
                    </a:cubicBezTo>
                    <a:cubicBezTo>
                      <a:pt x="60657" y="13831"/>
                      <a:pt x="127699" y="12767"/>
                      <a:pt x="185164" y="0"/>
                    </a:cubicBez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FDED9E04-AE8D-CE63-3AC5-378E2FFE4081}"/>
                  </a:ext>
                </a:extLst>
              </p:cNvPr>
              <p:cNvSpPr/>
              <p:nvPr/>
            </p:nvSpPr>
            <p:spPr>
              <a:xfrm>
                <a:off x="18416738" y="5174995"/>
                <a:ext cx="507703" cy="471371"/>
              </a:xfrm>
              <a:custGeom>
                <a:avLst/>
                <a:gdLst>
                  <a:gd name="connsiteX0" fmla="*/ 22347 w 507703"/>
                  <a:gd name="connsiteY0" fmla="*/ 119161 h 471371"/>
                  <a:gd name="connsiteX1" fmla="*/ 9577 w 507703"/>
                  <a:gd name="connsiteY1" fmla="*/ 40430 h 471371"/>
                  <a:gd name="connsiteX2" fmla="*/ 100031 w 507703"/>
                  <a:gd name="connsiteY2" fmla="*/ 28727 h 471371"/>
                  <a:gd name="connsiteX3" fmla="*/ 205383 w 507703"/>
                  <a:gd name="connsiteY3" fmla="*/ 0 h 471371"/>
                  <a:gd name="connsiteX4" fmla="*/ 253270 w 507703"/>
                  <a:gd name="connsiteY4" fmla="*/ 218108 h 471371"/>
                  <a:gd name="connsiteX5" fmla="*/ 481001 w 507703"/>
                  <a:gd name="connsiteY5" fmla="*/ 355356 h 471371"/>
                  <a:gd name="connsiteX6" fmla="*/ 507605 w 507703"/>
                  <a:gd name="connsiteY6" fmla="*/ 421320 h 471371"/>
                  <a:gd name="connsiteX7" fmla="*/ 448012 w 507703"/>
                  <a:gd name="connsiteY7" fmla="*/ 467070 h 471371"/>
                  <a:gd name="connsiteX8" fmla="*/ 261784 w 507703"/>
                  <a:gd name="connsiteY8" fmla="*/ 467070 h 471371"/>
                  <a:gd name="connsiteX9" fmla="*/ 141533 w 507703"/>
                  <a:gd name="connsiteY9" fmla="*/ 408553 h 471371"/>
                  <a:gd name="connsiteX10" fmla="*/ 138341 w 507703"/>
                  <a:gd name="connsiteY10" fmla="*/ 471326 h 471371"/>
                  <a:gd name="connsiteX11" fmla="*/ 0 w 507703"/>
                  <a:gd name="connsiteY11" fmla="*/ 471326 h 471371"/>
                  <a:gd name="connsiteX12" fmla="*/ 0 w 507703"/>
                  <a:gd name="connsiteY12" fmla="*/ 388338 h 471371"/>
                  <a:gd name="connsiteX13" fmla="*/ 23412 w 507703"/>
                  <a:gd name="connsiteY13" fmla="*/ 257474 h 471371"/>
                  <a:gd name="connsiteX14" fmla="*/ 21283 w 507703"/>
                  <a:gd name="connsiteY14" fmla="*/ 119161 h 471371"/>
                  <a:gd name="connsiteX15" fmla="*/ 22347 w 507703"/>
                  <a:gd name="connsiteY15" fmla="*/ 119161 h 471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7703" h="471371">
                    <a:moveTo>
                      <a:pt x="22347" y="119161"/>
                    </a:moveTo>
                    <a:cubicBezTo>
                      <a:pt x="13834" y="87243"/>
                      <a:pt x="9577" y="40430"/>
                      <a:pt x="9577" y="40430"/>
                    </a:cubicBezTo>
                    <a:cubicBezTo>
                      <a:pt x="9577" y="40430"/>
                      <a:pt x="87261" y="45750"/>
                      <a:pt x="100031" y="28727"/>
                    </a:cubicBezTo>
                    <a:cubicBezTo>
                      <a:pt x="113865" y="9576"/>
                      <a:pt x="205383" y="0"/>
                      <a:pt x="205383" y="0"/>
                    </a:cubicBezTo>
                    <a:cubicBezTo>
                      <a:pt x="205383" y="0"/>
                      <a:pt x="208576" y="139376"/>
                      <a:pt x="253270" y="218108"/>
                    </a:cubicBezTo>
                    <a:cubicBezTo>
                      <a:pt x="297965" y="295775"/>
                      <a:pt x="448012" y="317054"/>
                      <a:pt x="481001" y="355356"/>
                    </a:cubicBezTo>
                    <a:cubicBezTo>
                      <a:pt x="501220" y="377699"/>
                      <a:pt x="508669" y="400041"/>
                      <a:pt x="507605" y="421320"/>
                    </a:cubicBezTo>
                    <a:cubicBezTo>
                      <a:pt x="506541" y="442599"/>
                      <a:pt x="460782" y="464942"/>
                      <a:pt x="448012" y="467070"/>
                    </a:cubicBezTo>
                    <a:cubicBezTo>
                      <a:pt x="434178" y="469198"/>
                      <a:pt x="267105" y="475581"/>
                      <a:pt x="261784" y="467070"/>
                    </a:cubicBezTo>
                    <a:cubicBezTo>
                      <a:pt x="226666" y="406425"/>
                      <a:pt x="141533" y="408553"/>
                      <a:pt x="141533" y="408553"/>
                    </a:cubicBezTo>
                    <a:lnTo>
                      <a:pt x="138341" y="471326"/>
                    </a:lnTo>
                    <a:lnTo>
                      <a:pt x="0" y="471326"/>
                    </a:lnTo>
                    <a:lnTo>
                      <a:pt x="0" y="388338"/>
                    </a:lnTo>
                    <a:cubicBezTo>
                      <a:pt x="0" y="325566"/>
                      <a:pt x="23412" y="257474"/>
                      <a:pt x="23412" y="257474"/>
                    </a:cubicBezTo>
                    <a:cubicBezTo>
                      <a:pt x="21283" y="240450"/>
                      <a:pt x="29796" y="151080"/>
                      <a:pt x="21283" y="119161"/>
                    </a:cubicBezTo>
                    <a:lnTo>
                      <a:pt x="22347" y="119161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B8A537A1-2FCD-0D11-1A17-5AE23DDA4AF7}"/>
                  </a:ext>
                </a:extLst>
              </p:cNvPr>
              <p:cNvSpPr/>
              <p:nvPr/>
            </p:nvSpPr>
            <p:spPr>
              <a:xfrm>
                <a:off x="18033640" y="5066474"/>
                <a:ext cx="179843" cy="193636"/>
              </a:xfrm>
              <a:custGeom>
                <a:avLst/>
                <a:gdLst>
                  <a:gd name="connsiteX0" fmla="*/ 178779 w 179843"/>
                  <a:gd name="connsiteY0" fmla="*/ 47877 h 193636"/>
                  <a:gd name="connsiteX1" fmla="*/ 163881 w 179843"/>
                  <a:gd name="connsiteY1" fmla="*/ 193637 h 193636"/>
                  <a:gd name="connsiteX2" fmla="*/ 12770 w 179843"/>
                  <a:gd name="connsiteY2" fmla="*/ 185125 h 193636"/>
                  <a:gd name="connsiteX3" fmla="*/ 0 w 179843"/>
                  <a:gd name="connsiteY3" fmla="*/ 0 h 193636"/>
                  <a:gd name="connsiteX4" fmla="*/ 179843 w 179843"/>
                  <a:gd name="connsiteY4" fmla="*/ 47877 h 193636"/>
                  <a:gd name="connsiteX5" fmla="*/ 179843 w 179843"/>
                  <a:gd name="connsiteY5" fmla="*/ 47877 h 1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843" h="193636">
                    <a:moveTo>
                      <a:pt x="178779" y="47877"/>
                    </a:moveTo>
                    <a:lnTo>
                      <a:pt x="163881" y="193637"/>
                    </a:lnTo>
                    <a:cubicBezTo>
                      <a:pt x="156432" y="188317"/>
                      <a:pt x="112801" y="156399"/>
                      <a:pt x="12770" y="185125"/>
                    </a:cubicBezTo>
                    <a:lnTo>
                      <a:pt x="0" y="0"/>
                    </a:lnTo>
                    <a:cubicBezTo>
                      <a:pt x="39374" y="8511"/>
                      <a:pt x="105352" y="56389"/>
                      <a:pt x="179843" y="47877"/>
                    </a:cubicBezTo>
                    <a:lnTo>
                      <a:pt x="179843" y="47877"/>
                    </a:ln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1606B009-0FFD-6B71-540E-254CB23835DD}"/>
                  </a:ext>
                </a:extLst>
              </p:cNvPr>
              <p:cNvSpPr/>
              <p:nvPr/>
            </p:nvSpPr>
            <p:spPr>
              <a:xfrm>
                <a:off x="17539867" y="3779005"/>
                <a:ext cx="1118854" cy="1385487"/>
              </a:xfrm>
              <a:custGeom>
                <a:avLst/>
                <a:gdLst>
                  <a:gd name="connsiteX0" fmla="*/ 883256 w 1118854"/>
                  <a:gd name="connsiteY0" fmla="*/ 1368328 h 1385487"/>
                  <a:gd name="connsiteX1" fmla="*/ 1090768 w 1118854"/>
                  <a:gd name="connsiteY1" fmla="*/ 1319387 h 1385487"/>
                  <a:gd name="connsiteX2" fmla="*/ 1103537 w 1118854"/>
                  <a:gd name="connsiteY2" fmla="*/ 1303428 h 1385487"/>
                  <a:gd name="connsiteX3" fmla="*/ 1115243 w 1118854"/>
                  <a:gd name="connsiteY3" fmla="*/ 565053 h 1385487"/>
                  <a:gd name="connsiteX4" fmla="*/ 951363 w 1118854"/>
                  <a:gd name="connsiteY4" fmla="*/ 341626 h 1385487"/>
                  <a:gd name="connsiteX5" fmla="*/ 948170 w 1118854"/>
                  <a:gd name="connsiteY5" fmla="*/ 340562 h 1385487"/>
                  <a:gd name="connsiteX6" fmla="*/ 738530 w 1118854"/>
                  <a:gd name="connsiteY6" fmla="*/ 240552 h 1385487"/>
                  <a:gd name="connsiteX7" fmla="*/ 710862 w 1118854"/>
                  <a:gd name="connsiteY7" fmla="*/ 200122 h 1385487"/>
                  <a:gd name="connsiteX8" fmla="*/ 705541 w 1118854"/>
                  <a:gd name="connsiteY8" fmla="*/ 124582 h 1385487"/>
                  <a:gd name="connsiteX9" fmla="*/ 701285 w 1118854"/>
                  <a:gd name="connsiteY9" fmla="*/ 16060 h 1385487"/>
                  <a:gd name="connsiteX10" fmla="*/ 682130 w 1118854"/>
                  <a:gd name="connsiteY10" fmla="*/ 101 h 1385487"/>
                  <a:gd name="connsiteX11" fmla="*/ 164947 w 1118854"/>
                  <a:gd name="connsiteY11" fmla="*/ 61810 h 1385487"/>
                  <a:gd name="connsiteX12" fmla="*/ 151113 w 1118854"/>
                  <a:gd name="connsiteY12" fmla="*/ 82025 h 1385487"/>
                  <a:gd name="connsiteX13" fmla="*/ 155370 w 1118854"/>
                  <a:gd name="connsiteY13" fmla="*/ 99048 h 1385487"/>
                  <a:gd name="connsiteX14" fmla="*/ 92584 w 1118854"/>
                  <a:gd name="connsiteY14" fmla="*/ 116071 h 1385487"/>
                  <a:gd name="connsiteX15" fmla="*/ 67045 w 1118854"/>
                  <a:gd name="connsiteY15" fmla="*/ 246935 h 1385487"/>
                  <a:gd name="connsiteX16" fmla="*/ 106419 w 1118854"/>
                  <a:gd name="connsiteY16" fmla="*/ 638465 h 1385487"/>
                  <a:gd name="connsiteX17" fmla="*/ 397999 w 1118854"/>
                  <a:gd name="connsiteY17" fmla="*/ 679959 h 1385487"/>
                  <a:gd name="connsiteX18" fmla="*/ 397999 w 1118854"/>
                  <a:gd name="connsiteY18" fmla="*/ 676767 h 1385487"/>
                  <a:gd name="connsiteX19" fmla="*/ 465041 w 1118854"/>
                  <a:gd name="connsiteY19" fmla="*/ 1332154 h 1385487"/>
                  <a:gd name="connsiteX20" fmla="*/ 481003 w 1118854"/>
                  <a:gd name="connsiteY20" fmla="*/ 1344921 h 1385487"/>
                  <a:gd name="connsiteX21" fmla="*/ 691707 w 1118854"/>
                  <a:gd name="connsiteY21" fmla="*/ 1350241 h 1385487"/>
                  <a:gd name="connsiteX22" fmla="*/ 708734 w 1118854"/>
                  <a:gd name="connsiteY22" fmla="*/ 1334282 h 1385487"/>
                  <a:gd name="connsiteX23" fmla="*/ 739595 w 1118854"/>
                  <a:gd name="connsiteY23" fmla="*/ 837422 h 1385487"/>
                  <a:gd name="connsiteX24" fmla="*/ 772584 w 1118854"/>
                  <a:gd name="connsiteY24" fmla="*/ 836358 h 1385487"/>
                  <a:gd name="connsiteX25" fmla="*/ 772584 w 1118854"/>
                  <a:gd name="connsiteY25" fmla="*/ 838486 h 1385487"/>
                  <a:gd name="connsiteX26" fmla="*/ 861973 w 1118854"/>
                  <a:gd name="connsiteY26" fmla="*/ 1355561 h 1385487"/>
                  <a:gd name="connsiteX27" fmla="*/ 882192 w 1118854"/>
                  <a:gd name="connsiteY27" fmla="*/ 1368328 h 1385487"/>
                  <a:gd name="connsiteX28" fmla="*/ 882192 w 1118854"/>
                  <a:gd name="connsiteY28" fmla="*/ 1368328 h 138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18854" h="1385487">
                    <a:moveTo>
                      <a:pt x="883256" y="1368328"/>
                    </a:moveTo>
                    <a:lnTo>
                      <a:pt x="1090768" y="1319387"/>
                    </a:lnTo>
                    <a:cubicBezTo>
                      <a:pt x="1098217" y="1317259"/>
                      <a:pt x="1103537" y="1310875"/>
                      <a:pt x="1103537" y="1303428"/>
                    </a:cubicBezTo>
                    <a:cubicBezTo>
                      <a:pt x="1106730" y="1217248"/>
                      <a:pt x="1126949" y="709749"/>
                      <a:pt x="1115243" y="565053"/>
                    </a:cubicBezTo>
                    <a:cubicBezTo>
                      <a:pt x="1102474" y="407590"/>
                      <a:pt x="1025854" y="356521"/>
                      <a:pt x="951363" y="341626"/>
                    </a:cubicBezTo>
                    <a:cubicBezTo>
                      <a:pt x="950298" y="341626"/>
                      <a:pt x="949234" y="341626"/>
                      <a:pt x="948170" y="340562"/>
                    </a:cubicBezTo>
                    <a:lnTo>
                      <a:pt x="738530" y="240552"/>
                    </a:lnTo>
                    <a:cubicBezTo>
                      <a:pt x="722568" y="233104"/>
                      <a:pt x="711926" y="218209"/>
                      <a:pt x="710862" y="200122"/>
                    </a:cubicBezTo>
                    <a:lnTo>
                      <a:pt x="705541" y="124582"/>
                    </a:lnTo>
                    <a:lnTo>
                      <a:pt x="701285" y="16060"/>
                    </a:lnTo>
                    <a:cubicBezTo>
                      <a:pt x="701285" y="6485"/>
                      <a:pt x="692772" y="-963"/>
                      <a:pt x="682130" y="101"/>
                    </a:cubicBezTo>
                    <a:lnTo>
                      <a:pt x="164947" y="61810"/>
                    </a:lnTo>
                    <a:cubicBezTo>
                      <a:pt x="155370" y="62874"/>
                      <a:pt x="147921" y="72449"/>
                      <a:pt x="151113" y="82025"/>
                    </a:cubicBezTo>
                    <a:lnTo>
                      <a:pt x="155370" y="99048"/>
                    </a:lnTo>
                    <a:cubicBezTo>
                      <a:pt x="156434" y="103303"/>
                      <a:pt x="95777" y="111815"/>
                      <a:pt x="92584" y="116071"/>
                    </a:cubicBezTo>
                    <a:lnTo>
                      <a:pt x="67045" y="246935"/>
                    </a:lnTo>
                    <a:cubicBezTo>
                      <a:pt x="-62783" y="468235"/>
                      <a:pt x="21286" y="612931"/>
                      <a:pt x="106419" y="638465"/>
                    </a:cubicBezTo>
                    <a:cubicBezTo>
                      <a:pt x="192616" y="664000"/>
                      <a:pt x="397999" y="679959"/>
                      <a:pt x="397999" y="679959"/>
                    </a:cubicBezTo>
                    <a:lnTo>
                      <a:pt x="397999" y="676767"/>
                    </a:lnTo>
                    <a:cubicBezTo>
                      <a:pt x="394806" y="973606"/>
                      <a:pt x="451207" y="1267254"/>
                      <a:pt x="465041" y="1332154"/>
                    </a:cubicBezTo>
                    <a:cubicBezTo>
                      <a:pt x="466105" y="1339602"/>
                      <a:pt x="473554" y="1344921"/>
                      <a:pt x="481003" y="1344921"/>
                    </a:cubicBezTo>
                    <a:lnTo>
                      <a:pt x="691707" y="1350241"/>
                    </a:lnTo>
                    <a:cubicBezTo>
                      <a:pt x="700220" y="1350241"/>
                      <a:pt x="707670" y="1343857"/>
                      <a:pt x="708734" y="1334282"/>
                    </a:cubicBezTo>
                    <a:lnTo>
                      <a:pt x="739595" y="837422"/>
                    </a:lnTo>
                    <a:cubicBezTo>
                      <a:pt x="740659" y="817207"/>
                      <a:pt x="769391" y="816143"/>
                      <a:pt x="772584" y="836358"/>
                    </a:cubicBezTo>
                    <a:cubicBezTo>
                      <a:pt x="775776" y="856573"/>
                      <a:pt x="772584" y="837422"/>
                      <a:pt x="772584" y="838486"/>
                    </a:cubicBezTo>
                    <a:cubicBezTo>
                      <a:pt x="809829" y="1095959"/>
                      <a:pt x="850267" y="1298108"/>
                      <a:pt x="861973" y="1355561"/>
                    </a:cubicBezTo>
                    <a:cubicBezTo>
                      <a:pt x="873679" y="1413013"/>
                      <a:pt x="872615" y="1370456"/>
                      <a:pt x="882192" y="1368328"/>
                    </a:cubicBezTo>
                    <a:lnTo>
                      <a:pt x="882192" y="1368328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ACB52E0F-9917-08F1-C58A-EB5E97DE7935}"/>
                  </a:ext>
                </a:extLst>
              </p:cNvPr>
              <p:cNvSpPr/>
              <p:nvPr/>
            </p:nvSpPr>
            <p:spPr>
              <a:xfrm>
                <a:off x="17699494" y="2405560"/>
                <a:ext cx="474526" cy="642326"/>
              </a:xfrm>
              <a:custGeom>
                <a:avLst/>
                <a:gdLst>
                  <a:gd name="connsiteX0" fmla="*/ 452269 w 474526"/>
                  <a:gd name="connsiteY0" fmla="*/ 252154 h 642326"/>
                  <a:gd name="connsiteX1" fmla="*/ 471423 w 474526"/>
                  <a:gd name="connsiteY1" fmla="*/ 235131 h 642326"/>
                  <a:gd name="connsiteX2" fmla="*/ 468231 w 474526"/>
                  <a:gd name="connsiteY2" fmla="*/ 208532 h 642326"/>
                  <a:gd name="connsiteX3" fmla="*/ 425664 w 474526"/>
                  <a:gd name="connsiteY3" fmla="*/ 172358 h 642326"/>
                  <a:gd name="connsiteX4" fmla="*/ 416087 w 474526"/>
                  <a:gd name="connsiteY4" fmla="*/ 122353 h 642326"/>
                  <a:gd name="connsiteX5" fmla="*/ 353301 w 474526"/>
                  <a:gd name="connsiteY5" fmla="*/ 0 h 642326"/>
                  <a:gd name="connsiteX6" fmla="*/ 323505 w 474526"/>
                  <a:gd name="connsiteY6" fmla="*/ 9575 h 642326"/>
                  <a:gd name="connsiteX7" fmla="*/ 269233 w 474526"/>
                  <a:gd name="connsiteY7" fmla="*/ 51069 h 642326"/>
                  <a:gd name="connsiteX8" fmla="*/ 229859 w 474526"/>
                  <a:gd name="connsiteY8" fmla="*/ 134056 h 642326"/>
                  <a:gd name="connsiteX9" fmla="*/ 242629 w 474526"/>
                  <a:gd name="connsiteY9" fmla="*/ 194701 h 642326"/>
                  <a:gd name="connsiteX10" fmla="*/ 203255 w 474526"/>
                  <a:gd name="connsiteY10" fmla="*/ 189381 h 642326"/>
                  <a:gd name="connsiteX11" fmla="*/ 147918 w 474526"/>
                  <a:gd name="connsiteY11" fmla="*/ 273433 h 642326"/>
                  <a:gd name="connsiteX12" fmla="*/ 158560 w 474526"/>
                  <a:gd name="connsiteY12" fmla="*/ 308543 h 642326"/>
                  <a:gd name="connsiteX13" fmla="*/ 119186 w 474526"/>
                  <a:gd name="connsiteY13" fmla="*/ 333013 h 642326"/>
                  <a:gd name="connsiteX14" fmla="*/ 112801 w 474526"/>
                  <a:gd name="connsiteY14" fmla="*/ 333013 h 642326"/>
                  <a:gd name="connsiteX15" fmla="*/ 112801 w 474526"/>
                  <a:gd name="connsiteY15" fmla="*/ 335141 h 642326"/>
                  <a:gd name="connsiteX16" fmla="*/ 0 w 474526"/>
                  <a:gd name="connsiteY16" fmla="*/ 585167 h 642326"/>
                  <a:gd name="connsiteX17" fmla="*/ 377777 w 474526"/>
                  <a:gd name="connsiteY17" fmla="*/ 560696 h 642326"/>
                  <a:gd name="connsiteX18" fmla="*/ 309671 w 474526"/>
                  <a:gd name="connsiteY18" fmla="*/ 528778 h 642326"/>
                  <a:gd name="connsiteX19" fmla="*/ 318184 w 474526"/>
                  <a:gd name="connsiteY19" fmla="*/ 375571 h 642326"/>
                  <a:gd name="connsiteX20" fmla="*/ 343724 w 474526"/>
                  <a:gd name="connsiteY20" fmla="*/ 380890 h 642326"/>
                  <a:gd name="connsiteX21" fmla="*/ 411830 w 474526"/>
                  <a:gd name="connsiteY21" fmla="*/ 394722 h 642326"/>
                  <a:gd name="connsiteX22" fmla="*/ 445883 w 474526"/>
                  <a:gd name="connsiteY22" fmla="*/ 365995 h 642326"/>
                  <a:gd name="connsiteX23" fmla="*/ 454397 w 474526"/>
                  <a:gd name="connsiteY23" fmla="*/ 331949 h 642326"/>
                  <a:gd name="connsiteX24" fmla="*/ 469295 w 474526"/>
                  <a:gd name="connsiteY24" fmla="*/ 309607 h 642326"/>
                  <a:gd name="connsiteX25" fmla="*/ 461846 w 474526"/>
                  <a:gd name="connsiteY25" fmla="*/ 297903 h 642326"/>
                  <a:gd name="connsiteX26" fmla="*/ 473552 w 474526"/>
                  <a:gd name="connsiteY26" fmla="*/ 277688 h 642326"/>
                  <a:gd name="connsiteX27" fmla="*/ 451204 w 474526"/>
                  <a:gd name="connsiteY27" fmla="*/ 255346 h 642326"/>
                  <a:gd name="connsiteX28" fmla="*/ 451204 w 474526"/>
                  <a:gd name="connsiteY28" fmla="*/ 252154 h 642326"/>
                  <a:gd name="connsiteX29" fmla="*/ 452269 w 474526"/>
                  <a:gd name="connsiteY29" fmla="*/ 252154 h 642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74526" h="642326">
                    <a:moveTo>
                      <a:pt x="452269" y="252154"/>
                    </a:moveTo>
                    <a:cubicBezTo>
                      <a:pt x="450140" y="239386"/>
                      <a:pt x="466102" y="243642"/>
                      <a:pt x="471423" y="235131"/>
                    </a:cubicBezTo>
                    <a:cubicBezTo>
                      <a:pt x="479937" y="223427"/>
                      <a:pt x="468231" y="208532"/>
                      <a:pt x="468231" y="208532"/>
                    </a:cubicBezTo>
                    <a:lnTo>
                      <a:pt x="425664" y="172358"/>
                    </a:lnTo>
                    <a:cubicBezTo>
                      <a:pt x="425664" y="172358"/>
                      <a:pt x="419279" y="159591"/>
                      <a:pt x="416087" y="122353"/>
                    </a:cubicBezTo>
                    <a:cubicBezTo>
                      <a:pt x="413959" y="89371"/>
                      <a:pt x="412894" y="42558"/>
                      <a:pt x="353301" y="0"/>
                    </a:cubicBezTo>
                    <a:cubicBezTo>
                      <a:pt x="353301" y="0"/>
                      <a:pt x="336275" y="6384"/>
                      <a:pt x="323505" y="9575"/>
                    </a:cubicBezTo>
                    <a:cubicBezTo>
                      <a:pt x="282003" y="18087"/>
                      <a:pt x="292644" y="43622"/>
                      <a:pt x="269233" y="51069"/>
                    </a:cubicBezTo>
                    <a:cubicBezTo>
                      <a:pt x="220281" y="67028"/>
                      <a:pt x="249014" y="97882"/>
                      <a:pt x="229859" y="134056"/>
                    </a:cubicBezTo>
                    <a:cubicBezTo>
                      <a:pt x="217089" y="157463"/>
                      <a:pt x="242629" y="194701"/>
                      <a:pt x="242629" y="194701"/>
                    </a:cubicBezTo>
                    <a:cubicBezTo>
                      <a:pt x="242629" y="194701"/>
                      <a:pt x="228795" y="206404"/>
                      <a:pt x="203255" y="189381"/>
                    </a:cubicBezTo>
                    <a:cubicBezTo>
                      <a:pt x="159624" y="159591"/>
                      <a:pt x="110673" y="220236"/>
                      <a:pt x="147918" y="273433"/>
                    </a:cubicBezTo>
                    <a:cubicBezTo>
                      <a:pt x="158560" y="288328"/>
                      <a:pt x="160688" y="300031"/>
                      <a:pt x="158560" y="308543"/>
                    </a:cubicBezTo>
                    <a:cubicBezTo>
                      <a:pt x="153239" y="329821"/>
                      <a:pt x="119186" y="333013"/>
                      <a:pt x="119186" y="333013"/>
                    </a:cubicBezTo>
                    <a:lnTo>
                      <a:pt x="112801" y="333013"/>
                    </a:lnTo>
                    <a:lnTo>
                      <a:pt x="112801" y="335141"/>
                    </a:lnTo>
                    <a:cubicBezTo>
                      <a:pt x="110673" y="402169"/>
                      <a:pt x="96839" y="539417"/>
                      <a:pt x="0" y="585167"/>
                    </a:cubicBezTo>
                    <a:cubicBezTo>
                      <a:pt x="0" y="585167"/>
                      <a:pt x="221345" y="728799"/>
                      <a:pt x="377777" y="560696"/>
                    </a:cubicBezTo>
                    <a:cubicBezTo>
                      <a:pt x="377777" y="560696"/>
                      <a:pt x="316056" y="547929"/>
                      <a:pt x="309671" y="528778"/>
                    </a:cubicBezTo>
                    <a:lnTo>
                      <a:pt x="318184" y="375571"/>
                    </a:lnTo>
                    <a:lnTo>
                      <a:pt x="343724" y="380890"/>
                    </a:lnTo>
                    <a:lnTo>
                      <a:pt x="411830" y="394722"/>
                    </a:lnTo>
                    <a:cubicBezTo>
                      <a:pt x="411830" y="394722"/>
                      <a:pt x="438434" y="392594"/>
                      <a:pt x="445883" y="365995"/>
                    </a:cubicBezTo>
                    <a:cubicBezTo>
                      <a:pt x="453333" y="339397"/>
                      <a:pt x="454397" y="331949"/>
                      <a:pt x="454397" y="331949"/>
                    </a:cubicBezTo>
                    <a:cubicBezTo>
                      <a:pt x="454397" y="331949"/>
                      <a:pt x="474616" y="329821"/>
                      <a:pt x="469295" y="309607"/>
                    </a:cubicBezTo>
                    <a:lnTo>
                      <a:pt x="461846" y="297903"/>
                    </a:lnTo>
                    <a:cubicBezTo>
                      <a:pt x="461846" y="297903"/>
                      <a:pt x="471423" y="288328"/>
                      <a:pt x="473552" y="277688"/>
                    </a:cubicBezTo>
                    <a:cubicBezTo>
                      <a:pt x="473552" y="277688"/>
                      <a:pt x="453333" y="268113"/>
                      <a:pt x="451204" y="255346"/>
                    </a:cubicBezTo>
                    <a:lnTo>
                      <a:pt x="451204" y="252154"/>
                    </a:lnTo>
                    <a:lnTo>
                      <a:pt x="452269" y="252154"/>
                    </a:ln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2B39705-37C4-A3A0-9B64-433CE6088DBD}"/>
                  </a:ext>
                </a:extLst>
              </p:cNvPr>
              <p:cNvSpPr/>
              <p:nvPr/>
            </p:nvSpPr>
            <p:spPr>
              <a:xfrm>
                <a:off x="17422812" y="3732293"/>
                <a:ext cx="60656" cy="134056"/>
              </a:xfrm>
              <a:custGeom>
                <a:avLst/>
                <a:gdLst>
                  <a:gd name="connsiteX0" fmla="*/ 0 w 60656"/>
                  <a:gd name="connsiteY0" fmla="*/ 100010 h 134056"/>
                  <a:gd name="connsiteX1" fmla="*/ 43631 w 60656"/>
                  <a:gd name="connsiteY1" fmla="*/ 134056 h 134056"/>
                  <a:gd name="connsiteX2" fmla="*/ 60657 w 60656"/>
                  <a:gd name="connsiteY2" fmla="*/ 0 h 134056"/>
                  <a:gd name="connsiteX3" fmla="*/ 0 w 60656"/>
                  <a:gd name="connsiteY3" fmla="*/ 100010 h 134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656" h="134056">
                    <a:moveTo>
                      <a:pt x="0" y="100010"/>
                    </a:moveTo>
                    <a:lnTo>
                      <a:pt x="43631" y="134056"/>
                    </a:lnTo>
                    <a:lnTo>
                      <a:pt x="60657" y="0"/>
                    </a:lnTo>
                    <a:lnTo>
                      <a:pt x="0" y="100010"/>
                    </a:lnTo>
                    <a:close/>
                  </a:path>
                </a:pathLst>
              </a:custGeom>
              <a:noFill/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8CCE90F9-4802-0892-083F-15FCAF450F0B}"/>
                  </a:ext>
                </a:extLst>
              </p:cNvPr>
              <p:cNvSpPr/>
              <p:nvPr/>
            </p:nvSpPr>
            <p:spPr>
              <a:xfrm>
                <a:off x="17670331" y="2324398"/>
                <a:ext cx="383527" cy="413143"/>
              </a:xfrm>
              <a:custGeom>
                <a:avLst/>
                <a:gdLst>
                  <a:gd name="connsiteX0" fmla="*/ 348411 w 383527"/>
                  <a:gd name="connsiteY0" fmla="*/ 39669 h 413143"/>
                  <a:gd name="connsiteX1" fmla="*/ 277112 w 383527"/>
                  <a:gd name="connsiteY1" fmla="*/ 10942 h 413143"/>
                  <a:gd name="connsiteX2" fmla="*/ 205813 w 383527"/>
                  <a:gd name="connsiteY2" fmla="*/ 3495 h 413143"/>
                  <a:gd name="connsiteX3" fmla="*/ 131322 w 383527"/>
                  <a:gd name="connsiteY3" fmla="*/ 21582 h 413143"/>
                  <a:gd name="connsiteX4" fmla="*/ 52574 w 383527"/>
                  <a:gd name="connsiteY4" fmla="*/ 66267 h 413143"/>
                  <a:gd name="connsiteX5" fmla="*/ 16392 w 383527"/>
                  <a:gd name="connsiteY5" fmla="*/ 129040 h 413143"/>
                  <a:gd name="connsiteX6" fmla="*/ 2558 w 383527"/>
                  <a:gd name="connsiteY6" fmla="*/ 215219 h 413143"/>
                  <a:gd name="connsiteX7" fmla="*/ 23842 w 383527"/>
                  <a:gd name="connsiteY7" fmla="*/ 296078 h 413143"/>
                  <a:gd name="connsiteX8" fmla="*/ 68536 w 383527"/>
                  <a:gd name="connsiteY8" fmla="*/ 358851 h 413143"/>
                  <a:gd name="connsiteX9" fmla="*/ 133450 w 383527"/>
                  <a:gd name="connsiteY9" fmla="*/ 413112 h 413143"/>
                  <a:gd name="connsiteX10" fmla="*/ 149413 w 383527"/>
                  <a:gd name="connsiteY10" fmla="*/ 413112 h 413143"/>
                  <a:gd name="connsiteX11" fmla="*/ 188787 w 383527"/>
                  <a:gd name="connsiteY11" fmla="*/ 388641 h 413143"/>
                  <a:gd name="connsiteX12" fmla="*/ 178145 w 383527"/>
                  <a:gd name="connsiteY12" fmla="*/ 353531 h 413143"/>
                  <a:gd name="connsiteX13" fmla="*/ 233481 w 383527"/>
                  <a:gd name="connsiteY13" fmla="*/ 269480 h 413143"/>
                  <a:gd name="connsiteX14" fmla="*/ 272855 w 383527"/>
                  <a:gd name="connsiteY14" fmla="*/ 274799 h 413143"/>
                  <a:gd name="connsiteX15" fmla="*/ 260085 w 383527"/>
                  <a:gd name="connsiteY15" fmla="*/ 214155 h 413143"/>
                  <a:gd name="connsiteX16" fmla="*/ 299459 w 383527"/>
                  <a:gd name="connsiteY16" fmla="*/ 131167 h 413143"/>
                  <a:gd name="connsiteX17" fmla="*/ 353732 w 383527"/>
                  <a:gd name="connsiteY17" fmla="*/ 89674 h 413143"/>
                  <a:gd name="connsiteX18" fmla="*/ 383528 w 383527"/>
                  <a:gd name="connsiteY18" fmla="*/ 80098 h 413143"/>
                  <a:gd name="connsiteX19" fmla="*/ 383528 w 383527"/>
                  <a:gd name="connsiteY19" fmla="*/ 80098 h 413143"/>
                  <a:gd name="connsiteX20" fmla="*/ 348411 w 383527"/>
                  <a:gd name="connsiteY20" fmla="*/ 39669 h 413143"/>
                  <a:gd name="connsiteX21" fmla="*/ 348411 w 383527"/>
                  <a:gd name="connsiteY21" fmla="*/ 39669 h 41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3527" h="413143">
                    <a:moveTo>
                      <a:pt x="348411" y="39669"/>
                    </a:moveTo>
                    <a:cubicBezTo>
                      <a:pt x="318614" y="-3953"/>
                      <a:pt x="301588" y="32221"/>
                      <a:pt x="277112" y="10942"/>
                    </a:cubicBezTo>
                    <a:cubicBezTo>
                      <a:pt x="246251" y="-15656"/>
                      <a:pt x="246251" y="16262"/>
                      <a:pt x="205813" y="3495"/>
                    </a:cubicBezTo>
                    <a:cubicBezTo>
                      <a:pt x="165375" y="-9273"/>
                      <a:pt x="174952" y="19454"/>
                      <a:pt x="131322" y="21582"/>
                    </a:cubicBezTo>
                    <a:cubicBezTo>
                      <a:pt x="74921" y="23710"/>
                      <a:pt x="91948" y="55628"/>
                      <a:pt x="52574" y="66267"/>
                    </a:cubicBezTo>
                    <a:cubicBezTo>
                      <a:pt x="18521" y="74779"/>
                      <a:pt x="31291" y="109889"/>
                      <a:pt x="16392" y="129040"/>
                    </a:cubicBezTo>
                    <a:cubicBezTo>
                      <a:pt x="-14468" y="168405"/>
                      <a:pt x="8943" y="183301"/>
                      <a:pt x="2558" y="215219"/>
                    </a:cubicBezTo>
                    <a:cubicBezTo>
                      <a:pt x="-9147" y="268416"/>
                      <a:pt x="30227" y="256712"/>
                      <a:pt x="23842" y="296078"/>
                    </a:cubicBezTo>
                    <a:cubicBezTo>
                      <a:pt x="18521" y="335444"/>
                      <a:pt x="55766" y="324804"/>
                      <a:pt x="68536" y="358851"/>
                    </a:cubicBezTo>
                    <a:cubicBezTo>
                      <a:pt x="90884" y="416303"/>
                      <a:pt x="133450" y="413112"/>
                      <a:pt x="133450" y="413112"/>
                    </a:cubicBezTo>
                    <a:lnTo>
                      <a:pt x="149413" y="413112"/>
                    </a:lnTo>
                    <a:cubicBezTo>
                      <a:pt x="149413" y="413112"/>
                      <a:pt x="183466" y="409920"/>
                      <a:pt x="188787" y="388641"/>
                    </a:cubicBezTo>
                    <a:cubicBezTo>
                      <a:pt x="190915" y="380129"/>
                      <a:pt x="188787" y="369490"/>
                      <a:pt x="178145" y="353531"/>
                    </a:cubicBezTo>
                    <a:cubicBezTo>
                      <a:pt x="140899" y="299270"/>
                      <a:pt x="189851" y="239689"/>
                      <a:pt x="233481" y="269480"/>
                    </a:cubicBezTo>
                    <a:cubicBezTo>
                      <a:pt x="259021" y="286503"/>
                      <a:pt x="272855" y="274799"/>
                      <a:pt x="272855" y="274799"/>
                    </a:cubicBezTo>
                    <a:cubicBezTo>
                      <a:pt x="272855" y="274799"/>
                      <a:pt x="247316" y="237561"/>
                      <a:pt x="260085" y="214155"/>
                    </a:cubicBezTo>
                    <a:cubicBezTo>
                      <a:pt x="279240" y="177981"/>
                      <a:pt x="251572" y="148191"/>
                      <a:pt x="299459" y="131167"/>
                    </a:cubicBezTo>
                    <a:cubicBezTo>
                      <a:pt x="321807" y="123720"/>
                      <a:pt x="312229" y="99249"/>
                      <a:pt x="353732" y="89674"/>
                    </a:cubicBezTo>
                    <a:cubicBezTo>
                      <a:pt x="366501" y="86482"/>
                      <a:pt x="383528" y="80098"/>
                      <a:pt x="383528" y="80098"/>
                    </a:cubicBezTo>
                    <a:lnTo>
                      <a:pt x="383528" y="80098"/>
                    </a:lnTo>
                    <a:cubicBezTo>
                      <a:pt x="383528" y="43924"/>
                      <a:pt x="355860" y="50308"/>
                      <a:pt x="348411" y="39669"/>
                    </a:cubicBezTo>
                    <a:lnTo>
                      <a:pt x="348411" y="39669"/>
                    </a:lnTo>
                    <a:close/>
                  </a:path>
                </a:pathLst>
              </a:custGeom>
              <a:solidFill>
                <a:srgbClr val="CBCBCB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29019A4-CEBD-C727-B32B-922BF71BEED7}"/>
                  </a:ext>
                </a:extLst>
              </p:cNvPr>
              <p:cNvSpPr/>
              <p:nvPr/>
            </p:nvSpPr>
            <p:spPr>
              <a:xfrm>
                <a:off x="17863375" y="2698144"/>
                <a:ext cx="85132" cy="158526"/>
              </a:xfrm>
              <a:custGeom>
                <a:avLst/>
                <a:gdLst>
                  <a:gd name="connsiteX0" fmla="*/ 84069 w 85132"/>
                  <a:gd name="connsiteY0" fmla="*/ 65964 h 158526"/>
                  <a:gd name="connsiteX1" fmla="*/ 80876 w 85132"/>
                  <a:gd name="connsiteY1" fmla="*/ 47877 h 158526"/>
                  <a:gd name="connsiteX2" fmla="*/ 42566 w 85132"/>
                  <a:gd name="connsiteY2" fmla="*/ 0 h 158526"/>
                  <a:gd name="connsiteX3" fmla="*/ 13834 w 85132"/>
                  <a:gd name="connsiteY3" fmla="*/ 21279 h 158526"/>
                  <a:gd name="connsiteX4" fmla="*/ 3192 w 85132"/>
                  <a:gd name="connsiteY4" fmla="*/ 50005 h 158526"/>
                  <a:gd name="connsiteX5" fmla="*/ 0 w 85132"/>
                  <a:gd name="connsiteY5" fmla="*/ 78731 h 158526"/>
                  <a:gd name="connsiteX6" fmla="*/ 42566 w 85132"/>
                  <a:gd name="connsiteY6" fmla="*/ 158527 h 158526"/>
                  <a:gd name="connsiteX7" fmla="*/ 85133 w 85132"/>
                  <a:gd name="connsiteY7" fmla="*/ 78731 h 158526"/>
                  <a:gd name="connsiteX8" fmla="*/ 85133 w 85132"/>
                  <a:gd name="connsiteY8" fmla="*/ 65964 h 158526"/>
                  <a:gd name="connsiteX9" fmla="*/ 84069 w 85132"/>
                  <a:gd name="connsiteY9" fmla="*/ 65964 h 158526"/>
                  <a:gd name="connsiteX10" fmla="*/ 70235 w 85132"/>
                  <a:gd name="connsiteY10" fmla="*/ 63836 h 158526"/>
                  <a:gd name="connsiteX11" fmla="*/ 42566 w 85132"/>
                  <a:gd name="connsiteY11" fmla="*/ 113842 h 158526"/>
                  <a:gd name="connsiteX12" fmla="*/ 14898 w 85132"/>
                  <a:gd name="connsiteY12" fmla="*/ 61709 h 158526"/>
                  <a:gd name="connsiteX13" fmla="*/ 14898 w 85132"/>
                  <a:gd name="connsiteY13" fmla="*/ 53197 h 158526"/>
                  <a:gd name="connsiteX14" fmla="*/ 22347 w 85132"/>
                  <a:gd name="connsiteY14" fmla="*/ 25534 h 158526"/>
                  <a:gd name="connsiteX15" fmla="*/ 41502 w 85132"/>
                  <a:gd name="connsiteY15" fmla="*/ 9575 h 158526"/>
                  <a:gd name="connsiteX16" fmla="*/ 67042 w 85132"/>
                  <a:gd name="connsiteY16" fmla="*/ 42558 h 158526"/>
                  <a:gd name="connsiteX17" fmla="*/ 69170 w 85132"/>
                  <a:gd name="connsiteY17" fmla="*/ 61709 h 158526"/>
                  <a:gd name="connsiteX18" fmla="*/ 69170 w 85132"/>
                  <a:gd name="connsiteY18" fmla="*/ 63836 h 158526"/>
                  <a:gd name="connsiteX19" fmla="*/ 70235 w 85132"/>
                  <a:gd name="connsiteY19" fmla="*/ 63836 h 15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5132" h="158526">
                    <a:moveTo>
                      <a:pt x="84069" y="65964"/>
                    </a:moveTo>
                    <a:cubicBezTo>
                      <a:pt x="84069" y="59581"/>
                      <a:pt x="83004" y="53197"/>
                      <a:pt x="80876" y="47877"/>
                    </a:cubicBezTo>
                    <a:cubicBezTo>
                      <a:pt x="74491" y="20215"/>
                      <a:pt x="59593" y="0"/>
                      <a:pt x="42566" y="0"/>
                    </a:cubicBezTo>
                    <a:cubicBezTo>
                      <a:pt x="25540" y="0"/>
                      <a:pt x="21283" y="8512"/>
                      <a:pt x="13834" y="21279"/>
                    </a:cubicBezTo>
                    <a:cubicBezTo>
                      <a:pt x="9577" y="29790"/>
                      <a:pt x="5321" y="39366"/>
                      <a:pt x="3192" y="50005"/>
                    </a:cubicBezTo>
                    <a:cubicBezTo>
                      <a:pt x="1064" y="58517"/>
                      <a:pt x="0" y="68092"/>
                      <a:pt x="0" y="78731"/>
                    </a:cubicBezTo>
                    <a:cubicBezTo>
                      <a:pt x="0" y="122353"/>
                      <a:pt x="19155" y="158527"/>
                      <a:pt x="42566" y="158527"/>
                    </a:cubicBezTo>
                    <a:cubicBezTo>
                      <a:pt x="65978" y="158527"/>
                      <a:pt x="85133" y="123417"/>
                      <a:pt x="85133" y="78731"/>
                    </a:cubicBezTo>
                    <a:cubicBezTo>
                      <a:pt x="85133" y="34046"/>
                      <a:pt x="85133" y="70220"/>
                      <a:pt x="85133" y="65964"/>
                    </a:cubicBezTo>
                    <a:lnTo>
                      <a:pt x="84069" y="65964"/>
                    </a:lnTo>
                    <a:close/>
                    <a:moveTo>
                      <a:pt x="70235" y="63836"/>
                    </a:moveTo>
                    <a:cubicBezTo>
                      <a:pt x="70235" y="91499"/>
                      <a:pt x="57465" y="113842"/>
                      <a:pt x="42566" y="113842"/>
                    </a:cubicBezTo>
                    <a:cubicBezTo>
                      <a:pt x="27668" y="113842"/>
                      <a:pt x="14898" y="90435"/>
                      <a:pt x="14898" y="61709"/>
                    </a:cubicBezTo>
                    <a:cubicBezTo>
                      <a:pt x="14898" y="32982"/>
                      <a:pt x="14898" y="56389"/>
                      <a:pt x="14898" y="53197"/>
                    </a:cubicBezTo>
                    <a:cubicBezTo>
                      <a:pt x="14898" y="42558"/>
                      <a:pt x="18091" y="32982"/>
                      <a:pt x="22347" y="25534"/>
                    </a:cubicBezTo>
                    <a:cubicBezTo>
                      <a:pt x="27668" y="15959"/>
                      <a:pt x="34053" y="9575"/>
                      <a:pt x="41502" y="9575"/>
                    </a:cubicBezTo>
                    <a:cubicBezTo>
                      <a:pt x="53208" y="9575"/>
                      <a:pt x="62785" y="23407"/>
                      <a:pt x="67042" y="42558"/>
                    </a:cubicBezTo>
                    <a:cubicBezTo>
                      <a:pt x="68106" y="48941"/>
                      <a:pt x="69170" y="55325"/>
                      <a:pt x="69170" y="61709"/>
                    </a:cubicBezTo>
                    <a:cubicBezTo>
                      <a:pt x="69170" y="68092"/>
                      <a:pt x="69170" y="62772"/>
                      <a:pt x="69170" y="63836"/>
                    </a:cubicBezTo>
                    <a:lnTo>
                      <a:pt x="70235" y="63836"/>
                    </a:lnTo>
                    <a:close/>
                  </a:path>
                </a:pathLst>
              </a:custGeom>
              <a:solidFill>
                <a:srgbClr val="E7FF00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C4E49AE9-D83D-C58B-2F9F-070BBF6070D5}"/>
                  </a:ext>
                </a:extLst>
              </p:cNvPr>
              <p:cNvSpPr/>
              <p:nvPr/>
            </p:nvSpPr>
            <p:spPr>
              <a:xfrm>
                <a:off x="17553704" y="2959873"/>
                <a:ext cx="684867" cy="938394"/>
              </a:xfrm>
              <a:custGeom>
                <a:avLst/>
                <a:gdLst>
                  <a:gd name="connsiteX0" fmla="*/ 505477 w 684867"/>
                  <a:gd name="connsiteY0" fmla="*/ 0 h 938394"/>
                  <a:gd name="connsiteX1" fmla="*/ 170266 w 684867"/>
                  <a:gd name="connsiteY1" fmla="*/ 27662 h 938394"/>
                  <a:gd name="connsiteX2" fmla="*/ 146854 w 684867"/>
                  <a:gd name="connsiteY2" fmla="*/ 107458 h 938394"/>
                  <a:gd name="connsiteX3" fmla="*/ 0 w 684867"/>
                  <a:gd name="connsiteY3" fmla="*/ 923500 h 938394"/>
                  <a:gd name="connsiteX4" fmla="*/ 41502 w 684867"/>
                  <a:gd name="connsiteY4" fmla="*/ 938395 h 938394"/>
                  <a:gd name="connsiteX5" fmla="*/ 229859 w 684867"/>
                  <a:gd name="connsiteY5" fmla="*/ 899029 h 938394"/>
                  <a:gd name="connsiteX6" fmla="*/ 684256 w 684867"/>
                  <a:gd name="connsiteY6" fmla="*/ 842640 h 938394"/>
                  <a:gd name="connsiteX7" fmla="*/ 505477 w 684867"/>
                  <a:gd name="connsiteY7" fmla="*/ 1064 h 938394"/>
                  <a:gd name="connsiteX8" fmla="*/ 505477 w 684867"/>
                  <a:gd name="connsiteY8" fmla="*/ 1064 h 938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4867" h="938394">
                    <a:moveTo>
                      <a:pt x="505477" y="0"/>
                    </a:moveTo>
                    <a:cubicBezTo>
                      <a:pt x="330954" y="132992"/>
                      <a:pt x="170266" y="27662"/>
                      <a:pt x="170266" y="27662"/>
                    </a:cubicBezTo>
                    <a:lnTo>
                      <a:pt x="146854" y="107458"/>
                    </a:lnTo>
                    <a:cubicBezTo>
                      <a:pt x="139405" y="146824"/>
                      <a:pt x="11706" y="872431"/>
                      <a:pt x="0" y="923500"/>
                    </a:cubicBezTo>
                    <a:cubicBezTo>
                      <a:pt x="9577" y="932011"/>
                      <a:pt x="23412" y="937331"/>
                      <a:pt x="41502" y="938395"/>
                    </a:cubicBezTo>
                    <a:cubicBezTo>
                      <a:pt x="128764" y="934139"/>
                      <a:pt x="171330" y="923500"/>
                      <a:pt x="229859" y="899029"/>
                    </a:cubicBezTo>
                    <a:cubicBezTo>
                      <a:pt x="395868" y="828809"/>
                      <a:pt x="684256" y="842640"/>
                      <a:pt x="684256" y="842640"/>
                    </a:cubicBezTo>
                    <a:cubicBezTo>
                      <a:pt x="697026" y="452174"/>
                      <a:pt x="505477" y="1064"/>
                      <a:pt x="505477" y="1064"/>
                    </a:cubicBezTo>
                    <a:lnTo>
                      <a:pt x="505477" y="1064"/>
                    </a:lnTo>
                    <a:close/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C84CE530-5EB6-AB0B-BF1C-9AC2406E10EF}"/>
                  </a:ext>
                </a:extLst>
              </p:cNvPr>
              <p:cNvSpPr/>
              <p:nvPr/>
            </p:nvSpPr>
            <p:spPr>
              <a:xfrm>
                <a:off x="18043218" y="2949234"/>
                <a:ext cx="471423" cy="1166078"/>
              </a:xfrm>
              <a:custGeom>
                <a:avLst/>
                <a:gdLst>
                  <a:gd name="connsiteX0" fmla="*/ 366071 w 471423"/>
                  <a:gd name="connsiteY0" fmla="*/ 873495 h 1166078"/>
                  <a:gd name="connsiteX1" fmla="*/ 280939 w 471423"/>
                  <a:gd name="connsiteY1" fmla="*/ 84051 h 1166078"/>
                  <a:gd name="connsiteX2" fmla="*/ 0 w 471423"/>
                  <a:gd name="connsiteY2" fmla="*/ 0 h 1166078"/>
                  <a:gd name="connsiteX3" fmla="*/ 97903 w 471423"/>
                  <a:gd name="connsiteY3" fmla="*/ 300031 h 1166078"/>
                  <a:gd name="connsiteX4" fmla="*/ 186228 w 471423"/>
                  <a:gd name="connsiteY4" fmla="*/ 759653 h 1166078"/>
                  <a:gd name="connsiteX5" fmla="*/ 203255 w 471423"/>
                  <a:gd name="connsiteY5" fmla="*/ 973505 h 1166078"/>
                  <a:gd name="connsiteX6" fmla="*/ 250078 w 471423"/>
                  <a:gd name="connsiteY6" fmla="*/ 1078835 h 1166078"/>
                  <a:gd name="connsiteX7" fmla="*/ 432050 w 471423"/>
                  <a:gd name="connsiteY7" fmla="*/ 1166078 h 1166078"/>
                  <a:gd name="connsiteX8" fmla="*/ 471424 w 471423"/>
                  <a:gd name="connsiteY8" fmla="*/ 1051172 h 1166078"/>
                  <a:gd name="connsiteX9" fmla="*/ 363943 w 471423"/>
                  <a:gd name="connsiteY9" fmla="*/ 875622 h 1166078"/>
                  <a:gd name="connsiteX10" fmla="*/ 366071 w 471423"/>
                  <a:gd name="connsiteY10" fmla="*/ 873495 h 1166078"/>
                  <a:gd name="connsiteX11" fmla="*/ 366071 w 471423"/>
                  <a:gd name="connsiteY11" fmla="*/ 873495 h 1166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1423" h="1166078">
                    <a:moveTo>
                      <a:pt x="366071" y="873495"/>
                    </a:moveTo>
                    <a:cubicBezTo>
                      <a:pt x="383098" y="473453"/>
                      <a:pt x="351173" y="126609"/>
                      <a:pt x="280939" y="84051"/>
                    </a:cubicBezTo>
                    <a:cubicBezTo>
                      <a:pt x="210704" y="41494"/>
                      <a:pt x="0" y="0"/>
                      <a:pt x="0" y="0"/>
                    </a:cubicBezTo>
                    <a:lnTo>
                      <a:pt x="97903" y="300031"/>
                    </a:lnTo>
                    <a:cubicBezTo>
                      <a:pt x="97903" y="300031"/>
                      <a:pt x="157496" y="442599"/>
                      <a:pt x="186228" y="759653"/>
                    </a:cubicBezTo>
                    <a:cubicBezTo>
                      <a:pt x="186228" y="759653"/>
                      <a:pt x="203255" y="941587"/>
                      <a:pt x="203255" y="973505"/>
                    </a:cubicBezTo>
                    <a:cubicBezTo>
                      <a:pt x="203255" y="1052236"/>
                      <a:pt x="222410" y="1062876"/>
                      <a:pt x="250078" y="1078835"/>
                    </a:cubicBezTo>
                    <a:cubicBezTo>
                      <a:pt x="277746" y="1093730"/>
                      <a:pt x="432050" y="1166078"/>
                      <a:pt x="432050" y="1166078"/>
                    </a:cubicBezTo>
                    <a:lnTo>
                      <a:pt x="471424" y="1051172"/>
                    </a:lnTo>
                    <a:cubicBezTo>
                      <a:pt x="471424" y="1051172"/>
                      <a:pt x="430985" y="951162"/>
                      <a:pt x="363943" y="875622"/>
                    </a:cubicBezTo>
                    <a:lnTo>
                      <a:pt x="366071" y="873495"/>
                    </a:lnTo>
                    <a:lnTo>
                      <a:pt x="366071" y="873495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E837C9E0-0B7C-5938-AFDC-C81079158600}"/>
                  </a:ext>
                </a:extLst>
              </p:cNvPr>
              <p:cNvSpPr/>
              <p:nvPr/>
            </p:nvSpPr>
            <p:spPr>
              <a:xfrm>
                <a:off x="17163845" y="2977960"/>
                <a:ext cx="570813" cy="1670385"/>
              </a:xfrm>
              <a:custGeom>
                <a:avLst/>
                <a:gdLst>
                  <a:gd name="connsiteX0" fmla="*/ 555868 w 570813"/>
                  <a:gd name="connsiteY0" fmla="*/ 0 h 1670385"/>
                  <a:gd name="connsiteX1" fmla="*/ 232363 w 570813"/>
                  <a:gd name="connsiteY1" fmla="*/ 163847 h 1670385"/>
                  <a:gd name="connsiteX2" fmla="*/ 1439 w 570813"/>
                  <a:gd name="connsiteY2" fmla="*/ 920308 h 1670385"/>
                  <a:gd name="connsiteX3" fmla="*/ 133395 w 570813"/>
                  <a:gd name="connsiteY3" fmla="*/ 1223531 h 1670385"/>
                  <a:gd name="connsiteX4" fmla="*/ 180219 w 570813"/>
                  <a:gd name="connsiteY4" fmla="*/ 1619316 h 1670385"/>
                  <a:gd name="connsiteX5" fmla="*/ 180219 w 570813"/>
                  <a:gd name="connsiteY5" fmla="*/ 1670385 h 1670385"/>
                  <a:gd name="connsiteX6" fmla="*/ 346228 w 570813"/>
                  <a:gd name="connsiteY6" fmla="*/ 1666130 h 1670385"/>
                  <a:gd name="connsiteX7" fmla="*/ 570766 w 570813"/>
                  <a:gd name="connsiteY7" fmla="*/ 235131 h 1670385"/>
                  <a:gd name="connsiteX8" fmla="*/ 554803 w 570813"/>
                  <a:gd name="connsiteY8" fmla="*/ 0 h 1670385"/>
                  <a:gd name="connsiteX9" fmla="*/ 555868 w 570813"/>
                  <a:gd name="connsiteY9" fmla="*/ 0 h 1670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0813" h="1670385">
                    <a:moveTo>
                      <a:pt x="555868" y="0"/>
                    </a:moveTo>
                    <a:cubicBezTo>
                      <a:pt x="555868" y="0"/>
                      <a:pt x="317495" y="74476"/>
                      <a:pt x="232363" y="163847"/>
                    </a:cubicBezTo>
                    <a:cubicBezTo>
                      <a:pt x="148294" y="253218"/>
                      <a:pt x="21658" y="776676"/>
                      <a:pt x="1439" y="920308"/>
                    </a:cubicBezTo>
                    <a:cubicBezTo>
                      <a:pt x="-16651" y="1049045"/>
                      <a:pt x="141909" y="1228850"/>
                      <a:pt x="133395" y="1223531"/>
                    </a:cubicBezTo>
                    <a:lnTo>
                      <a:pt x="180219" y="1619316"/>
                    </a:lnTo>
                    <a:lnTo>
                      <a:pt x="180219" y="1670385"/>
                    </a:lnTo>
                    <a:lnTo>
                      <a:pt x="346228" y="1666130"/>
                    </a:lnTo>
                    <a:cubicBezTo>
                      <a:pt x="346228" y="1666130"/>
                      <a:pt x="569701" y="344716"/>
                      <a:pt x="570766" y="235131"/>
                    </a:cubicBezTo>
                    <a:cubicBezTo>
                      <a:pt x="571830" y="100010"/>
                      <a:pt x="554803" y="0"/>
                      <a:pt x="554803" y="0"/>
                    </a:cubicBezTo>
                    <a:lnTo>
                      <a:pt x="555868" y="0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40BEE061-017C-B7F9-9749-63BA739D6DF9}"/>
                  </a:ext>
                </a:extLst>
              </p:cNvPr>
              <p:cNvSpPr/>
              <p:nvPr/>
            </p:nvSpPr>
            <p:spPr>
              <a:xfrm>
                <a:off x="17999587" y="5174995"/>
                <a:ext cx="508566" cy="471371"/>
              </a:xfrm>
              <a:custGeom>
                <a:avLst/>
                <a:gdLst>
                  <a:gd name="connsiteX0" fmla="*/ 32989 w 508566"/>
                  <a:gd name="connsiteY0" fmla="*/ 119161 h 471371"/>
                  <a:gd name="connsiteX1" fmla="*/ 24476 w 508566"/>
                  <a:gd name="connsiteY1" fmla="*/ 40430 h 471371"/>
                  <a:gd name="connsiteX2" fmla="*/ 114930 w 508566"/>
                  <a:gd name="connsiteY2" fmla="*/ 28727 h 471371"/>
                  <a:gd name="connsiteX3" fmla="*/ 220282 w 508566"/>
                  <a:gd name="connsiteY3" fmla="*/ 0 h 471371"/>
                  <a:gd name="connsiteX4" fmla="*/ 253271 w 508566"/>
                  <a:gd name="connsiteY4" fmla="*/ 218108 h 471371"/>
                  <a:gd name="connsiteX5" fmla="*/ 481001 w 508566"/>
                  <a:gd name="connsiteY5" fmla="*/ 355356 h 471371"/>
                  <a:gd name="connsiteX6" fmla="*/ 507605 w 508566"/>
                  <a:gd name="connsiteY6" fmla="*/ 421320 h 471371"/>
                  <a:gd name="connsiteX7" fmla="*/ 448012 w 508566"/>
                  <a:gd name="connsiteY7" fmla="*/ 467070 h 471371"/>
                  <a:gd name="connsiteX8" fmla="*/ 261784 w 508566"/>
                  <a:gd name="connsiteY8" fmla="*/ 467070 h 471371"/>
                  <a:gd name="connsiteX9" fmla="*/ 141534 w 508566"/>
                  <a:gd name="connsiteY9" fmla="*/ 408553 h 471371"/>
                  <a:gd name="connsiteX10" fmla="*/ 138341 w 508566"/>
                  <a:gd name="connsiteY10" fmla="*/ 471326 h 471371"/>
                  <a:gd name="connsiteX11" fmla="*/ 0 w 508566"/>
                  <a:gd name="connsiteY11" fmla="*/ 471326 h 471371"/>
                  <a:gd name="connsiteX12" fmla="*/ 0 w 508566"/>
                  <a:gd name="connsiteY12" fmla="*/ 388338 h 471371"/>
                  <a:gd name="connsiteX13" fmla="*/ 23412 w 508566"/>
                  <a:gd name="connsiteY13" fmla="*/ 257474 h 471371"/>
                  <a:gd name="connsiteX14" fmla="*/ 30861 w 508566"/>
                  <a:gd name="connsiteY14" fmla="*/ 119161 h 471371"/>
                  <a:gd name="connsiteX15" fmla="*/ 32989 w 508566"/>
                  <a:gd name="connsiteY15" fmla="*/ 119161 h 471371"/>
                  <a:gd name="connsiteX16" fmla="*/ 32989 w 508566"/>
                  <a:gd name="connsiteY16" fmla="*/ 119161 h 471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08566" h="471371">
                    <a:moveTo>
                      <a:pt x="32989" y="119161"/>
                    </a:moveTo>
                    <a:cubicBezTo>
                      <a:pt x="24476" y="87243"/>
                      <a:pt x="24476" y="40430"/>
                      <a:pt x="24476" y="40430"/>
                    </a:cubicBezTo>
                    <a:cubicBezTo>
                      <a:pt x="24476" y="40430"/>
                      <a:pt x="102160" y="45750"/>
                      <a:pt x="114930" y="28727"/>
                    </a:cubicBezTo>
                    <a:cubicBezTo>
                      <a:pt x="128764" y="9576"/>
                      <a:pt x="220282" y="0"/>
                      <a:pt x="220282" y="0"/>
                    </a:cubicBezTo>
                    <a:cubicBezTo>
                      <a:pt x="220282" y="0"/>
                      <a:pt x="208576" y="139376"/>
                      <a:pt x="253271" y="218108"/>
                    </a:cubicBezTo>
                    <a:cubicBezTo>
                      <a:pt x="297965" y="295775"/>
                      <a:pt x="448012" y="317054"/>
                      <a:pt x="481001" y="355356"/>
                    </a:cubicBezTo>
                    <a:cubicBezTo>
                      <a:pt x="513990" y="393658"/>
                      <a:pt x="508669" y="400041"/>
                      <a:pt x="507605" y="421320"/>
                    </a:cubicBezTo>
                    <a:cubicBezTo>
                      <a:pt x="506541" y="442599"/>
                      <a:pt x="460782" y="464942"/>
                      <a:pt x="448012" y="467070"/>
                    </a:cubicBezTo>
                    <a:cubicBezTo>
                      <a:pt x="434178" y="469198"/>
                      <a:pt x="267105" y="475581"/>
                      <a:pt x="261784" y="467070"/>
                    </a:cubicBezTo>
                    <a:cubicBezTo>
                      <a:pt x="226667" y="406425"/>
                      <a:pt x="141534" y="408553"/>
                      <a:pt x="141534" y="408553"/>
                    </a:cubicBezTo>
                    <a:lnTo>
                      <a:pt x="138341" y="471326"/>
                    </a:lnTo>
                    <a:lnTo>
                      <a:pt x="0" y="471326"/>
                    </a:lnTo>
                    <a:lnTo>
                      <a:pt x="0" y="388338"/>
                    </a:lnTo>
                    <a:cubicBezTo>
                      <a:pt x="0" y="325566"/>
                      <a:pt x="23412" y="257474"/>
                      <a:pt x="23412" y="257474"/>
                    </a:cubicBezTo>
                    <a:cubicBezTo>
                      <a:pt x="21283" y="240450"/>
                      <a:pt x="39374" y="151080"/>
                      <a:pt x="30861" y="119161"/>
                    </a:cubicBezTo>
                    <a:lnTo>
                      <a:pt x="32989" y="119161"/>
                    </a:lnTo>
                    <a:lnTo>
                      <a:pt x="32989" y="119161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48100CC7-FAE3-587C-F23C-7E70F22D4F9D}"/>
                  </a:ext>
                </a:extLst>
              </p:cNvPr>
              <p:cNvSpPr/>
              <p:nvPr/>
            </p:nvSpPr>
            <p:spPr>
              <a:xfrm>
                <a:off x="18476332" y="4004662"/>
                <a:ext cx="209648" cy="305618"/>
              </a:xfrm>
              <a:custGeom>
                <a:avLst/>
                <a:gdLst>
                  <a:gd name="connsiteX0" fmla="*/ 0 w 209648"/>
                  <a:gd name="connsiteY0" fmla="*/ 106394 h 305618"/>
                  <a:gd name="connsiteX1" fmla="*/ 24476 w 209648"/>
                  <a:gd name="connsiteY1" fmla="*/ 125545 h 305618"/>
                  <a:gd name="connsiteX2" fmla="*/ 21283 w 209648"/>
                  <a:gd name="connsiteY2" fmla="*/ 206405 h 305618"/>
                  <a:gd name="connsiteX3" fmla="*/ 51080 w 209648"/>
                  <a:gd name="connsiteY3" fmla="*/ 257474 h 305618"/>
                  <a:gd name="connsiteX4" fmla="*/ 69170 w 209648"/>
                  <a:gd name="connsiteY4" fmla="*/ 209596 h 305618"/>
                  <a:gd name="connsiteX5" fmla="*/ 73427 w 209648"/>
                  <a:gd name="connsiteY5" fmla="*/ 173422 h 305618"/>
                  <a:gd name="connsiteX6" fmla="*/ 129827 w 209648"/>
                  <a:gd name="connsiteY6" fmla="*/ 217044 h 305618"/>
                  <a:gd name="connsiteX7" fmla="*/ 183036 w 209648"/>
                  <a:gd name="connsiteY7" fmla="*/ 305351 h 305618"/>
                  <a:gd name="connsiteX8" fmla="*/ 197934 w 209648"/>
                  <a:gd name="connsiteY8" fmla="*/ 172358 h 305618"/>
                  <a:gd name="connsiteX9" fmla="*/ 105352 w 209648"/>
                  <a:gd name="connsiteY9" fmla="*/ 71284 h 305618"/>
                  <a:gd name="connsiteX10" fmla="*/ 38310 w 209648"/>
                  <a:gd name="connsiteY10" fmla="*/ 0 h 305618"/>
                  <a:gd name="connsiteX11" fmla="*/ 0 w 209648"/>
                  <a:gd name="connsiteY11" fmla="*/ 104266 h 305618"/>
                  <a:gd name="connsiteX12" fmla="*/ 0 w 209648"/>
                  <a:gd name="connsiteY12" fmla="*/ 106394 h 305618"/>
                  <a:gd name="connsiteX13" fmla="*/ 0 w 209648"/>
                  <a:gd name="connsiteY13" fmla="*/ 106394 h 305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9648" h="305618">
                    <a:moveTo>
                      <a:pt x="0" y="106394"/>
                    </a:moveTo>
                    <a:lnTo>
                      <a:pt x="24476" y="125545"/>
                    </a:lnTo>
                    <a:cubicBezTo>
                      <a:pt x="14898" y="155335"/>
                      <a:pt x="13834" y="191509"/>
                      <a:pt x="21283" y="206405"/>
                    </a:cubicBezTo>
                    <a:cubicBezTo>
                      <a:pt x="29796" y="224491"/>
                      <a:pt x="51080" y="257474"/>
                      <a:pt x="51080" y="257474"/>
                    </a:cubicBezTo>
                    <a:cubicBezTo>
                      <a:pt x="51080" y="257474"/>
                      <a:pt x="89389" y="250026"/>
                      <a:pt x="69170" y="209596"/>
                    </a:cubicBezTo>
                    <a:cubicBezTo>
                      <a:pt x="60657" y="193637"/>
                      <a:pt x="73427" y="173422"/>
                      <a:pt x="73427" y="173422"/>
                    </a:cubicBezTo>
                    <a:cubicBezTo>
                      <a:pt x="87261" y="181934"/>
                      <a:pt x="94710" y="186189"/>
                      <a:pt x="129827" y="217044"/>
                    </a:cubicBezTo>
                    <a:cubicBezTo>
                      <a:pt x="150047" y="235131"/>
                      <a:pt x="157496" y="310671"/>
                      <a:pt x="183036" y="305351"/>
                    </a:cubicBezTo>
                    <a:cubicBezTo>
                      <a:pt x="222410" y="296839"/>
                      <a:pt x="209640" y="207468"/>
                      <a:pt x="197934" y="172358"/>
                    </a:cubicBezTo>
                    <a:cubicBezTo>
                      <a:pt x="186228" y="137249"/>
                      <a:pt x="175587" y="111714"/>
                      <a:pt x="105352" y="71284"/>
                    </a:cubicBezTo>
                    <a:cubicBezTo>
                      <a:pt x="76619" y="39366"/>
                      <a:pt x="38310" y="0"/>
                      <a:pt x="38310" y="0"/>
                    </a:cubicBezTo>
                    <a:lnTo>
                      <a:pt x="0" y="104266"/>
                    </a:lnTo>
                    <a:lnTo>
                      <a:pt x="0" y="106394"/>
                    </a:lnTo>
                    <a:lnTo>
                      <a:pt x="0" y="106394"/>
                    </a:lnTo>
                    <a:close/>
                  </a:path>
                </a:pathLst>
              </a:custGeom>
              <a:solidFill>
                <a:srgbClr val="9B5D2D"/>
              </a:solidFill>
              <a:ln w="15960" cap="flat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BC35974E-9BDA-AD3A-C028-0081AC2D0A4F}"/>
                  </a:ext>
                </a:extLst>
              </p:cNvPr>
              <p:cNvSpPr/>
              <p:nvPr/>
            </p:nvSpPr>
            <p:spPr>
              <a:xfrm>
                <a:off x="18638084" y="4211066"/>
                <a:ext cx="34247" cy="92562"/>
              </a:xfrm>
              <a:custGeom>
                <a:avLst/>
                <a:gdLst>
                  <a:gd name="connsiteX0" fmla="*/ 0 w 34247"/>
                  <a:gd name="connsiteY0" fmla="*/ 0 h 92562"/>
                  <a:gd name="connsiteX1" fmla="*/ 34053 w 34247"/>
                  <a:gd name="connsiteY1" fmla="*/ 92563 h 9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47" h="92562">
                    <a:moveTo>
                      <a:pt x="0" y="0"/>
                    </a:moveTo>
                    <a:cubicBezTo>
                      <a:pt x="0" y="0"/>
                      <a:pt x="37246" y="64900"/>
                      <a:pt x="34053" y="92563"/>
                    </a:cubicBezTo>
                  </a:path>
                </a:pathLst>
              </a:custGeom>
              <a:solidFill>
                <a:srgbClr val="9B5D2D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83B2A341-2BD4-92D5-C813-C0BCCBCD822E}"/>
                  </a:ext>
                </a:extLst>
              </p:cNvPr>
              <p:cNvSpPr/>
              <p:nvPr/>
            </p:nvSpPr>
            <p:spPr>
              <a:xfrm>
                <a:off x="18655111" y="4184468"/>
                <a:ext cx="30860" cy="80859"/>
              </a:xfrm>
              <a:custGeom>
                <a:avLst/>
                <a:gdLst>
                  <a:gd name="connsiteX0" fmla="*/ 0 w 30860"/>
                  <a:gd name="connsiteY0" fmla="*/ 0 h 80859"/>
                  <a:gd name="connsiteX1" fmla="*/ 30861 w 30860"/>
                  <a:gd name="connsiteY1" fmla="*/ 80859 h 8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860" h="80859">
                    <a:moveTo>
                      <a:pt x="0" y="0"/>
                    </a:moveTo>
                    <a:cubicBezTo>
                      <a:pt x="0" y="0"/>
                      <a:pt x="30861" y="51069"/>
                      <a:pt x="30861" y="80859"/>
                    </a:cubicBezTo>
                  </a:path>
                </a:pathLst>
              </a:custGeom>
              <a:solidFill>
                <a:srgbClr val="9B5D2D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0" name="Graphic 8">
              <a:extLst>
                <a:ext uri="{FF2B5EF4-FFF2-40B4-BE49-F238E27FC236}">
                  <a16:creationId xmlns:a16="http://schemas.microsoft.com/office/drawing/2014/main" id="{3A389CED-8C71-5CD5-75DE-41A25F316937}"/>
                </a:ext>
              </a:extLst>
            </p:cNvPr>
            <p:cNvGrpSpPr/>
            <p:nvPr/>
          </p:nvGrpSpPr>
          <p:grpSpPr>
            <a:xfrm>
              <a:off x="16098592" y="2257797"/>
              <a:ext cx="1808041" cy="3430017"/>
              <a:chOff x="16098592" y="2257797"/>
              <a:chExt cx="1808041" cy="3430017"/>
            </a:xfrm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F0DA3AA8-7222-1003-DC0E-40BB25083765}"/>
                  </a:ext>
                </a:extLst>
              </p:cNvPr>
              <p:cNvSpPr/>
              <p:nvPr/>
            </p:nvSpPr>
            <p:spPr>
              <a:xfrm>
                <a:off x="16908822" y="5415446"/>
                <a:ext cx="191549" cy="188152"/>
              </a:xfrm>
              <a:custGeom>
                <a:avLst/>
                <a:gdLst>
                  <a:gd name="connsiteX0" fmla="*/ 2128 w 191549"/>
                  <a:gd name="connsiteY0" fmla="*/ 150016 h 188152"/>
                  <a:gd name="connsiteX1" fmla="*/ 0 w 191549"/>
                  <a:gd name="connsiteY1" fmla="*/ 0 h 188152"/>
                  <a:gd name="connsiteX2" fmla="*/ 168138 w 191549"/>
                  <a:gd name="connsiteY2" fmla="*/ 9575 h 188152"/>
                  <a:gd name="connsiteX3" fmla="*/ 191549 w 191549"/>
                  <a:gd name="connsiteY3" fmla="*/ 124481 h 188152"/>
                  <a:gd name="connsiteX4" fmla="*/ 3193 w 191549"/>
                  <a:gd name="connsiteY4" fmla="*/ 151080 h 188152"/>
                  <a:gd name="connsiteX5" fmla="*/ 3193 w 191549"/>
                  <a:gd name="connsiteY5" fmla="*/ 151080 h 18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1549" h="188152">
                    <a:moveTo>
                      <a:pt x="2128" y="150016"/>
                    </a:moveTo>
                    <a:lnTo>
                      <a:pt x="0" y="0"/>
                    </a:lnTo>
                    <a:lnTo>
                      <a:pt x="168138" y="9575"/>
                    </a:lnTo>
                    <a:lnTo>
                      <a:pt x="191549" y="124481"/>
                    </a:lnTo>
                    <a:cubicBezTo>
                      <a:pt x="191549" y="124481"/>
                      <a:pt x="50016" y="247898"/>
                      <a:pt x="3193" y="151080"/>
                    </a:cubicBezTo>
                    <a:lnTo>
                      <a:pt x="3193" y="151080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1FF2DE37-8C08-A4DA-424E-8914C5F18C42}"/>
                  </a:ext>
                </a:extLst>
              </p:cNvPr>
              <p:cNvSpPr/>
              <p:nvPr/>
            </p:nvSpPr>
            <p:spPr>
              <a:xfrm>
                <a:off x="16888235" y="5484533"/>
                <a:ext cx="312023" cy="203281"/>
              </a:xfrm>
              <a:custGeom>
                <a:avLst/>
                <a:gdLst>
                  <a:gd name="connsiteX0" fmla="*/ 30165 w 312023"/>
                  <a:gd name="connsiteY0" fmla="*/ 51138 h 203281"/>
                  <a:gd name="connsiteX1" fmla="*/ 368 w 312023"/>
                  <a:gd name="connsiteY1" fmla="*/ 203282 h 203281"/>
                  <a:gd name="connsiteX2" fmla="*/ 311103 w 312023"/>
                  <a:gd name="connsiteY2" fmla="*/ 203282 h 203281"/>
                  <a:gd name="connsiteX3" fmla="*/ 270665 w 312023"/>
                  <a:gd name="connsiteY3" fmla="*/ 108591 h 203281"/>
                  <a:gd name="connsiteX4" fmla="*/ 227035 w 312023"/>
                  <a:gd name="connsiteY4" fmla="*/ 45819 h 203281"/>
                  <a:gd name="connsiteX5" fmla="*/ 167442 w 312023"/>
                  <a:gd name="connsiteY5" fmla="*/ 1133 h 203281"/>
                  <a:gd name="connsiteX6" fmla="*/ 30165 w 312023"/>
                  <a:gd name="connsiteY6" fmla="*/ 52202 h 203281"/>
                  <a:gd name="connsiteX7" fmla="*/ 30165 w 312023"/>
                  <a:gd name="connsiteY7" fmla="*/ 52202 h 2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2023" h="203281">
                    <a:moveTo>
                      <a:pt x="30165" y="51138"/>
                    </a:moveTo>
                    <a:cubicBezTo>
                      <a:pt x="30165" y="51138"/>
                      <a:pt x="-3888" y="149021"/>
                      <a:pt x="368" y="203282"/>
                    </a:cubicBezTo>
                    <a:lnTo>
                      <a:pt x="311103" y="203282"/>
                    </a:lnTo>
                    <a:cubicBezTo>
                      <a:pt x="311103" y="203282"/>
                      <a:pt x="321745" y="155404"/>
                      <a:pt x="270665" y="108591"/>
                    </a:cubicBezTo>
                    <a:lnTo>
                      <a:pt x="227035" y="45819"/>
                    </a:lnTo>
                    <a:cubicBezTo>
                      <a:pt x="227035" y="45819"/>
                      <a:pt x="215329" y="-8442"/>
                      <a:pt x="167442" y="1133"/>
                    </a:cubicBezTo>
                    <a:cubicBezTo>
                      <a:pt x="72731" y="20284"/>
                      <a:pt x="102528" y="43691"/>
                      <a:pt x="30165" y="52202"/>
                    </a:cubicBezTo>
                    <a:lnTo>
                      <a:pt x="30165" y="52202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9585BAAE-8601-E173-52F3-6266C1BABF75}"/>
                  </a:ext>
                </a:extLst>
              </p:cNvPr>
              <p:cNvSpPr/>
              <p:nvPr/>
            </p:nvSpPr>
            <p:spPr>
              <a:xfrm>
                <a:off x="17364625" y="5348009"/>
                <a:ext cx="313361" cy="253522"/>
              </a:xfrm>
              <a:custGeom>
                <a:avLst/>
                <a:gdLst>
                  <a:gd name="connsiteX0" fmla="*/ 26263 w 313361"/>
                  <a:gd name="connsiteY0" fmla="*/ 178087 h 253522"/>
                  <a:gd name="connsiteX1" fmla="*/ 2851 w 313361"/>
                  <a:gd name="connsiteY1" fmla="*/ 52542 h 253522"/>
                  <a:gd name="connsiteX2" fmla="*/ 201849 w 313361"/>
                  <a:gd name="connsiteY2" fmla="*/ 409 h 253522"/>
                  <a:gd name="connsiteX3" fmla="*/ 299752 w 313361"/>
                  <a:gd name="connsiteY3" fmla="*/ 192982 h 253522"/>
                  <a:gd name="connsiteX4" fmla="*/ 26263 w 313361"/>
                  <a:gd name="connsiteY4" fmla="*/ 178087 h 253522"/>
                  <a:gd name="connsiteX5" fmla="*/ 26263 w 313361"/>
                  <a:gd name="connsiteY5" fmla="*/ 178087 h 25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361" h="253522">
                    <a:moveTo>
                      <a:pt x="26263" y="178087"/>
                    </a:moveTo>
                    <a:cubicBezTo>
                      <a:pt x="26263" y="178087"/>
                      <a:pt x="32648" y="113187"/>
                      <a:pt x="2851" y="52542"/>
                    </a:cubicBezTo>
                    <a:cubicBezTo>
                      <a:pt x="-28010" y="-8103"/>
                      <a:pt x="201849" y="409"/>
                      <a:pt x="201849" y="409"/>
                    </a:cubicBezTo>
                    <a:cubicBezTo>
                      <a:pt x="201849" y="409"/>
                      <a:pt x="218876" y="145105"/>
                      <a:pt x="299752" y="192982"/>
                    </a:cubicBezTo>
                    <a:cubicBezTo>
                      <a:pt x="379564" y="240859"/>
                      <a:pt x="84791" y="307887"/>
                      <a:pt x="26263" y="178087"/>
                    </a:cubicBezTo>
                    <a:lnTo>
                      <a:pt x="26263" y="178087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9B90E85D-09AD-BEED-1B63-9149947E0EC8}"/>
                  </a:ext>
                </a:extLst>
              </p:cNvPr>
              <p:cNvSpPr/>
              <p:nvPr/>
            </p:nvSpPr>
            <p:spPr>
              <a:xfrm>
                <a:off x="16348036" y="3746124"/>
                <a:ext cx="1268719" cy="1702303"/>
              </a:xfrm>
              <a:custGeom>
                <a:avLst/>
                <a:gdLst>
                  <a:gd name="connsiteX0" fmla="*/ 18064 w 1268719"/>
                  <a:gd name="connsiteY0" fmla="*/ 188317 h 1702303"/>
                  <a:gd name="connsiteX1" fmla="*/ 200036 w 1268719"/>
                  <a:gd name="connsiteY1" fmla="*/ 22343 h 1702303"/>
                  <a:gd name="connsiteX2" fmla="*/ 841725 w 1268719"/>
                  <a:gd name="connsiteY2" fmla="*/ 0 h 1702303"/>
                  <a:gd name="connsiteX3" fmla="*/ 845982 w 1268719"/>
                  <a:gd name="connsiteY3" fmla="*/ 117033 h 1702303"/>
                  <a:gd name="connsiteX4" fmla="*/ 831084 w 1268719"/>
                  <a:gd name="connsiteY4" fmla="*/ 295775 h 1702303"/>
                  <a:gd name="connsiteX5" fmla="*/ 1259940 w 1268719"/>
                  <a:gd name="connsiteY5" fmla="*/ 689433 h 1702303"/>
                  <a:gd name="connsiteX6" fmla="*/ 1247170 w 1268719"/>
                  <a:gd name="connsiteY6" fmla="*/ 1671450 h 1702303"/>
                  <a:gd name="connsiteX7" fmla="*/ 1015183 w 1268719"/>
                  <a:gd name="connsiteY7" fmla="*/ 1702304 h 1702303"/>
                  <a:gd name="connsiteX8" fmla="*/ 892805 w 1268719"/>
                  <a:gd name="connsiteY8" fmla="*/ 832001 h 1702303"/>
                  <a:gd name="connsiteX9" fmla="*/ 781068 w 1268719"/>
                  <a:gd name="connsiteY9" fmla="*/ 792635 h 1702303"/>
                  <a:gd name="connsiteX10" fmla="*/ 775747 w 1268719"/>
                  <a:gd name="connsiteY10" fmla="*/ 1683153 h 1702303"/>
                  <a:gd name="connsiteX11" fmla="*/ 520348 w 1268719"/>
                  <a:gd name="connsiteY11" fmla="*/ 1689536 h 1702303"/>
                  <a:gd name="connsiteX12" fmla="*/ 407547 w 1268719"/>
                  <a:gd name="connsiteY12" fmla="*/ 843704 h 1702303"/>
                  <a:gd name="connsiteX13" fmla="*/ 14872 w 1268719"/>
                  <a:gd name="connsiteY13" fmla="*/ 654323 h 1702303"/>
                  <a:gd name="connsiteX14" fmla="*/ 20193 w 1268719"/>
                  <a:gd name="connsiteY14" fmla="*/ 187253 h 1702303"/>
                  <a:gd name="connsiteX15" fmla="*/ 18064 w 1268719"/>
                  <a:gd name="connsiteY15" fmla="*/ 187253 h 1702303"/>
                  <a:gd name="connsiteX16" fmla="*/ 18064 w 1268719"/>
                  <a:gd name="connsiteY16" fmla="*/ 187253 h 170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68719" h="1702303">
                    <a:moveTo>
                      <a:pt x="18064" y="188317"/>
                    </a:moveTo>
                    <a:cubicBezTo>
                      <a:pt x="18064" y="170230"/>
                      <a:pt x="203228" y="26598"/>
                      <a:pt x="200036" y="22343"/>
                    </a:cubicBezTo>
                    <a:lnTo>
                      <a:pt x="841725" y="0"/>
                    </a:lnTo>
                    <a:lnTo>
                      <a:pt x="845982" y="117033"/>
                    </a:lnTo>
                    <a:lnTo>
                      <a:pt x="831084" y="295775"/>
                    </a:lnTo>
                    <a:cubicBezTo>
                      <a:pt x="831084" y="295775"/>
                      <a:pt x="1222695" y="440471"/>
                      <a:pt x="1259940" y="689433"/>
                    </a:cubicBezTo>
                    <a:cubicBezTo>
                      <a:pt x="1285480" y="860727"/>
                      <a:pt x="1247170" y="1671450"/>
                      <a:pt x="1247170" y="1671450"/>
                    </a:cubicBezTo>
                    <a:lnTo>
                      <a:pt x="1015183" y="1702304"/>
                    </a:lnTo>
                    <a:cubicBezTo>
                      <a:pt x="1015183" y="1702304"/>
                      <a:pt x="878971" y="778804"/>
                      <a:pt x="892805" y="832001"/>
                    </a:cubicBezTo>
                    <a:lnTo>
                      <a:pt x="781068" y="792635"/>
                    </a:lnTo>
                    <a:cubicBezTo>
                      <a:pt x="781068" y="792635"/>
                      <a:pt x="809800" y="1420360"/>
                      <a:pt x="775747" y="1683153"/>
                    </a:cubicBezTo>
                    <a:lnTo>
                      <a:pt x="520348" y="1689536"/>
                    </a:lnTo>
                    <a:lnTo>
                      <a:pt x="407547" y="843704"/>
                    </a:lnTo>
                    <a:cubicBezTo>
                      <a:pt x="407547" y="843704"/>
                      <a:pt x="38283" y="758589"/>
                      <a:pt x="14872" y="654323"/>
                    </a:cubicBezTo>
                    <a:cubicBezTo>
                      <a:pt x="-13861" y="526650"/>
                      <a:pt x="5294" y="286200"/>
                      <a:pt x="20193" y="187253"/>
                    </a:cubicBezTo>
                    <a:lnTo>
                      <a:pt x="18064" y="187253"/>
                    </a:lnTo>
                    <a:lnTo>
                      <a:pt x="18064" y="187253"/>
                    </a:ln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A8E7AC59-40FE-1F06-D2DE-8F4B56941078}"/>
                  </a:ext>
                </a:extLst>
              </p:cNvPr>
              <p:cNvSpPr/>
              <p:nvPr/>
            </p:nvSpPr>
            <p:spPr>
              <a:xfrm>
                <a:off x="17364178" y="5458003"/>
                <a:ext cx="542456" cy="229811"/>
              </a:xfrm>
              <a:custGeom>
                <a:avLst/>
                <a:gdLst>
                  <a:gd name="connsiteX0" fmla="*/ 536443 w 542456"/>
                  <a:gd name="connsiteY0" fmla="*/ 229811 h 229811"/>
                  <a:gd name="connsiteX1" fmla="*/ 106 w 542456"/>
                  <a:gd name="connsiteY1" fmla="*/ 229811 h 229811"/>
                  <a:gd name="connsiteX2" fmla="*/ 25645 w 542456"/>
                  <a:gd name="connsiteY2" fmla="*/ 68092 h 229811"/>
                  <a:gd name="connsiteX3" fmla="*/ 187398 w 542456"/>
                  <a:gd name="connsiteY3" fmla="*/ 62772 h 229811"/>
                  <a:gd name="connsiteX4" fmla="*/ 241670 w 542456"/>
                  <a:gd name="connsiteY4" fmla="*/ 0 h 229811"/>
                  <a:gd name="connsiteX5" fmla="*/ 383204 w 542456"/>
                  <a:gd name="connsiteY5" fmla="*/ 110650 h 229811"/>
                  <a:gd name="connsiteX6" fmla="*/ 519416 w 542456"/>
                  <a:gd name="connsiteY6" fmla="*/ 147888 h 229811"/>
                  <a:gd name="connsiteX7" fmla="*/ 536443 w 542456"/>
                  <a:gd name="connsiteY7" fmla="*/ 229811 h 229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2456" h="229811">
                    <a:moveTo>
                      <a:pt x="536443" y="229811"/>
                    </a:moveTo>
                    <a:lnTo>
                      <a:pt x="106" y="229811"/>
                    </a:lnTo>
                    <a:cubicBezTo>
                      <a:pt x="106" y="229811"/>
                      <a:pt x="-3087" y="161719"/>
                      <a:pt x="25645" y="68092"/>
                    </a:cubicBezTo>
                    <a:cubicBezTo>
                      <a:pt x="25645" y="68092"/>
                      <a:pt x="127805" y="96819"/>
                      <a:pt x="187398" y="62772"/>
                    </a:cubicBezTo>
                    <a:lnTo>
                      <a:pt x="241670" y="0"/>
                    </a:lnTo>
                    <a:lnTo>
                      <a:pt x="383204" y="110650"/>
                    </a:lnTo>
                    <a:lnTo>
                      <a:pt x="519416" y="147888"/>
                    </a:lnTo>
                    <a:cubicBezTo>
                      <a:pt x="519416" y="147888"/>
                      <a:pt x="556662" y="181934"/>
                      <a:pt x="536443" y="229811"/>
                    </a:cubicBezTo>
                    <a:close/>
                  </a:path>
                </a:pathLst>
              </a:custGeom>
              <a:solidFill>
                <a:srgbClr val="281805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7731CEB2-000E-DE1F-90E2-18951D48B44D}"/>
                  </a:ext>
                </a:extLst>
              </p:cNvPr>
              <p:cNvSpPr/>
              <p:nvPr/>
            </p:nvSpPr>
            <p:spPr>
              <a:xfrm>
                <a:off x="16099657" y="2767300"/>
                <a:ext cx="1191199" cy="1296167"/>
              </a:xfrm>
              <a:custGeom>
                <a:avLst/>
                <a:gdLst>
                  <a:gd name="connsiteX0" fmla="*/ 1191200 w 1191199"/>
                  <a:gd name="connsiteY0" fmla="*/ 162783 h 1296167"/>
                  <a:gd name="connsiteX1" fmla="*/ 846411 w 1191199"/>
                  <a:gd name="connsiteY1" fmla="*/ 0 h 1296167"/>
                  <a:gd name="connsiteX2" fmla="*/ 778305 w 1191199"/>
                  <a:gd name="connsiteY2" fmla="*/ 142568 h 1296167"/>
                  <a:gd name="connsiteX3" fmla="*/ 543125 w 1191199"/>
                  <a:gd name="connsiteY3" fmla="*/ 37238 h 1296167"/>
                  <a:gd name="connsiteX4" fmla="*/ 545254 w 1191199"/>
                  <a:gd name="connsiteY4" fmla="*/ 34046 h 1296167"/>
                  <a:gd name="connsiteX5" fmla="*/ 224941 w 1191199"/>
                  <a:gd name="connsiteY5" fmla="*/ 163847 h 1296167"/>
                  <a:gd name="connsiteX6" fmla="*/ 182375 w 1191199"/>
                  <a:gd name="connsiteY6" fmla="*/ 201085 h 1296167"/>
                  <a:gd name="connsiteX7" fmla="*/ 5724 w 1191199"/>
                  <a:gd name="connsiteY7" fmla="*/ 946906 h 1296167"/>
                  <a:gd name="connsiteX8" fmla="*/ 14237 w 1191199"/>
                  <a:gd name="connsiteY8" fmla="*/ 1117137 h 1296167"/>
                  <a:gd name="connsiteX9" fmla="*/ 616553 w 1191199"/>
                  <a:gd name="connsiteY9" fmla="*/ 1289495 h 1296167"/>
                  <a:gd name="connsiteX10" fmla="*/ 629322 w 1191199"/>
                  <a:gd name="connsiteY10" fmla="*/ 1219275 h 1296167"/>
                  <a:gd name="connsiteX11" fmla="*/ 1134799 w 1191199"/>
                  <a:gd name="connsiteY11" fmla="*/ 1258641 h 1296167"/>
                  <a:gd name="connsiteX12" fmla="*/ 1149697 w 1191199"/>
                  <a:gd name="connsiteY12" fmla="*/ 1187357 h 1296167"/>
                  <a:gd name="connsiteX13" fmla="*/ 1184815 w 1191199"/>
                  <a:gd name="connsiteY13" fmla="*/ 455366 h 1296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91199" h="1296167">
                    <a:moveTo>
                      <a:pt x="1191200" y="162783"/>
                    </a:moveTo>
                    <a:cubicBezTo>
                      <a:pt x="1140120" y="127673"/>
                      <a:pt x="1042217" y="46813"/>
                      <a:pt x="846411" y="0"/>
                    </a:cubicBezTo>
                    <a:lnTo>
                      <a:pt x="778305" y="142568"/>
                    </a:lnTo>
                    <a:cubicBezTo>
                      <a:pt x="708070" y="160655"/>
                      <a:pt x="556959" y="65964"/>
                      <a:pt x="543125" y="37238"/>
                    </a:cubicBezTo>
                    <a:lnTo>
                      <a:pt x="545254" y="34046"/>
                    </a:lnTo>
                    <a:cubicBezTo>
                      <a:pt x="415426" y="93627"/>
                      <a:pt x="276021" y="122353"/>
                      <a:pt x="224941" y="163847"/>
                    </a:cubicBezTo>
                    <a:cubicBezTo>
                      <a:pt x="216428" y="171294"/>
                      <a:pt x="191952" y="191509"/>
                      <a:pt x="182375" y="201085"/>
                    </a:cubicBezTo>
                    <a:cubicBezTo>
                      <a:pt x="115333" y="274497"/>
                      <a:pt x="5724" y="579847"/>
                      <a:pt x="5724" y="946906"/>
                    </a:cubicBezTo>
                    <a:cubicBezTo>
                      <a:pt x="403" y="978825"/>
                      <a:pt x="-7046" y="1090538"/>
                      <a:pt x="14237" y="1117137"/>
                    </a:cubicBezTo>
                    <a:cubicBezTo>
                      <a:pt x="125974" y="1258641"/>
                      <a:pt x="571858" y="1317157"/>
                      <a:pt x="616553" y="1289495"/>
                    </a:cubicBezTo>
                    <a:lnTo>
                      <a:pt x="629322" y="1219275"/>
                    </a:lnTo>
                    <a:lnTo>
                      <a:pt x="1134799" y="1258641"/>
                    </a:lnTo>
                    <a:lnTo>
                      <a:pt x="1149697" y="1187357"/>
                    </a:lnTo>
                    <a:cubicBezTo>
                      <a:pt x="1149697" y="1187357"/>
                      <a:pt x="1175237" y="674538"/>
                      <a:pt x="1184815" y="455366"/>
                    </a:cubicBezTo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E6D8A785-A7BE-96AD-D1EE-A7309ED8957E}"/>
                  </a:ext>
                </a:extLst>
              </p:cNvPr>
              <p:cNvSpPr/>
              <p:nvPr/>
            </p:nvSpPr>
            <p:spPr>
              <a:xfrm>
                <a:off x="17050094" y="2640014"/>
                <a:ext cx="65369" cy="65970"/>
              </a:xfrm>
              <a:custGeom>
                <a:avLst/>
                <a:gdLst>
                  <a:gd name="connsiteX0" fmla="*/ 261 w 65369"/>
                  <a:gd name="connsiteY0" fmla="*/ 30468 h 65970"/>
                  <a:gd name="connsiteX1" fmla="*/ 40699 w 65369"/>
                  <a:gd name="connsiteY1" fmla="*/ 65578 h 65970"/>
                  <a:gd name="connsiteX2" fmla="*/ 59854 w 65369"/>
                  <a:gd name="connsiteY2" fmla="*/ 43235 h 65970"/>
                  <a:gd name="connsiteX3" fmla="*/ 44956 w 65369"/>
                  <a:gd name="connsiteY3" fmla="*/ 30468 h 65970"/>
                  <a:gd name="connsiteX4" fmla="*/ 65175 w 65369"/>
                  <a:gd name="connsiteY4" fmla="*/ 677 h 65970"/>
                  <a:gd name="connsiteX5" fmla="*/ 27930 w 65369"/>
                  <a:gd name="connsiteY5" fmla="*/ 5997 h 65970"/>
                  <a:gd name="connsiteX6" fmla="*/ 261 w 65369"/>
                  <a:gd name="connsiteY6" fmla="*/ 30468 h 65970"/>
                  <a:gd name="connsiteX7" fmla="*/ 261 w 65369"/>
                  <a:gd name="connsiteY7" fmla="*/ 30468 h 65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369" h="65970">
                    <a:moveTo>
                      <a:pt x="261" y="30468"/>
                    </a:moveTo>
                    <a:cubicBezTo>
                      <a:pt x="-1867" y="46427"/>
                      <a:pt x="8774" y="53874"/>
                      <a:pt x="40699" y="65578"/>
                    </a:cubicBezTo>
                    <a:cubicBezTo>
                      <a:pt x="44956" y="67705"/>
                      <a:pt x="66239" y="61322"/>
                      <a:pt x="59854" y="43235"/>
                    </a:cubicBezTo>
                    <a:cubicBezTo>
                      <a:pt x="54534" y="27276"/>
                      <a:pt x="36443" y="32596"/>
                      <a:pt x="44956" y="30468"/>
                    </a:cubicBezTo>
                    <a:cubicBezTo>
                      <a:pt x="51341" y="29404"/>
                      <a:pt x="67303" y="25148"/>
                      <a:pt x="65175" y="677"/>
                    </a:cubicBezTo>
                    <a:cubicBezTo>
                      <a:pt x="54534" y="-1451"/>
                      <a:pt x="39635" y="1741"/>
                      <a:pt x="27930" y="5997"/>
                    </a:cubicBezTo>
                    <a:cubicBezTo>
                      <a:pt x="20480" y="9189"/>
                      <a:pt x="1326" y="21956"/>
                      <a:pt x="261" y="30468"/>
                    </a:cubicBezTo>
                    <a:lnTo>
                      <a:pt x="261" y="30468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71E892B5-91A8-6E26-275D-5636931330BD}"/>
                  </a:ext>
                </a:extLst>
              </p:cNvPr>
              <p:cNvSpPr/>
              <p:nvPr/>
            </p:nvSpPr>
            <p:spPr>
              <a:xfrm>
                <a:off x="16891470" y="2336404"/>
                <a:ext cx="249739" cy="309342"/>
              </a:xfrm>
              <a:custGeom>
                <a:avLst/>
                <a:gdLst>
                  <a:gd name="connsiteX0" fmla="*/ 245083 w 249739"/>
                  <a:gd name="connsiteY0" fmla="*/ 237259 h 309342"/>
                  <a:gd name="connsiteX1" fmla="*/ 203581 w 249739"/>
                  <a:gd name="connsiteY1" fmla="*/ 176614 h 309342"/>
                  <a:gd name="connsiteX2" fmla="*/ 187618 w 249739"/>
                  <a:gd name="connsiteY2" fmla="*/ 153207 h 309342"/>
                  <a:gd name="connsiteX3" fmla="*/ 182297 w 249739"/>
                  <a:gd name="connsiteY3" fmla="*/ 78732 h 309342"/>
                  <a:gd name="connsiteX4" fmla="*/ 137603 w 249739"/>
                  <a:gd name="connsiteY4" fmla="*/ 0 h 309342"/>
                  <a:gd name="connsiteX5" fmla="*/ 135474 w 249739"/>
                  <a:gd name="connsiteY5" fmla="*/ 0 h 309342"/>
                  <a:gd name="connsiteX6" fmla="*/ 23737 w 249739"/>
                  <a:gd name="connsiteY6" fmla="*/ 50005 h 309342"/>
                  <a:gd name="connsiteX7" fmla="*/ 31187 w 249739"/>
                  <a:gd name="connsiteY7" fmla="*/ 110650 h 309342"/>
                  <a:gd name="connsiteX8" fmla="*/ 326 w 249739"/>
                  <a:gd name="connsiteY8" fmla="*/ 171294 h 309342"/>
                  <a:gd name="connsiteX9" fmla="*/ 19481 w 249739"/>
                  <a:gd name="connsiteY9" fmla="*/ 257473 h 309342"/>
                  <a:gd name="connsiteX10" fmla="*/ 102485 w 249739"/>
                  <a:gd name="connsiteY10" fmla="*/ 304287 h 309342"/>
                  <a:gd name="connsiteX11" fmla="*/ 201452 w 249739"/>
                  <a:gd name="connsiteY11" fmla="*/ 277688 h 309342"/>
                  <a:gd name="connsiteX12" fmla="*/ 237634 w 249739"/>
                  <a:gd name="connsiteY12" fmla="*/ 262793 h 309342"/>
                  <a:gd name="connsiteX13" fmla="*/ 246147 w 249739"/>
                  <a:gd name="connsiteY13" fmla="*/ 238322 h 309342"/>
                  <a:gd name="connsiteX14" fmla="*/ 246147 w 249739"/>
                  <a:gd name="connsiteY14" fmla="*/ 238322 h 309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9739" h="309342">
                    <a:moveTo>
                      <a:pt x="245083" y="237259"/>
                    </a:moveTo>
                    <a:cubicBezTo>
                      <a:pt x="239762" y="227683"/>
                      <a:pt x="203581" y="176614"/>
                      <a:pt x="203581" y="176614"/>
                    </a:cubicBezTo>
                    <a:cubicBezTo>
                      <a:pt x="198260" y="168103"/>
                      <a:pt x="185490" y="161719"/>
                      <a:pt x="187618" y="153207"/>
                    </a:cubicBezTo>
                    <a:cubicBezTo>
                      <a:pt x="194003" y="128737"/>
                      <a:pt x="192939" y="102138"/>
                      <a:pt x="182297" y="78732"/>
                    </a:cubicBezTo>
                    <a:cubicBezTo>
                      <a:pt x="167399" y="46813"/>
                      <a:pt x="148244" y="14895"/>
                      <a:pt x="137603" y="0"/>
                    </a:cubicBezTo>
                    <a:lnTo>
                      <a:pt x="135474" y="0"/>
                    </a:lnTo>
                    <a:cubicBezTo>
                      <a:pt x="122705" y="2128"/>
                      <a:pt x="30122" y="15959"/>
                      <a:pt x="23737" y="50005"/>
                    </a:cubicBezTo>
                    <a:cubicBezTo>
                      <a:pt x="16288" y="86179"/>
                      <a:pt x="31187" y="110650"/>
                      <a:pt x="31187" y="110650"/>
                    </a:cubicBezTo>
                    <a:cubicBezTo>
                      <a:pt x="31187" y="110650"/>
                      <a:pt x="9903" y="137248"/>
                      <a:pt x="326" y="171294"/>
                    </a:cubicBezTo>
                    <a:cubicBezTo>
                      <a:pt x="-1802" y="211724"/>
                      <a:pt x="6711" y="238322"/>
                      <a:pt x="19481" y="257473"/>
                    </a:cubicBezTo>
                    <a:cubicBezTo>
                      <a:pt x="45021" y="294711"/>
                      <a:pt x="88651" y="296839"/>
                      <a:pt x="102485" y="304287"/>
                    </a:cubicBezTo>
                    <a:cubicBezTo>
                      <a:pt x="123768" y="315990"/>
                      <a:pt x="159950" y="307479"/>
                      <a:pt x="201452" y="277688"/>
                    </a:cubicBezTo>
                    <a:cubicBezTo>
                      <a:pt x="201452" y="277688"/>
                      <a:pt x="221671" y="267049"/>
                      <a:pt x="237634" y="262793"/>
                    </a:cubicBezTo>
                    <a:cubicBezTo>
                      <a:pt x="252532" y="258537"/>
                      <a:pt x="251468" y="247898"/>
                      <a:pt x="246147" y="238322"/>
                    </a:cubicBezTo>
                    <a:lnTo>
                      <a:pt x="246147" y="238322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318F14AD-0BD7-4C75-8852-D3752C023201}"/>
                  </a:ext>
                </a:extLst>
              </p:cNvPr>
              <p:cNvSpPr/>
              <p:nvPr/>
            </p:nvSpPr>
            <p:spPr>
              <a:xfrm>
                <a:off x="16142602" y="3709251"/>
                <a:ext cx="1005096" cy="361611"/>
              </a:xfrm>
              <a:custGeom>
                <a:avLst/>
                <a:gdLst>
                  <a:gd name="connsiteX0" fmla="*/ 965218 w 1005096"/>
                  <a:gd name="connsiteY0" fmla="*/ 247534 h 361611"/>
                  <a:gd name="connsiteX1" fmla="*/ 847096 w 1005096"/>
                  <a:gd name="connsiteY1" fmla="*/ 265621 h 361611"/>
                  <a:gd name="connsiteX2" fmla="*/ 847096 w 1005096"/>
                  <a:gd name="connsiteY2" fmla="*/ 261365 h 361611"/>
                  <a:gd name="connsiteX3" fmla="*/ 1004592 w 1005096"/>
                  <a:gd name="connsiteY3" fmla="*/ 197529 h 361611"/>
                  <a:gd name="connsiteX4" fmla="*/ 954576 w 1005096"/>
                  <a:gd name="connsiteY4" fmla="*/ 187953 h 361611"/>
                  <a:gd name="connsiteX5" fmla="*/ 840711 w 1005096"/>
                  <a:gd name="connsiteY5" fmla="*/ 215615 h 361611"/>
                  <a:gd name="connsiteX6" fmla="*/ 848160 w 1005096"/>
                  <a:gd name="connsiteY6" fmla="*/ 210296 h 361611"/>
                  <a:gd name="connsiteX7" fmla="*/ 951384 w 1005096"/>
                  <a:gd name="connsiteY7" fmla="*/ 156035 h 361611"/>
                  <a:gd name="connsiteX8" fmla="*/ 943935 w 1005096"/>
                  <a:gd name="connsiteY8" fmla="*/ 127309 h 361611"/>
                  <a:gd name="connsiteX9" fmla="*/ 809850 w 1005096"/>
                  <a:gd name="connsiteY9" fmla="*/ 175186 h 361611"/>
                  <a:gd name="connsiteX10" fmla="*/ 743873 w 1005096"/>
                  <a:gd name="connsiteY10" fmla="*/ 180505 h 361611"/>
                  <a:gd name="connsiteX11" fmla="*/ 771541 w 1005096"/>
                  <a:gd name="connsiteY11" fmla="*/ 148587 h 361611"/>
                  <a:gd name="connsiteX12" fmla="*/ 798145 w 1005096"/>
                  <a:gd name="connsiteY12" fmla="*/ 92199 h 361611"/>
                  <a:gd name="connsiteX13" fmla="*/ 774733 w 1005096"/>
                  <a:gd name="connsiteY13" fmla="*/ 90071 h 361611"/>
                  <a:gd name="connsiteX14" fmla="*/ 739616 w 1005096"/>
                  <a:gd name="connsiteY14" fmla="*/ 113477 h 361611"/>
                  <a:gd name="connsiteX15" fmla="*/ 611916 w 1005096"/>
                  <a:gd name="connsiteY15" fmla="*/ 187953 h 361611"/>
                  <a:gd name="connsiteX16" fmla="*/ 253294 w 1005096"/>
                  <a:gd name="connsiteY16" fmla="*/ 31554 h 361611"/>
                  <a:gd name="connsiteX17" fmla="*/ 24 w 1005096"/>
                  <a:gd name="connsiteY17" fmla="*/ 75176 h 361611"/>
                  <a:gd name="connsiteX18" fmla="*/ 138365 w 1005096"/>
                  <a:gd name="connsiteY18" fmla="*/ 175186 h 361611"/>
                  <a:gd name="connsiteX19" fmla="*/ 604468 w 1005096"/>
                  <a:gd name="connsiteY19" fmla="*/ 343288 h 361611"/>
                  <a:gd name="connsiteX20" fmla="*/ 665125 w 1005096"/>
                  <a:gd name="connsiteY20" fmla="*/ 359247 h 361611"/>
                  <a:gd name="connsiteX21" fmla="*/ 821556 w 1005096"/>
                  <a:gd name="connsiteY21" fmla="*/ 359247 h 361611"/>
                  <a:gd name="connsiteX22" fmla="*/ 947127 w 1005096"/>
                  <a:gd name="connsiteY22" fmla="*/ 329457 h 361611"/>
                  <a:gd name="connsiteX23" fmla="*/ 939678 w 1005096"/>
                  <a:gd name="connsiteY23" fmla="*/ 309242 h 361611"/>
                  <a:gd name="connsiteX24" fmla="*/ 838583 w 1005096"/>
                  <a:gd name="connsiteY24" fmla="*/ 317754 h 361611"/>
                  <a:gd name="connsiteX25" fmla="*/ 837519 w 1005096"/>
                  <a:gd name="connsiteY25" fmla="*/ 312434 h 361611"/>
                  <a:gd name="connsiteX26" fmla="*/ 993951 w 1005096"/>
                  <a:gd name="connsiteY26" fmla="*/ 263493 h 361611"/>
                  <a:gd name="connsiteX27" fmla="*/ 967347 w 1005096"/>
                  <a:gd name="connsiteY27" fmla="*/ 248598 h 361611"/>
                  <a:gd name="connsiteX28" fmla="*/ 965218 w 1005096"/>
                  <a:gd name="connsiteY28" fmla="*/ 248598 h 361611"/>
                  <a:gd name="connsiteX29" fmla="*/ 965218 w 1005096"/>
                  <a:gd name="connsiteY29" fmla="*/ 248598 h 361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005096" h="361611">
                    <a:moveTo>
                      <a:pt x="965218" y="247534"/>
                    </a:moveTo>
                    <a:cubicBezTo>
                      <a:pt x="926908" y="260301"/>
                      <a:pt x="847096" y="265621"/>
                      <a:pt x="847096" y="265621"/>
                    </a:cubicBezTo>
                    <a:lnTo>
                      <a:pt x="847096" y="261365"/>
                    </a:lnTo>
                    <a:cubicBezTo>
                      <a:pt x="847096" y="261365"/>
                      <a:pt x="997143" y="229447"/>
                      <a:pt x="1004592" y="197529"/>
                    </a:cubicBezTo>
                    <a:cubicBezTo>
                      <a:pt x="1010977" y="167738"/>
                      <a:pt x="954576" y="187953"/>
                      <a:pt x="954576" y="187953"/>
                    </a:cubicBezTo>
                    <a:cubicBezTo>
                      <a:pt x="954576" y="187953"/>
                      <a:pt x="883278" y="212424"/>
                      <a:pt x="840711" y="215615"/>
                    </a:cubicBezTo>
                    <a:lnTo>
                      <a:pt x="848160" y="210296"/>
                    </a:lnTo>
                    <a:cubicBezTo>
                      <a:pt x="848160" y="210296"/>
                      <a:pt x="937550" y="177314"/>
                      <a:pt x="951384" y="156035"/>
                    </a:cubicBezTo>
                    <a:cubicBezTo>
                      <a:pt x="966282" y="134756"/>
                      <a:pt x="958833" y="123053"/>
                      <a:pt x="943935" y="127309"/>
                    </a:cubicBezTo>
                    <a:cubicBezTo>
                      <a:pt x="929037" y="132628"/>
                      <a:pt x="841775" y="169866"/>
                      <a:pt x="809850" y="175186"/>
                    </a:cubicBezTo>
                    <a:cubicBezTo>
                      <a:pt x="777926" y="180505"/>
                      <a:pt x="759835" y="179441"/>
                      <a:pt x="743873" y="180505"/>
                    </a:cubicBezTo>
                    <a:cubicBezTo>
                      <a:pt x="720461" y="182634"/>
                      <a:pt x="770477" y="148587"/>
                      <a:pt x="771541" y="148587"/>
                    </a:cubicBezTo>
                    <a:cubicBezTo>
                      <a:pt x="816236" y="121989"/>
                      <a:pt x="798145" y="92199"/>
                      <a:pt x="798145" y="92199"/>
                    </a:cubicBezTo>
                    <a:cubicBezTo>
                      <a:pt x="798145" y="92199"/>
                      <a:pt x="789631" y="76239"/>
                      <a:pt x="774733" y="90071"/>
                    </a:cubicBezTo>
                    <a:cubicBezTo>
                      <a:pt x="759835" y="102838"/>
                      <a:pt x="753450" y="107094"/>
                      <a:pt x="739616" y="113477"/>
                    </a:cubicBezTo>
                    <a:cubicBezTo>
                      <a:pt x="723653" y="120925"/>
                      <a:pt x="654483" y="189017"/>
                      <a:pt x="611916" y="187953"/>
                    </a:cubicBezTo>
                    <a:cubicBezTo>
                      <a:pt x="569350" y="186889"/>
                      <a:pt x="337363" y="74112"/>
                      <a:pt x="253294" y="31554"/>
                    </a:cubicBezTo>
                    <a:cubicBezTo>
                      <a:pt x="138365" y="-26963"/>
                      <a:pt x="-2104" y="700"/>
                      <a:pt x="24" y="75176"/>
                    </a:cubicBezTo>
                    <a:cubicBezTo>
                      <a:pt x="24" y="95390"/>
                      <a:pt x="75579" y="144332"/>
                      <a:pt x="138365" y="175186"/>
                    </a:cubicBezTo>
                    <a:lnTo>
                      <a:pt x="604468" y="343288"/>
                    </a:lnTo>
                    <a:cubicBezTo>
                      <a:pt x="635328" y="356056"/>
                      <a:pt x="669381" y="361375"/>
                      <a:pt x="665125" y="359247"/>
                    </a:cubicBezTo>
                    <a:cubicBezTo>
                      <a:pt x="689600" y="364567"/>
                      <a:pt x="821556" y="359247"/>
                      <a:pt x="821556" y="359247"/>
                    </a:cubicBezTo>
                    <a:cubicBezTo>
                      <a:pt x="821556" y="359247"/>
                      <a:pt x="937550" y="351800"/>
                      <a:pt x="947127" y="329457"/>
                    </a:cubicBezTo>
                    <a:cubicBezTo>
                      <a:pt x="956705" y="307114"/>
                      <a:pt x="939678" y="309242"/>
                      <a:pt x="939678" y="309242"/>
                    </a:cubicBezTo>
                    <a:cubicBezTo>
                      <a:pt x="939678" y="309242"/>
                      <a:pt x="846032" y="327329"/>
                      <a:pt x="838583" y="317754"/>
                    </a:cubicBezTo>
                    <a:cubicBezTo>
                      <a:pt x="836455" y="314562"/>
                      <a:pt x="837519" y="312434"/>
                      <a:pt x="837519" y="312434"/>
                    </a:cubicBezTo>
                    <a:cubicBezTo>
                      <a:pt x="837519" y="312434"/>
                      <a:pt x="963090" y="298603"/>
                      <a:pt x="993951" y="263493"/>
                    </a:cubicBezTo>
                    <a:cubicBezTo>
                      <a:pt x="993951" y="263493"/>
                      <a:pt x="1006720" y="234766"/>
                      <a:pt x="967347" y="248598"/>
                    </a:cubicBezTo>
                    <a:lnTo>
                      <a:pt x="965218" y="248598"/>
                    </a:lnTo>
                    <a:lnTo>
                      <a:pt x="965218" y="248598"/>
                    </a:lnTo>
                    <a:close/>
                  </a:path>
                </a:pathLst>
              </a:custGeom>
              <a:solidFill>
                <a:srgbClr val="DE9C74"/>
              </a:solidFill>
              <a:ln w="15960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781AE8B3-5740-A748-0319-661CCD52CB4E}"/>
                  </a:ext>
                </a:extLst>
              </p:cNvPr>
              <p:cNvSpPr/>
              <p:nvPr/>
            </p:nvSpPr>
            <p:spPr>
              <a:xfrm>
                <a:off x="16098592" y="3338635"/>
                <a:ext cx="649541" cy="726959"/>
              </a:xfrm>
              <a:custGeom>
                <a:avLst/>
                <a:gdLst>
                  <a:gd name="connsiteX0" fmla="*/ 5724 w 649541"/>
                  <a:gd name="connsiteY0" fmla="*/ 377699 h 726959"/>
                  <a:gd name="connsiteX1" fmla="*/ 14237 w 649541"/>
                  <a:gd name="connsiteY1" fmla="*/ 547929 h 726959"/>
                  <a:gd name="connsiteX2" fmla="*/ 616553 w 649541"/>
                  <a:gd name="connsiteY2" fmla="*/ 720287 h 726959"/>
                  <a:gd name="connsiteX3" fmla="*/ 649542 w 649541"/>
                  <a:gd name="connsiteY3" fmla="*/ 538353 h 726959"/>
                  <a:gd name="connsiteX4" fmla="*/ 282406 w 649541"/>
                  <a:gd name="connsiteY4" fmla="*/ 355356 h 726959"/>
                  <a:gd name="connsiteX5" fmla="*/ 383501 w 649541"/>
                  <a:gd name="connsiteY5" fmla="*/ 0 h 72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9541" h="726959">
                    <a:moveTo>
                      <a:pt x="5724" y="377699"/>
                    </a:moveTo>
                    <a:cubicBezTo>
                      <a:pt x="403" y="409617"/>
                      <a:pt x="-7046" y="521331"/>
                      <a:pt x="14237" y="547929"/>
                    </a:cubicBezTo>
                    <a:cubicBezTo>
                      <a:pt x="125974" y="689433"/>
                      <a:pt x="571858" y="747950"/>
                      <a:pt x="616553" y="720287"/>
                    </a:cubicBezTo>
                    <a:lnTo>
                      <a:pt x="649542" y="538353"/>
                    </a:lnTo>
                    <a:lnTo>
                      <a:pt x="282406" y="355356"/>
                    </a:lnTo>
                    <a:cubicBezTo>
                      <a:pt x="329229" y="213852"/>
                      <a:pt x="383501" y="0"/>
                      <a:pt x="383501" y="0"/>
                    </a:cubicBezTo>
                  </a:path>
                </a:pathLst>
              </a:custGeom>
              <a:solidFill>
                <a:srgbClr val="FFFFFF"/>
              </a:solidFill>
              <a:ln w="15960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71" name="Graphic 8">
                <a:extLst>
                  <a:ext uri="{FF2B5EF4-FFF2-40B4-BE49-F238E27FC236}">
                    <a16:creationId xmlns:a16="http://schemas.microsoft.com/office/drawing/2014/main" id="{9A33F51E-8B80-D9BB-9F34-1B6926AFD06A}"/>
                  </a:ext>
                </a:extLst>
              </p:cNvPr>
              <p:cNvGrpSpPr/>
              <p:nvPr/>
            </p:nvGrpSpPr>
            <p:grpSpPr>
              <a:xfrm>
                <a:off x="16610851" y="2257797"/>
                <a:ext cx="516534" cy="654348"/>
                <a:chOff x="16610851" y="2257797"/>
                <a:chExt cx="516534" cy="654348"/>
              </a:xfrm>
            </p:grpSpPr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D0D26D23-9357-F988-B9D2-7C6FCEAD2351}"/>
                    </a:ext>
                  </a:extLst>
                </p:cNvPr>
                <p:cNvSpPr/>
                <p:nvPr/>
              </p:nvSpPr>
              <p:spPr>
                <a:xfrm>
                  <a:off x="16641718" y="2504507"/>
                  <a:ext cx="299029" cy="407638"/>
                </a:xfrm>
                <a:custGeom>
                  <a:avLst/>
                  <a:gdLst>
                    <a:gd name="connsiteX0" fmla="*/ 211768 w 299029"/>
                    <a:gd name="connsiteY0" fmla="*/ 189381 h 407638"/>
                    <a:gd name="connsiteX1" fmla="*/ 213896 w 299029"/>
                    <a:gd name="connsiteY1" fmla="*/ 167039 h 407638"/>
                    <a:gd name="connsiteX2" fmla="*/ 217089 w 299029"/>
                    <a:gd name="connsiteY2" fmla="*/ 113842 h 407638"/>
                    <a:gd name="connsiteX3" fmla="*/ 217089 w 299029"/>
                    <a:gd name="connsiteY3" fmla="*/ 97882 h 407638"/>
                    <a:gd name="connsiteX4" fmla="*/ 213896 w 299029"/>
                    <a:gd name="connsiteY4" fmla="*/ 44685 h 407638"/>
                    <a:gd name="connsiteX5" fmla="*/ 164945 w 299029"/>
                    <a:gd name="connsiteY5" fmla="*/ 0 h 407638"/>
                    <a:gd name="connsiteX6" fmla="*/ 110673 w 299029"/>
                    <a:gd name="connsiteY6" fmla="*/ 85115 h 407638"/>
                    <a:gd name="connsiteX7" fmla="*/ 135148 w 299029"/>
                    <a:gd name="connsiteY7" fmla="*/ 123417 h 407638"/>
                    <a:gd name="connsiteX8" fmla="*/ 135148 w 299029"/>
                    <a:gd name="connsiteY8" fmla="*/ 123417 h 407638"/>
                    <a:gd name="connsiteX9" fmla="*/ 141533 w 299029"/>
                    <a:gd name="connsiteY9" fmla="*/ 126609 h 407638"/>
                    <a:gd name="connsiteX10" fmla="*/ 141533 w 299029"/>
                    <a:gd name="connsiteY10" fmla="*/ 126609 h 407638"/>
                    <a:gd name="connsiteX11" fmla="*/ 147918 w 299029"/>
                    <a:gd name="connsiteY11" fmla="*/ 128737 h 407638"/>
                    <a:gd name="connsiteX12" fmla="*/ 100031 w 299029"/>
                    <a:gd name="connsiteY12" fmla="*/ 192573 h 407638"/>
                    <a:gd name="connsiteX13" fmla="*/ 84069 w 299029"/>
                    <a:gd name="connsiteY13" fmla="*/ 188317 h 407638"/>
                    <a:gd name="connsiteX14" fmla="*/ 80876 w 299029"/>
                    <a:gd name="connsiteY14" fmla="*/ 192573 h 407638"/>
                    <a:gd name="connsiteX15" fmla="*/ 80876 w 299029"/>
                    <a:gd name="connsiteY15" fmla="*/ 192573 h 407638"/>
                    <a:gd name="connsiteX16" fmla="*/ 0 w 299029"/>
                    <a:gd name="connsiteY16" fmla="*/ 300031 h 407638"/>
                    <a:gd name="connsiteX17" fmla="*/ 235179 w 299029"/>
                    <a:gd name="connsiteY17" fmla="*/ 405361 h 407638"/>
                    <a:gd name="connsiteX18" fmla="*/ 299029 w 299029"/>
                    <a:gd name="connsiteY18" fmla="*/ 271305 h 407638"/>
                    <a:gd name="connsiteX19" fmla="*/ 211768 w 299029"/>
                    <a:gd name="connsiteY19" fmla="*/ 188317 h 407638"/>
                    <a:gd name="connsiteX20" fmla="*/ 211768 w 299029"/>
                    <a:gd name="connsiteY20" fmla="*/ 188317 h 40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99029" h="407638">
                      <a:moveTo>
                        <a:pt x="211768" y="189381"/>
                      </a:moveTo>
                      <a:cubicBezTo>
                        <a:pt x="211768" y="185125"/>
                        <a:pt x="212832" y="170230"/>
                        <a:pt x="213896" y="167039"/>
                      </a:cubicBezTo>
                      <a:cubicBezTo>
                        <a:pt x="213896" y="161719"/>
                        <a:pt x="217089" y="114906"/>
                        <a:pt x="217089" y="113842"/>
                      </a:cubicBezTo>
                      <a:lnTo>
                        <a:pt x="217089" y="97882"/>
                      </a:lnTo>
                      <a:cubicBezTo>
                        <a:pt x="217089" y="97882"/>
                        <a:pt x="214960" y="57453"/>
                        <a:pt x="213896" y="44685"/>
                      </a:cubicBezTo>
                      <a:cubicBezTo>
                        <a:pt x="210704" y="26598"/>
                        <a:pt x="198998" y="0"/>
                        <a:pt x="164945" y="0"/>
                      </a:cubicBezTo>
                      <a:cubicBezTo>
                        <a:pt x="130892" y="0"/>
                        <a:pt x="98967" y="42558"/>
                        <a:pt x="110673" y="85115"/>
                      </a:cubicBezTo>
                      <a:cubicBezTo>
                        <a:pt x="115994" y="105330"/>
                        <a:pt x="125571" y="115969"/>
                        <a:pt x="135148" y="123417"/>
                      </a:cubicBezTo>
                      <a:lnTo>
                        <a:pt x="135148" y="123417"/>
                      </a:lnTo>
                      <a:cubicBezTo>
                        <a:pt x="137277" y="124481"/>
                        <a:pt x="139405" y="126609"/>
                        <a:pt x="141533" y="126609"/>
                      </a:cubicBezTo>
                      <a:lnTo>
                        <a:pt x="141533" y="126609"/>
                      </a:lnTo>
                      <a:cubicBezTo>
                        <a:pt x="143662" y="126609"/>
                        <a:pt x="145790" y="128737"/>
                        <a:pt x="147918" y="128737"/>
                      </a:cubicBezTo>
                      <a:cubicBezTo>
                        <a:pt x="147918" y="130865"/>
                        <a:pt x="118122" y="190445"/>
                        <a:pt x="100031" y="192573"/>
                      </a:cubicBezTo>
                      <a:cubicBezTo>
                        <a:pt x="94710" y="191509"/>
                        <a:pt x="89389" y="189381"/>
                        <a:pt x="84069" y="188317"/>
                      </a:cubicBezTo>
                      <a:lnTo>
                        <a:pt x="80876" y="192573"/>
                      </a:lnTo>
                      <a:lnTo>
                        <a:pt x="80876" y="192573"/>
                      </a:lnTo>
                      <a:lnTo>
                        <a:pt x="0" y="300031"/>
                      </a:lnTo>
                      <a:cubicBezTo>
                        <a:pt x="13834" y="328757"/>
                        <a:pt x="164945" y="423448"/>
                        <a:pt x="235179" y="405361"/>
                      </a:cubicBezTo>
                      <a:lnTo>
                        <a:pt x="299029" y="271305"/>
                      </a:lnTo>
                      <a:cubicBezTo>
                        <a:pt x="246885" y="254282"/>
                        <a:pt x="212832" y="225555"/>
                        <a:pt x="211768" y="188317"/>
                      </a:cubicBezTo>
                      <a:lnTo>
                        <a:pt x="211768" y="188317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74526ADD-B4A2-9F83-2662-371633078949}"/>
                    </a:ext>
                  </a:extLst>
                </p:cNvPr>
                <p:cNvSpPr/>
                <p:nvPr/>
              </p:nvSpPr>
              <p:spPr>
                <a:xfrm>
                  <a:off x="16610851" y="2257797"/>
                  <a:ext cx="516534" cy="535858"/>
                </a:xfrm>
                <a:custGeom>
                  <a:avLst/>
                  <a:gdLst>
                    <a:gd name="connsiteX0" fmla="*/ 494841 w 516534"/>
                    <a:gd name="connsiteY0" fmla="*/ 348848 h 535858"/>
                    <a:gd name="connsiteX1" fmla="*/ 454403 w 516534"/>
                    <a:gd name="connsiteY1" fmla="*/ 354167 h 535858"/>
                    <a:gd name="connsiteX2" fmla="*/ 383104 w 516534"/>
                    <a:gd name="connsiteY2" fmla="*/ 377574 h 535858"/>
                    <a:gd name="connsiteX3" fmla="*/ 299036 w 516534"/>
                    <a:gd name="connsiteY3" fmla="*/ 336080 h 535858"/>
                    <a:gd name="connsiteX4" fmla="*/ 279881 w 516534"/>
                    <a:gd name="connsiteY4" fmla="*/ 249901 h 535858"/>
                    <a:gd name="connsiteX5" fmla="*/ 310741 w 516534"/>
                    <a:gd name="connsiteY5" fmla="*/ 189257 h 535858"/>
                    <a:gd name="connsiteX6" fmla="*/ 303292 w 516534"/>
                    <a:gd name="connsiteY6" fmla="*/ 128612 h 535858"/>
                    <a:gd name="connsiteX7" fmla="*/ 415029 w 516534"/>
                    <a:gd name="connsiteY7" fmla="*/ 78607 h 535858"/>
                    <a:gd name="connsiteX8" fmla="*/ 415029 w 516534"/>
                    <a:gd name="connsiteY8" fmla="*/ 76479 h 535858"/>
                    <a:gd name="connsiteX9" fmla="*/ 335217 w 516534"/>
                    <a:gd name="connsiteY9" fmla="*/ 2003 h 535858"/>
                    <a:gd name="connsiteX10" fmla="*/ 216031 w 516534"/>
                    <a:gd name="connsiteY10" fmla="*/ 2003 h 535858"/>
                    <a:gd name="connsiteX11" fmla="*/ 3199 w 516534"/>
                    <a:gd name="connsiteY11" fmla="*/ 250965 h 535858"/>
                    <a:gd name="connsiteX12" fmla="*/ 114936 w 516534"/>
                    <a:gd name="connsiteY12" fmla="*/ 437155 h 535858"/>
                    <a:gd name="connsiteX13" fmla="*/ 130898 w 516534"/>
                    <a:gd name="connsiteY13" fmla="*/ 441411 h 535858"/>
                    <a:gd name="connsiteX14" fmla="*/ 178785 w 516534"/>
                    <a:gd name="connsiteY14" fmla="*/ 377574 h 535858"/>
                    <a:gd name="connsiteX15" fmla="*/ 164951 w 516534"/>
                    <a:gd name="connsiteY15" fmla="*/ 371190 h 535858"/>
                    <a:gd name="connsiteX16" fmla="*/ 140476 w 516534"/>
                    <a:gd name="connsiteY16" fmla="*/ 332889 h 535858"/>
                    <a:gd name="connsiteX17" fmla="*/ 194748 w 516534"/>
                    <a:gd name="connsiteY17" fmla="*/ 247773 h 535858"/>
                    <a:gd name="connsiteX18" fmla="*/ 243699 w 516534"/>
                    <a:gd name="connsiteY18" fmla="*/ 292459 h 535858"/>
                    <a:gd name="connsiteX19" fmla="*/ 243699 w 516534"/>
                    <a:gd name="connsiteY19" fmla="*/ 413748 h 535858"/>
                    <a:gd name="connsiteX20" fmla="*/ 241571 w 516534"/>
                    <a:gd name="connsiteY20" fmla="*/ 436091 h 535858"/>
                    <a:gd name="connsiteX21" fmla="*/ 328832 w 516534"/>
                    <a:gd name="connsiteY21" fmla="*/ 519078 h 535858"/>
                    <a:gd name="connsiteX22" fmla="*/ 399067 w 516534"/>
                    <a:gd name="connsiteY22" fmla="*/ 533973 h 535858"/>
                    <a:gd name="connsiteX23" fmla="*/ 477815 w 516534"/>
                    <a:gd name="connsiteY23" fmla="*/ 524398 h 535858"/>
                    <a:gd name="connsiteX24" fmla="*/ 484200 w 516534"/>
                    <a:gd name="connsiteY24" fmla="*/ 453114 h 535858"/>
                    <a:gd name="connsiteX25" fmla="*/ 484200 w 516534"/>
                    <a:gd name="connsiteY25" fmla="*/ 453114 h 535858"/>
                    <a:gd name="connsiteX26" fmla="*/ 439505 w 516534"/>
                    <a:gd name="connsiteY26" fmla="*/ 413748 h 535858"/>
                    <a:gd name="connsiteX27" fmla="*/ 465045 w 516534"/>
                    <a:gd name="connsiteY27" fmla="*/ 393533 h 535858"/>
                    <a:gd name="connsiteX28" fmla="*/ 508675 w 516534"/>
                    <a:gd name="connsiteY28" fmla="*/ 381830 h 535858"/>
                    <a:gd name="connsiteX29" fmla="*/ 494841 w 516534"/>
                    <a:gd name="connsiteY29" fmla="*/ 349912 h 535858"/>
                    <a:gd name="connsiteX30" fmla="*/ 494841 w 516534"/>
                    <a:gd name="connsiteY30" fmla="*/ 349912 h 535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6534" h="535858">
                      <a:moveTo>
                        <a:pt x="494841" y="348848"/>
                      </a:moveTo>
                      <a:cubicBezTo>
                        <a:pt x="494841" y="348848"/>
                        <a:pt x="475686" y="346720"/>
                        <a:pt x="454403" y="354167"/>
                      </a:cubicBezTo>
                      <a:cubicBezTo>
                        <a:pt x="428863" y="362679"/>
                        <a:pt x="400131" y="378638"/>
                        <a:pt x="383104" y="377574"/>
                      </a:cubicBezTo>
                      <a:cubicBezTo>
                        <a:pt x="367142" y="375446"/>
                        <a:pt x="324575" y="373318"/>
                        <a:pt x="299036" y="336080"/>
                      </a:cubicBezTo>
                      <a:cubicBezTo>
                        <a:pt x="286266" y="317993"/>
                        <a:pt x="277752" y="290331"/>
                        <a:pt x="279881" y="249901"/>
                      </a:cubicBezTo>
                      <a:cubicBezTo>
                        <a:pt x="289458" y="214791"/>
                        <a:pt x="310741" y="189257"/>
                        <a:pt x="310741" y="189257"/>
                      </a:cubicBezTo>
                      <a:cubicBezTo>
                        <a:pt x="310741" y="189257"/>
                        <a:pt x="295843" y="164786"/>
                        <a:pt x="303292" y="128612"/>
                      </a:cubicBezTo>
                      <a:cubicBezTo>
                        <a:pt x="309677" y="94566"/>
                        <a:pt x="401195" y="80735"/>
                        <a:pt x="415029" y="78607"/>
                      </a:cubicBezTo>
                      <a:lnTo>
                        <a:pt x="415029" y="76479"/>
                      </a:lnTo>
                      <a:cubicBezTo>
                        <a:pt x="449082" y="31794"/>
                        <a:pt x="351179" y="-9700"/>
                        <a:pt x="335217" y="2003"/>
                      </a:cubicBezTo>
                      <a:cubicBezTo>
                        <a:pt x="291587" y="33922"/>
                        <a:pt x="305421" y="-8636"/>
                        <a:pt x="216031" y="2003"/>
                      </a:cubicBezTo>
                      <a:cubicBezTo>
                        <a:pt x="88332" y="16898"/>
                        <a:pt x="-20213" y="125420"/>
                        <a:pt x="3199" y="250965"/>
                      </a:cubicBezTo>
                      <a:cubicBezTo>
                        <a:pt x="17033" y="329697"/>
                        <a:pt x="40445" y="412684"/>
                        <a:pt x="114936" y="437155"/>
                      </a:cubicBezTo>
                      <a:cubicBezTo>
                        <a:pt x="120257" y="439283"/>
                        <a:pt x="125577" y="440347"/>
                        <a:pt x="130898" y="441411"/>
                      </a:cubicBezTo>
                      <a:cubicBezTo>
                        <a:pt x="148989" y="438219"/>
                        <a:pt x="178785" y="379702"/>
                        <a:pt x="178785" y="377574"/>
                      </a:cubicBezTo>
                      <a:cubicBezTo>
                        <a:pt x="174529" y="376510"/>
                        <a:pt x="169208" y="374382"/>
                        <a:pt x="164951" y="371190"/>
                      </a:cubicBezTo>
                      <a:cubicBezTo>
                        <a:pt x="155374" y="364807"/>
                        <a:pt x="146861" y="353104"/>
                        <a:pt x="140476" y="332889"/>
                      </a:cubicBezTo>
                      <a:cubicBezTo>
                        <a:pt x="128770" y="291395"/>
                        <a:pt x="152181" y="248837"/>
                        <a:pt x="194748" y="247773"/>
                      </a:cubicBezTo>
                      <a:cubicBezTo>
                        <a:pt x="228801" y="247773"/>
                        <a:pt x="240507" y="273308"/>
                        <a:pt x="243699" y="292459"/>
                      </a:cubicBezTo>
                      <a:cubicBezTo>
                        <a:pt x="244763" y="305226"/>
                        <a:pt x="251148" y="386086"/>
                        <a:pt x="243699" y="413748"/>
                      </a:cubicBezTo>
                      <a:cubicBezTo>
                        <a:pt x="243699" y="416940"/>
                        <a:pt x="241571" y="431835"/>
                        <a:pt x="241571" y="436091"/>
                      </a:cubicBezTo>
                      <a:cubicBezTo>
                        <a:pt x="241571" y="473329"/>
                        <a:pt x="276688" y="502055"/>
                        <a:pt x="328832" y="519078"/>
                      </a:cubicBezTo>
                      <a:cubicBezTo>
                        <a:pt x="350115" y="525462"/>
                        <a:pt x="373527" y="530781"/>
                        <a:pt x="399067" y="533973"/>
                      </a:cubicBezTo>
                      <a:cubicBezTo>
                        <a:pt x="461852" y="541421"/>
                        <a:pt x="477815" y="524398"/>
                        <a:pt x="477815" y="524398"/>
                      </a:cubicBezTo>
                      <a:cubicBezTo>
                        <a:pt x="477815" y="524398"/>
                        <a:pt x="506547" y="462689"/>
                        <a:pt x="484200" y="453114"/>
                      </a:cubicBezTo>
                      <a:lnTo>
                        <a:pt x="484200" y="453114"/>
                      </a:lnTo>
                      <a:cubicBezTo>
                        <a:pt x="452275" y="440347"/>
                        <a:pt x="436312" y="429707"/>
                        <a:pt x="439505" y="413748"/>
                      </a:cubicBezTo>
                      <a:cubicBezTo>
                        <a:pt x="440569" y="405237"/>
                        <a:pt x="457596" y="395661"/>
                        <a:pt x="465045" y="393533"/>
                      </a:cubicBezTo>
                      <a:cubicBezTo>
                        <a:pt x="481007" y="388214"/>
                        <a:pt x="496970" y="380766"/>
                        <a:pt x="508675" y="381830"/>
                      </a:cubicBezTo>
                      <a:cubicBezTo>
                        <a:pt x="520381" y="382894"/>
                        <a:pt x="521445" y="363743"/>
                        <a:pt x="494841" y="349912"/>
                      </a:cubicBezTo>
                      <a:lnTo>
                        <a:pt x="494841" y="349912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 w="15960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9A43B35C-AF01-6B6F-6751-83783CEDD469}"/>
                  </a:ext>
                </a:extLst>
              </p:cNvPr>
              <p:cNvSpPr/>
              <p:nvPr/>
            </p:nvSpPr>
            <p:spPr>
              <a:xfrm>
                <a:off x="16842844" y="2445890"/>
                <a:ext cx="254334" cy="145860"/>
              </a:xfrm>
              <a:custGeom>
                <a:avLst/>
                <a:gdLst>
                  <a:gd name="connsiteX0" fmla="*/ 254334 w 254334"/>
                  <a:gd name="connsiteY0" fmla="*/ 46914 h 145860"/>
                  <a:gd name="connsiteX1" fmla="*/ 247949 w 254334"/>
                  <a:gd name="connsiteY1" fmla="*/ 36274 h 145860"/>
                  <a:gd name="connsiteX2" fmla="*/ 225602 w 254334"/>
                  <a:gd name="connsiteY2" fmla="*/ 42658 h 145860"/>
                  <a:gd name="connsiteX3" fmla="*/ 214960 w 254334"/>
                  <a:gd name="connsiteY3" fmla="*/ 20315 h 145860"/>
                  <a:gd name="connsiteX4" fmla="*/ 181972 w 254334"/>
                  <a:gd name="connsiteY4" fmla="*/ 100 h 145860"/>
                  <a:gd name="connsiteX5" fmla="*/ 152175 w 254334"/>
                  <a:gd name="connsiteY5" fmla="*/ 24571 h 145860"/>
                  <a:gd name="connsiteX6" fmla="*/ 150047 w 254334"/>
                  <a:gd name="connsiteY6" fmla="*/ 28827 h 145860"/>
                  <a:gd name="connsiteX7" fmla="*/ 0 w 254334"/>
                  <a:gd name="connsiteY7" fmla="*/ 75640 h 145860"/>
                  <a:gd name="connsiteX8" fmla="*/ 10642 w 254334"/>
                  <a:gd name="connsiteY8" fmla="*/ 94791 h 145860"/>
                  <a:gd name="connsiteX9" fmla="*/ 142598 w 254334"/>
                  <a:gd name="connsiteY9" fmla="*/ 56489 h 145860"/>
                  <a:gd name="connsiteX10" fmla="*/ 142598 w 254334"/>
                  <a:gd name="connsiteY10" fmla="*/ 75640 h 145860"/>
                  <a:gd name="connsiteX11" fmla="*/ 158560 w 254334"/>
                  <a:gd name="connsiteY11" fmla="*/ 125645 h 145860"/>
                  <a:gd name="connsiteX12" fmla="*/ 186228 w 254334"/>
                  <a:gd name="connsiteY12" fmla="*/ 145860 h 145860"/>
                  <a:gd name="connsiteX13" fmla="*/ 191549 w 254334"/>
                  <a:gd name="connsiteY13" fmla="*/ 145860 h 145860"/>
                  <a:gd name="connsiteX14" fmla="*/ 221345 w 254334"/>
                  <a:gd name="connsiteY14" fmla="*/ 121389 h 145860"/>
                  <a:gd name="connsiteX15" fmla="*/ 229859 w 254334"/>
                  <a:gd name="connsiteY15" fmla="*/ 69256 h 145860"/>
                  <a:gd name="connsiteX16" fmla="*/ 228795 w 254334"/>
                  <a:gd name="connsiteY16" fmla="*/ 57553 h 145860"/>
                  <a:gd name="connsiteX17" fmla="*/ 229859 w 254334"/>
                  <a:gd name="connsiteY17" fmla="*/ 57553 h 145860"/>
                  <a:gd name="connsiteX18" fmla="*/ 250078 w 254334"/>
                  <a:gd name="connsiteY18" fmla="*/ 51169 h 145860"/>
                  <a:gd name="connsiteX19" fmla="*/ 254334 w 254334"/>
                  <a:gd name="connsiteY19" fmla="*/ 45850 h 145860"/>
                  <a:gd name="connsiteX20" fmla="*/ 254334 w 254334"/>
                  <a:gd name="connsiteY20" fmla="*/ 45850 h 145860"/>
                  <a:gd name="connsiteX21" fmla="*/ 212832 w 254334"/>
                  <a:gd name="connsiteY21" fmla="*/ 113942 h 145860"/>
                  <a:gd name="connsiteX22" fmla="*/ 192613 w 254334"/>
                  <a:gd name="connsiteY22" fmla="*/ 130965 h 145860"/>
                  <a:gd name="connsiteX23" fmla="*/ 170266 w 254334"/>
                  <a:gd name="connsiteY23" fmla="*/ 117134 h 145860"/>
                  <a:gd name="connsiteX24" fmla="*/ 157496 w 254334"/>
                  <a:gd name="connsiteY24" fmla="*/ 76704 h 145860"/>
                  <a:gd name="connsiteX25" fmla="*/ 164945 w 254334"/>
                  <a:gd name="connsiteY25" fmla="*/ 38402 h 145860"/>
                  <a:gd name="connsiteX26" fmla="*/ 185164 w 254334"/>
                  <a:gd name="connsiteY26" fmla="*/ 21379 h 145860"/>
                  <a:gd name="connsiteX27" fmla="*/ 188356 w 254334"/>
                  <a:gd name="connsiteY27" fmla="*/ 21379 h 145860"/>
                  <a:gd name="connsiteX28" fmla="*/ 206447 w 254334"/>
                  <a:gd name="connsiteY28" fmla="*/ 35210 h 145860"/>
                  <a:gd name="connsiteX29" fmla="*/ 218153 w 254334"/>
                  <a:gd name="connsiteY29" fmla="*/ 72448 h 145860"/>
                  <a:gd name="connsiteX30" fmla="*/ 211768 w 254334"/>
                  <a:gd name="connsiteY30" fmla="*/ 113942 h 145860"/>
                  <a:gd name="connsiteX31" fmla="*/ 212832 w 254334"/>
                  <a:gd name="connsiteY31" fmla="*/ 113942 h 14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4334" h="145860">
                    <a:moveTo>
                      <a:pt x="254334" y="46914"/>
                    </a:moveTo>
                    <a:cubicBezTo>
                      <a:pt x="254334" y="44786"/>
                      <a:pt x="251142" y="35210"/>
                      <a:pt x="247949" y="36274"/>
                    </a:cubicBezTo>
                    <a:cubicBezTo>
                      <a:pt x="247949" y="36274"/>
                      <a:pt x="231987" y="39466"/>
                      <a:pt x="225602" y="42658"/>
                    </a:cubicBezTo>
                    <a:cubicBezTo>
                      <a:pt x="223474" y="34146"/>
                      <a:pt x="219217" y="26699"/>
                      <a:pt x="214960" y="20315"/>
                    </a:cubicBezTo>
                    <a:cubicBezTo>
                      <a:pt x="205383" y="6484"/>
                      <a:pt x="193677" y="-964"/>
                      <a:pt x="181972" y="100"/>
                    </a:cubicBezTo>
                    <a:cubicBezTo>
                      <a:pt x="169202" y="100"/>
                      <a:pt x="158560" y="9676"/>
                      <a:pt x="152175" y="24571"/>
                    </a:cubicBezTo>
                    <a:cubicBezTo>
                      <a:pt x="152175" y="25635"/>
                      <a:pt x="151111" y="27763"/>
                      <a:pt x="150047" y="28827"/>
                    </a:cubicBezTo>
                    <a:lnTo>
                      <a:pt x="0" y="75640"/>
                    </a:lnTo>
                    <a:lnTo>
                      <a:pt x="10642" y="94791"/>
                    </a:lnTo>
                    <a:lnTo>
                      <a:pt x="142598" y="56489"/>
                    </a:lnTo>
                    <a:lnTo>
                      <a:pt x="142598" y="75640"/>
                    </a:lnTo>
                    <a:cubicBezTo>
                      <a:pt x="143662" y="94791"/>
                      <a:pt x="148983" y="112878"/>
                      <a:pt x="158560" y="125645"/>
                    </a:cubicBezTo>
                    <a:cubicBezTo>
                      <a:pt x="166009" y="137348"/>
                      <a:pt x="175587" y="144796"/>
                      <a:pt x="186228" y="145860"/>
                    </a:cubicBezTo>
                    <a:lnTo>
                      <a:pt x="191549" y="145860"/>
                    </a:lnTo>
                    <a:cubicBezTo>
                      <a:pt x="204319" y="145860"/>
                      <a:pt x="214960" y="136285"/>
                      <a:pt x="221345" y="121389"/>
                    </a:cubicBezTo>
                    <a:cubicBezTo>
                      <a:pt x="227730" y="107558"/>
                      <a:pt x="230923" y="88407"/>
                      <a:pt x="229859" y="69256"/>
                    </a:cubicBezTo>
                    <a:cubicBezTo>
                      <a:pt x="229859" y="65001"/>
                      <a:pt x="229859" y="60745"/>
                      <a:pt x="228795" y="57553"/>
                    </a:cubicBezTo>
                    <a:lnTo>
                      <a:pt x="229859" y="57553"/>
                    </a:lnTo>
                    <a:cubicBezTo>
                      <a:pt x="236244" y="54361"/>
                      <a:pt x="250078" y="51169"/>
                      <a:pt x="250078" y="51169"/>
                    </a:cubicBezTo>
                    <a:cubicBezTo>
                      <a:pt x="253270" y="51169"/>
                      <a:pt x="254334" y="47978"/>
                      <a:pt x="254334" y="45850"/>
                    </a:cubicBezTo>
                    <a:lnTo>
                      <a:pt x="254334" y="45850"/>
                    </a:lnTo>
                    <a:close/>
                    <a:moveTo>
                      <a:pt x="212832" y="113942"/>
                    </a:moveTo>
                    <a:cubicBezTo>
                      <a:pt x="207511" y="124581"/>
                      <a:pt x="201126" y="130965"/>
                      <a:pt x="192613" y="130965"/>
                    </a:cubicBezTo>
                    <a:cubicBezTo>
                      <a:pt x="184100" y="130965"/>
                      <a:pt x="177715" y="126709"/>
                      <a:pt x="170266" y="117134"/>
                    </a:cubicBezTo>
                    <a:cubicBezTo>
                      <a:pt x="163881" y="106494"/>
                      <a:pt x="158560" y="92663"/>
                      <a:pt x="157496" y="76704"/>
                    </a:cubicBezTo>
                    <a:cubicBezTo>
                      <a:pt x="157496" y="60745"/>
                      <a:pt x="159624" y="49041"/>
                      <a:pt x="164945" y="38402"/>
                    </a:cubicBezTo>
                    <a:cubicBezTo>
                      <a:pt x="170266" y="27763"/>
                      <a:pt x="176651" y="21379"/>
                      <a:pt x="185164" y="21379"/>
                    </a:cubicBezTo>
                    <a:lnTo>
                      <a:pt x="188356" y="21379"/>
                    </a:lnTo>
                    <a:cubicBezTo>
                      <a:pt x="194741" y="21379"/>
                      <a:pt x="201126" y="26699"/>
                      <a:pt x="206447" y="35210"/>
                    </a:cubicBezTo>
                    <a:cubicBezTo>
                      <a:pt x="212832" y="45850"/>
                      <a:pt x="217089" y="56489"/>
                      <a:pt x="218153" y="72448"/>
                    </a:cubicBezTo>
                    <a:cubicBezTo>
                      <a:pt x="218153" y="88407"/>
                      <a:pt x="217089" y="103302"/>
                      <a:pt x="211768" y="113942"/>
                    </a:cubicBezTo>
                    <a:lnTo>
                      <a:pt x="212832" y="113942"/>
                    </a:lnTo>
                    <a:close/>
                  </a:path>
                </a:pathLst>
              </a:custGeom>
              <a:solidFill>
                <a:srgbClr val="281805"/>
              </a:solidFill>
              <a:ln w="106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0686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798983"/>
            <a:ext cx="5545138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075636"/>
            <a:ext cx="5545138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596235"/>
            <a:ext cx="5545137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E9A298C-07CA-F134-C3C8-D3F72B21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9" name="footnotes">
            <a:extLst>
              <a:ext uri="{FF2B5EF4-FFF2-40B4-BE49-F238E27FC236}">
                <a16:creationId xmlns:a16="http://schemas.microsoft.com/office/drawing/2014/main" id="{07A7F6E9-1BEA-8C95-8A28-731013871F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DF0B514-35E3-A49C-6843-A20134B59A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4750" y="1003085"/>
            <a:ext cx="4615031" cy="461503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86F3A0CA-C609-156E-73D6-BFA86EB70D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-1337470" y="526821"/>
            <a:ext cx="8250013" cy="5804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55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D88A03-54C8-8BDD-FF77-CDCABC115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798983"/>
            <a:ext cx="5545138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075636"/>
            <a:ext cx="5545138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596235"/>
            <a:ext cx="5545137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E9A298C-07CA-F134-C3C8-D3F72B21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9" name="footnotes">
            <a:extLst>
              <a:ext uri="{FF2B5EF4-FFF2-40B4-BE49-F238E27FC236}">
                <a16:creationId xmlns:a16="http://schemas.microsoft.com/office/drawing/2014/main" id="{07A7F6E9-1BEA-8C95-8A28-731013871F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0F50EF4-E1A4-37F2-ECDC-5E62C1054A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2483" y="361297"/>
            <a:ext cx="4957395" cy="4957395"/>
          </a:xfrm>
          <a:prstGeom prst="rect">
            <a:avLst/>
          </a:prstGeom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5DEEC82-212D-BD2E-2459-E1E7DC6E3757}"/>
              </a:ext>
            </a:extLst>
          </p:cNvPr>
          <p:cNvGrpSpPr/>
          <p:nvPr userDrawn="1"/>
        </p:nvGrpSpPr>
        <p:grpSpPr>
          <a:xfrm flipH="1">
            <a:off x="541041" y="1318598"/>
            <a:ext cx="4578868" cy="4487869"/>
            <a:chOff x="421405" y="-3684236"/>
            <a:chExt cx="3739328" cy="3665014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BBD1C27-2FF7-B41F-8750-0E4423288A19}"/>
                </a:ext>
              </a:extLst>
            </p:cNvPr>
            <p:cNvSpPr/>
            <p:nvPr/>
          </p:nvSpPr>
          <p:spPr>
            <a:xfrm>
              <a:off x="421405" y="-439923"/>
              <a:ext cx="3739328" cy="45719"/>
            </a:xfrm>
            <a:custGeom>
              <a:avLst/>
              <a:gdLst>
                <a:gd name="connsiteX0" fmla="*/ 0 w 5964109"/>
                <a:gd name="connsiteY0" fmla="*/ 0 h 8792"/>
                <a:gd name="connsiteX1" fmla="*/ 5964109 w 5964109"/>
                <a:gd name="connsiteY1" fmla="*/ 0 h 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64109" h="8792">
                  <a:moveTo>
                    <a:pt x="0" y="0"/>
                  </a:moveTo>
                  <a:lnTo>
                    <a:pt x="5964109" y="0"/>
                  </a:lnTo>
                </a:path>
              </a:pathLst>
            </a:custGeom>
            <a:ln w="1317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0" name="Graphic 9">
              <a:extLst>
                <a:ext uri="{FF2B5EF4-FFF2-40B4-BE49-F238E27FC236}">
                  <a16:creationId xmlns:a16="http://schemas.microsoft.com/office/drawing/2014/main" id="{AF96A6AB-8661-42C2-B967-C70B960459B9}"/>
                </a:ext>
              </a:extLst>
            </p:cNvPr>
            <p:cNvGrpSpPr/>
            <p:nvPr/>
          </p:nvGrpSpPr>
          <p:grpSpPr>
            <a:xfrm>
              <a:off x="2220365" y="-3684236"/>
              <a:ext cx="1564725" cy="3665014"/>
              <a:chOff x="2220365" y="-3684236"/>
              <a:chExt cx="1564725" cy="3665014"/>
            </a:xfrm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C7702BCC-9379-00EA-F0E3-CDB8E8862E60}"/>
                  </a:ext>
                </a:extLst>
              </p:cNvPr>
              <p:cNvSpPr/>
              <p:nvPr/>
            </p:nvSpPr>
            <p:spPr>
              <a:xfrm>
                <a:off x="2661568" y="-3684236"/>
                <a:ext cx="553182" cy="552571"/>
              </a:xfrm>
              <a:custGeom>
                <a:avLst/>
                <a:gdLst>
                  <a:gd name="connsiteX0" fmla="*/ 522741 w 553182"/>
                  <a:gd name="connsiteY0" fmla="*/ 139580 h 552571"/>
                  <a:gd name="connsiteX1" fmla="*/ 394518 w 553182"/>
                  <a:gd name="connsiteY1" fmla="*/ 519408 h 552571"/>
                  <a:gd name="connsiteX2" fmla="*/ 104700 w 553182"/>
                  <a:gd name="connsiteY2" fmla="*/ 445552 h 552571"/>
                  <a:gd name="connsiteX3" fmla="*/ 63423 w 553182"/>
                  <a:gd name="connsiteY3" fmla="*/ 76275 h 552571"/>
                  <a:gd name="connsiteX4" fmla="*/ 522741 w 553182"/>
                  <a:gd name="connsiteY4" fmla="*/ 139580 h 55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182" h="552571">
                    <a:moveTo>
                      <a:pt x="522741" y="139580"/>
                    </a:moveTo>
                    <a:cubicBezTo>
                      <a:pt x="602661" y="338286"/>
                      <a:pt x="513080" y="473688"/>
                      <a:pt x="394518" y="519408"/>
                    </a:cubicBezTo>
                    <a:cubicBezTo>
                      <a:pt x="257513" y="573041"/>
                      <a:pt x="200427" y="570403"/>
                      <a:pt x="104700" y="445552"/>
                    </a:cubicBezTo>
                    <a:cubicBezTo>
                      <a:pt x="8094" y="320702"/>
                      <a:pt x="-52505" y="165957"/>
                      <a:pt x="63423" y="76275"/>
                    </a:cubicBezTo>
                    <a:cubicBezTo>
                      <a:pt x="179350" y="-13406"/>
                      <a:pt x="442821" y="-58247"/>
                      <a:pt x="522741" y="139580"/>
                    </a:cubicBezTo>
                    <a:close/>
                  </a:path>
                </a:pathLst>
              </a:custGeom>
              <a:solidFill>
                <a:srgbClr val="CBCBCB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72" name="Graphic 9">
                <a:extLst>
                  <a:ext uri="{FF2B5EF4-FFF2-40B4-BE49-F238E27FC236}">
                    <a16:creationId xmlns:a16="http://schemas.microsoft.com/office/drawing/2014/main" id="{62A1ED42-A28C-0016-7E92-EEC7FD74D07A}"/>
                  </a:ext>
                </a:extLst>
              </p:cNvPr>
              <p:cNvGrpSpPr/>
              <p:nvPr/>
            </p:nvGrpSpPr>
            <p:grpSpPr>
              <a:xfrm>
                <a:off x="2220365" y="-3478714"/>
                <a:ext cx="1564725" cy="3459492"/>
                <a:chOff x="2220365" y="-3478714"/>
                <a:chExt cx="1564725" cy="3459492"/>
              </a:xfrm>
            </p:grpSpPr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80D7655D-2EEB-AC3B-9B19-0181C31D5C41}"/>
                    </a:ext>
                  </a:extLst>
                </p:cNvPr>
                <p:cNvSpPr/>
                <p:nvPr/>
              </p:nvSpPr>
              <p:spPr>
                <a:xfrm>
                  <a:off x="2651219" y="-3478714"/>
                  <a:ext cx="384668" cy="529318"/>
                </a:xfrm>
                <a:custGeom>
                  <a:avLst/>
                  <a:gdLst>
                    <a:gd name="connsiteX0" fmla="*/ 0 w 384668"/>
                    <a:gd name="connsiteY0" fmla="*/ 225083 h 529318"/>
                    <a:gd name="connsiteX1" fmla="*/ 8782 w 384668"/>
                    <a:gd name="connsiteY1" fmla="*/ 241788 h 529318"/>
                    <a:gd name="connsiteX2" fmla="*/ 2635 w 384668"/>
                    <a:gd name="connsiteY2" fmla="*/ 250581 h 529318"/>
                    <a:gd name="connsiteX3" fmla="*/ 14930 w 384668"/>
                    <a:gd name="connsiteY3" fmla="*/ 269045 h 529318"/>
                    <a:gd name="connsiteX4" fmla="*/ 21956 w 384668"/>
                    <a:gd name="connsiteY4" fmla="*/ 296301 h 529318"/>
                    <a:gd name="connsiteX5" fmla="*/ 49182 w 384668"/>
                    <a:gd name="connsiteY5" fmla="*/ 320040 h 529318"/>
                    <a:gd name="connsiteX6" fmla="*/ 104510 w 384668"/>
                    <a:gd name="connsiteY6" fmla="*/ 308610 h 529318"/>
                    <a:gd name="connsiteX7" fmla="*/ 125588 w 384668"/>
                    <a:gd name="connsiteY7" fmla="*/ 304214 h 529318"/>
                    <a:gd name="connsiteX8" fmla="*/ 132614 w 384668"/>
                    <a:gd name="connsiteY8" fmla="*/ 429065 h 529318"/>
                    <a:gd name="connsiteX9" fmla="*/ 90459 w 384668"/>
                    <a:gd name="connsiteY9" fmla="*/ 465992 h 529318"/>
                    <a:gd name="connsiteX10" fmla="*/ 384668 w 384668"/>
                    <a:gd name="connsiteY10" fmla="*/ 474785 h 529318"/>
                    <a:gd name="connsiteX11" fmla="*/ 292453 w 384668"/>
                    <a:gd name="connsiteY11" fmla="*/ 271682 h 529318"/>
                    <a:gd name="connsiteX12" fmla="*/ 292453 w 384668"/>
                    <a:gd name="connsiteY12" fmla="*/ 269924 h 529318"/>
                    <a:gd name="connsiteX13" fmla="*/ 287184 w 384668"/>
                    <a:gd name="connsiteY13" fmla="*/ 269924 h 529318"/>
                    <a:gd name="connsiteX14" fmla="*/ 254689 w 384668"/>
                    <a:gd name="connsiteY14" fmla="*/ 249702 h 529318"/>
                    <a:gd name="connsiteX15" fmla="*/ 263471 w 384668"/>
                    <a:gd name="connsiteY15" fmla="*/ 221566 h 529318"/>
                    <a:gd name="connsiteX16" fmla="*/ 218681 w 384668"/>
                    <a:gd name="connsiteY16" fmla="*/ 152986 h 529318"/>
                    <a:gd name="connsiteX17" fmla="*/ 187065 w 384668"/>
                    <a:gd name="connsiteY17" fmla="*/ 157382 h 529318"/>
                    <a:gd name="connsiteX18" fmla="*/ 197603 w 384668"/>
                    <a:gd name="connsiteY18" fmla="*/ 108145 h 529318"/>
                    <a:gd name="connsiteX19" fmla="*/ 165987 w 384668"/>
                    <a:gd name="connsiteY19" fmla="*/ 41324 h 529318"/>
                    <a:gd name="connsiteX20" fmla="*/ 122075 w 384668"/>
                    <a:gd name="connsiteY20" fmla="*/ 7913 h 529318"/>
                    <a:gd name="connsiteX21" fmla="*/ 97485 w 384668"/>
                    <a:gd name="connsiteY21" fmla="*/ 0 h 529318"/>
                    <a:gd name="connsiteX22" fmla="*/ 46547 w 384668"/>
                    <a:gd name="connsiteY22" fmla="*/ 99353 h 529318"/>
                    <a:gd name="connsiteX23" fmla="*/ 39521 w 384668"/>
                    <a:gd name="connsiteY23" fmla="*/ 139798 h 529318"/>
                    <a:gd name="connsiteX24" fmla="*/ 5270 w 384668"/>
                    <a:gd name="connsiteY24" fmla="*/ 168812 h 529318"/>
                    <a:gd name="connsiteX25" fmla="*/ 2635 w 384668"/>
                    <a:gd name="connsiteY25" fmla="*/ 189914 h 529318"/>
                    <a:gd name="connsiteX26" fmla="*/ 18443 w 384668"/>
                    <a:gd name="connsiteY26" fmla="*/ 203982 h 529318"/>
                    <a:gd name="connsiteX27" fmla="*/ 0 w 384668"/>
                    <a:gd name="connsiteY27" fmla="*/ 222445 h 529318"/>
                    <a:gd name="connsiteX28" fmla="*/ 0 w 384668"/>
                    <a:gd name="connsiteY28" fmla="*/ 225083 h 529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84668" h="529318">
                      <a:moveTo>
                        <a:pt x="0" y="225083"/>
                      </a:moveTo>
                      <a:cubicBezTo>
                        <a:pt x="1757" y="233875"/>
                        <a:pt x="8782" y="241788"/>
                        <a:pt x="8782" y="241788"/>
                      </a:cubicBezTo>
                      <a:lnTo>
                        <a:pt x="2635" y="250581"/>
                      </a:lnTo>
                      <a:cubicBezTo>
                        <a:pt x="-1756" y="267286"/>
                        <a:pt x="14930" y="269045"/>
                        <a:pt x="14930" y="269045"/>
                      </a:cubicBezTo>
                      <a:cubicBezTo>
                        <a:pt x="14930" y="269045"/>
                        <a:pt x="16687" y="275199"/>
                        <a:pt x="21956" y="296301"/>
                      </a:cubicBezTo>
                      <a:cubicBezTo>
                        <a:pt x="27226" y="317402"/>
                        <a:pt x="49182" y="320040"/>
                        <a:pt x="49182" y="320040"/>
                      </a:cubicBezTo>
                      <a:lnTo>
                        <a:pt x="104510" y="308610"/>
                      </a:lnTo>
                      <a:lnTo>
                        <a:pt x="125588" y="304214"/>
                      </a:lnTo>
                      <a:lnTo>
                        <a:pt x="132614" y="429065"/>
                      </a:lnTo>
                      <a:cubicBezTo>
                        <a:pt x="127344" y="451925"/>
                        <a:pt x="90459" y="465992"/>
                        <a:pt x="90459" y="465992"/>
                      </a:cubicBezTo>
                      <a:cubicBezTo>
                        <a:pt x="217803" y="603152"/>
                        <a:pt x="384668" y="474785"/>
                        <a:pt x="384668" y="474785"/>
                      </a:cubicBezTo>
                      <a:cubicBezTo>
                        <a:pt x="305627" y="437857"/>
                        <a:pt x="294210" y="325315"/>
                        <a:pt x="292453" y="271682"/>
                      </a:cubicBezTo>
                      <a:lnTo>
                        <a:pt x="292453" y="269924"/>
                      </a:lnTo>
                      <a:lnTo>
                        <a:pt x="287184" y="269924"/>
                      </a:lnTo>
                      <a:cubicBezTo>
                        <a:pt x="287184" y="269924"/>
                        <a:pt x="259080" y="267286"/>
                        <a:pt x="254689" y="249702"/>
                      </a:cubicBezTo>
                      <a:cubicBezTo>
                        <a:pt x="252933" y="242668"/>
                        <a:pt x="254689" y="233875"/>
                        <a:pt x="263471" y="221566"/>
                      </a:cubicBezTo>
                      <a:cubicBezTo>
                        <a:pt x="294210" y="177605"/>
                        <a:pt x="253811" y="128368"/>
                        <a:pt x="218681" y="152986"/>
                      </a:cubicBezTo>
                      <a:cubicBezTo>
                        <a:pt x="198482" y="167054"/>
                        <a:pt x="187065" y="157382"/>
                        <a:pt x="187065" y="157382"/>
                      </a:cubicBezTo>
                      <a:cubicBezTo>
                        <a:pt x="187065" y="157382"/>
                        <a:pt x="207264" y="126609"/>
                        <a:pt x="197603" y="108145"/>
                      </a:cubicBezTo>
                      <a:cubicBezTo>
                        <a:pt x="181795" y="79131"/>
                        <a:pt x="204630" y="54512"/>
                        <a:pt x="165987" y="41324"/>
                      </a:cubicBezTo>
                      <a:cubicBezTo>
                        <a:pt x="147544" y="35169"/>
                        <a:pt x="155448" y="14947"/>
                        <a:pt x="122075" y="7913"/>
                      </a:cubicBezTo>
                      <a:cubicBezTo>
                        <a:pt x="111536" y="5275"/>
                        <a:pt x="97485" y="0"/>
                        <a:pt x="97485" y="0"/>
                      </a:cubicBezTo>
                      <a:cubicBezTo>
                        <a:pt x="49182" y="35169"/>
                        <a:pt x="48303" y="72976"/>
                        <a:pt x="46547" y="99353"/>
                      </a:cubicBezTo>
                      <a:cubicBezTo>
                        <a:pt x="44790" y="130126"/>
                        <a:pt x="39521" y="139798"/>
                        <a:pt x="39521" y="139798"/>
                      </a:cubicBezTo>
                      <a:lnTo>
                        <a:pt x="5270" y="168812"/>
                      </a:lnTo>
                      <a:cubicBezTo>
                        <a:pt x="5270" y="168812"/>
                        <a:pt x="-3513" y="180242"/>
                        <a:pt x="2635" y="189914"/>
                      </a:cubicBezTo>
                      <a:cubicBezTo>
                        <a:pt x="7904" y="197827"/>
                        <a:pt x="20200" y="193431"/>
                        <a:pt x="18443" y="203982"/>
                      </a:cubicBezTo>
                      <a:cubicBezTo>
                        <a:pt x="16687" y="214532"/>
                        <a:pt x="0" y="222445"/>
                        <a:pt x="0" y="222445"/>
                      </a:cubicBezTo>
                      <a:lnTo>
                        <a:pt x="0" y="225083"/>
                      </a:ln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C522C1AF-CFF1-B4C0-558A-FC86A599FED5}"/>
                    </a:ext>
                  </a:extLst>
                </p:cNvPr>
                <p:cNvSpPr/>
                <p:nvPr/>
              </p:nvSpPr>
              <p:spPr>
                <a:xfrm>
                  <a:off x="2559004" y="-543842"/>
                  <a:ext cx="166865" cy="142435"/>
                </a:xfrm>
                <a:custGeom>
                  <a:avLst/>
                  <a:gdLst>
                    <a:gd name="connsiteX0" fmla="*/ 10539 w 166865"/>
                    <a:gd name="connsiteY0" fmla="*/ 0 h 142435"/>
                    <a:gd name="connsiteX1" fmla="*/ 0 w 166865"/>
                    <a:gd name="connsiteY1" fmla="*/ 101112 h 142435"/>
                    <a:gd name="connsiteX2" fmla="*/ 68503 w 166865"/>
                    <a:gd name="connsiteY2" fmla="*/ 123092 h 142435"/>
                    <a:gd name="connsiteX3" fmla="*/ 125588 w 166865"/>
                    <a:gd name="connsiteY3" fmla="*/ 142435 h 142435"/>
                    <a:gd name="connsiteX4" fmla="*/ 166865 w 166865"/>
                    <a:gd name="connsiteY4" fmla="*/ 8792 h 142435"/>
                    <a:gd name="connsiteX5" fmla="*/ 10539 w 166865"/>
                    <a:gd name="connsiteY5" fmla="*/ 0 h 142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6865" h="142435">
                      <a:moveTo>
                        <a:pt x="10539" y="0"/>
                      </a:moveTo>
                      <a:cubicBezTo>
                        <a:pt x="7026" y="36049"/>
                        <a:pt x="3513" y="70338"/>
                        <a:pt x="0" y="101112"/>
                      </a:cubicBezTo>
                      <a:cubicBezTo>
                        <a:pt x="17565" y="101991"/>
                        <a:pt x="57964" y="105508"/>
                        <a:pt x="68503" y="123092"/>
                      </a:cubicBezTo>
                      <a:cubicBezTo>
                        <a:pt x="78163" y="138918"/>
                        <a:pt x="108024" y="141556"/>
                        <a:pt x="125588" y="142435"/>
                      </a:cubicBezTo>
                      <a:cubicBezTo>
                        <a:pt x="136127" y="101112"/>
                        <a:pt x="150179" y="55391"/>
                        <a:pt x="166865" y="8792"/>
                      </a:cubicBezTo>
                      <a:cubicBezTo>
                        <a:pt x="115927" y="11430"/>
                        <a:pt x="58842" y="10551"/>
                        <a:pt x="10539" y="0"/>
                      </a:cubicBez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3959433E-C706-6678-20E9-54B2617F09B7}"/>
                    </a:ext>
                  </a:extLst>
                </p:cNvPr>
                <p:cNvSpPr/>
                <p:nvPr/>
              </p:nvSpPr>
              <p:spPr>
                <a:xfrm>
                  <a:off x="2291069" y="-453281"/>
                  <a:ext cx="426896" cy="398715"/>
                </a:xfrm>
                <a:custGeom>
                  <a:avLst/>
                  <a:gdLst>
                    <a:gd name="connsiteX0" fmla="*/ 409332 w 426896"/>
                    <a:gd name="connsiteY0" fmla="*/ 101112 h 398715"/>
                    <a:gd name="connsiteX1" fmla="*/ 419871 w 426896"/>
                    <a:gd name="connsiteY1" fmla="*/ 34290 h 398715"/>
                    <a:gd name="connsiteX2" fmla="*/ 344342 w 426896"/>
                    <a:gd name="connsiteY2" fmla="*/ 23739 h 398715"/>
                    <a:gd name="connsiteX3" fmla="*/ 255640 w 426896"/>
                    <a:gd name="connsiteY3" fmla="*/ 0 h 398715"/>
                    <a:gd name="connsiteX4" fmla="*/ 215241 w 426896"/>
                    <a:gd name="connsiteY4" fmla="*/ 183759 h 398715"/>
                    <a:gd name="connsiteX5" fmla="*/ 22907 w 426896"/>
                    <a:gd name="connsiteY5" fmla="*/ 299818 h 398715"/>
                    <a:gd name="connsiteX6" fmla="*/ 73 w 426896"/>
                    <a:gd name="connsiteY6" fmla="*/ 356088 h 398715"/>
                    <a:gd name="connsiteX7" fmla="*/ 51011 w 426896"/>
                    <a:gd name="connsiteY7" fmla="*/ 394775 h 398715"/>
                    <a:gd name="connsiteX8" fmla="*/ 207337 w 426896"/>
                    <a:gd name="connsiteY8" fmla="*/ 394775 h 398715"/>
                    <a:gd name="connsiteX9" fmla="*/ 308334 w 426896"/>
                    <a:gd name="connsiteY9" fmla="*/ 345538 h 398715"/>
                    <a:gd name="connsiteX10" fmla="*/ 310969 w 426896"/>
                    <a:gd name="connsiteY10" fmla="*/ 398292 h 398715"/>
                    <a:gd name="connsiteX11" fmla="*/ 426897 w 426896"/>
                    <a:gd name="connsiteY11" fmla="*/ 398292 h 398715"/>
                    <a:gd name="connsiteX12" fmla="*/ 426897 w 426896"/>
                    <a:gd name="connsiteY12" fmla="*/ 327953 h 398715"/>
                    <a:gd name="connsiteX13" fmla="*/ 406697 w 426896"/>
                    <a:gd name="connsiteY13" fmla="*/ 218049 h 398715"/>
                    <a:gd name="connsiteX14" fmla="*/ 408453 w 426896"/>
                    <a:gd name="connsiteY14" fmla="*/ 101991 h 398715"/>
                    <a:gd name="connsiteX15" fmla="*/ 408453 w 426896"/>
                    <a:gd name="connsiteY15" fmla="*/ 101991 h 398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426896" h="398715">
                      <a:moveTo>
                        <a:pt x="409332" y="101112"/>
                      </a:moveTo>
                      <a:cubicBezTo>
                        <a:pt x="416358" y="74735"/>
                        <a:pt x="419871" y="34290"/>
                        <a:pt x="419871" y="34290"/>
                      </a:cubicBezTo>
                      <a:cubicBezTo>
                        <a:pt x="419871" y="34290"/>
                        <a:pt x="354881" y="38686"/>
                        <a:pt x="344342" y="23739"/>
                      </a:cubicBezTo>
                      <a:cubicBezTo>
                        <a:pt x="332925" y="7034"/>
                        <a:pt x="255640" y="0"/>
                        <a:pt x="255640" y="0"/>
                      </a:cubicBezTo>
                      <a:cubicBezTo>
                        <a:pt x="255640" y="0"/>
                        <a:pt x="253006" y="117817"/>
                        <a:pt x="215241" y="183759"/>
                      </a:cubicBezTo>
                      <a:cubicBezTo>
                        <a:pt x="177477" y="249702"/>
                        <a:pt x="51889" y="267286"/>
                        <a:pt x="22907" y="299818"/>
                      </a:cubicBezTo>
                      <a:cubicBezTo>
                        <a:pt x="6221" y="319161"/>
                        <a:pt x="-805" y="337625"/>
                        <a:pt x="73" y="356088"/>
                      </a:cubicBezTo>
                      <a:cubicBezTo>
                        <a:pt x="73" y="373673"/>
                        <a:pt x="38716" y="393016"/>
                        <a:pt x="51011" y="394775"/>
                      </a:cubicBezTo>
                      <a:cubicBezTo>
                        <a:pt x="62428" y="396533"/>
                        <a:pt x="203824" y="402688"/>
                        <a:pt x="207337" y="394775"/>
                      </a:cubicBezTo>
                      <a:cubicBezTo>
                        <a:pt x="237197" y="343779"/>
                        <a:pt x="308334" y="345538"/>
                        <a:pt x="308334" y="345538"/>
                      </a:cubicBezTo>
                      <a:lnTo>
                        <a:pt x="310969" y="398292"/>
                      </a:lnTo>
                      <a:lnTo>
                        <a:pt x="426897" y="398292"/>
                      </a:lnTo>
                      <a:lnTo>
                        <a:pt x="426897" y="327953"/>
                      </a:lnTo>
                      <a:cubicBezTo>
                        <a:pt x="426897" y="275199"/>
                        <a:pt x="406697" y="218049"/>
                        <a:pt x="406697" y="218049"/>
                      </a:cubicBezTo>
                      <a:cubicBezTo>
                        <a:pt x="408453" y="203982"/>
                        <a:pt x="401427" y="128368"/>
                        <a:pt x="408453" y="101991"/>
                      </a:cubicBezTo>
                      <a:lnTo>
                        <a:pt x="408453" y="101991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751B8B19-90D5-5BD8-9762-28FA90CB15A8}"/>
                    </a:ext>
                  </a:extLst>
                </p:cNvPr>
                <p:cNvSpPr/>
                <p:nvPr/>
              </p:nvSpPr>
              <p:spPr>
                <a:xfrm>
                  <a:off x="2494015" y="-2376158"/>
                  <a:ext cx="797439" cy="1864088"/>
                </a:xfrm>
                <a:custGeom>
                  <a:avLst/>
                  <a:gdLst>
                    <a:gd name="connsiteX0" fmla="*/ 795683 w 797439"/>
                    <a:gd name="connsiteY0" fmla="*/ 722727 h 1864088"/>
                    <a:gd name="connsiteX1" fmla="*/ 722789 w 797439"/>
                    <a:gd name="connsiteY1" fmla="*/ 722727 h 1864088"/>
                    <a:gd name="connsiteX2" fmla="*/ 650774 w 797439"/>
                    <a:gd name="connsiteY2" fmla="*/ 0 h 1864088"/>
                    <a:gd name="connsiteX3" fmla="*/ 477761 w 797439"/>
                    <a:gd name="connsiteY3" fmla="*/ 2638 h 1864088"/>
                    <a:gd name="connsiteX4" fmla="*/ 303870 w 797439"/>
                    <a:gd name="connsiteY4" fmla="*/ 43962 h 1864088"/>
                    <a:gd name="connsiteX5" fmla="*/ 111536 w 797439"/>
                    <a:gd name="connsiteY5" fmla="*/ 72097 h 1864088"/>
                    <a:gd name="connsiteX6" fmla="*/ 53572 w 797439"/>
                    <a:gd name="connsiteY6" fmla="*/ 757897 h 1864088"/>
                    <a:gd name="connsiteX7" fmla="*/ 0 w 797439"/>
                    <a:gd name="connsiteY7" fmla="*/ 1822645 h 1864088"/>
                    <a:gd name="connsiteX8" fmla="*/ 34251 w 797439"/>
                    <a:gd name="connsiteY8" fmla="*/ 1832317 h 1864088"/>
                    <a:gd name="connsiteX9" fmla="*/ 190578 w 797439"/>
                    <a:gd name="connsiteY9" fmla="*/ 1841109 h 1864088"/>
                    <a:gd name="connsiteX10" fmla="*/ 326704 w 797439"/>
                    <a:gd name="connsiteY10" fmla="*/ 1826162 h 1864088"/>
                    <a:gd name="connsiteX11" fmla="*/ 432971 w 797439"/>
                    <a:gd name="connsiteY11" fmla="*/ 753501 h 1864088"/>
                    <a:gd name="connsiteX12" fmla="*/ 482152 w 797439"/>
                    <a:gd name="connsiteY12" fmla="*/ 1841988 h 1864088"/>
                    <a:gd name="connsiteX13" fmla="*/ 578758 w 797439"/>
                    <a:gd name="connsiteY13" fmla="*/ 1859573 h 1864088"/>
                    <a:gd name="connsiteX14" fmla="*/ 720155 w 797439"/>
                    <a:gd name="connsiteY14" fmla="*/ 1856935 h 1864088"/>
                    <a:gd name="connsiteX15" fmla="*/ 797439 w 797439"/>
                    <a:gd name="connsiteY15" fmla="*/ 1819128 h 1864088"/>
                    <a:gd name="connsiteX16" fmla="*/ 794805 w 797439"/>
                    <a:gd name="connsiteY16" fmla="*/ 723607 h 1864088"/>
                    <a:gd name="connsiteX17" fmla="*/ 795683 w 797439"/>
                    <a:gd name="connsiteY17" fmla="*/ 723607 h 1864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97439" h="1864088">
                      <a:moveTo>
                        <a:pt x="795683" y="722727"/>
                      </a:moveTo>
                      <a:lnTo>
                        <a:pt x="722789" y="722727"/>
                      </a:lnTo>
                      <a:cubicBezTo>
                        <a:pt x="722789" y="722727"/>
                        <a:pt x="654287" y="266407"/>
                        <a:pt x="650774" y="0"/>
                      </a:cubicBezTo>
                      <a:lnTo>
                        <a:pt x="477761" y="2638"/>
                      </a:lnTo>
                      <a:cubicBezTo>
                        <a:pt x="459318" y="11430"/>
                        <a:pt x="350416" y="27256"/>
                        <a:pt x="303870" y="43962"/>
                      </a:cubicBezTo>
                      <a:cubicBezTo>
                        <a:pt x="257323" y="60667"/>
                        <a:pt x="148422" y="72097"/>
                        <a:pt x="111536" y="72097"/>
                      </a:cubicBezTo>
                      <a:lnTo>
                        <a:pt x="53572" y="757897"/>
                      </a:lnTo>
                      <a:lnTo>
                        <a:pt x="0" y="1822645"/>
                      </a:lnTo>
                      <a:cubicBezTo>
                        <a:pt x="10539" y="1826162"/>
                        <a:pt x="21956" y="1829679"/>
                        <a:pt x="34251" y="1832317"/>
                      </a:cubicBezTo>
                      <a:cubicBezTo>
                        <a:pt x="82554" y="1842868"/>
                        <a:pt x="139639" y="1843747"/>
                        <a:pt x="190578" y="1841109"/>
                      </a:cubicBezTo>
                      <a:cubicBezTo>
                        <a:pt x="265228" y="1837592"/>
                        <a:pt x="326704" y="1826162"/>
                        <a:pt x="326704" y="1826162"/>
                      </a:cubicBezTo>
                      <a:lnTo>
                        <a:pt x="432971" y="753501"/>
                      </a:lnTo>
                      <a:lnTo>
                        <a:pt x="482152" y="1841988"/>
                      </a:lnTo>
                      <a:cubicBezTo>
                        <a:pt x="518160" y="1850781"/>
                        <a:pt x="549776" y="1856056"/>
                        <a:pt x="578758" y="1859573"/>
                      </a:cubicBezTo>
                      <a:cubicBezTo>
                        <a:pt x="641113" y="1867486"/>
                        <a:pt x="686782" y="1863969"/>
                        <a:pt x="720155" y="1856935"/>
                      </a:cubicBezTo>
                      <a:cubicBezTo>
                        <a:pt x="778997" y="1844626"/>
                        <a:pt x="797439" y="1819128"/>
                        <a:pt x="797439" y="1819128"/>
                      </a:cubicBezTo>
                      <a:cubicBezTo>
                        <a:pt x="797439" y="1819128"/>
                        <a:pt x="797439" y="1153551"/>
                        <a:pt x="794805" y="723607"/>
                      </a:cubicBezTo>
                      <a:lnTo>
                        <a:pt x="795683" y="723607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5D28027A-B8FD-09D7-6D15-C286CAB40BA7}"/>
                    </a:ext>
                  </a:extLst>
                </p:cNvPr>
                <p:cNvSpPr/>
                <p:nvPr/>
              </p:nvSpPr>
              <p:spPr>
                <a:xfrm>
                  <a:off x="2475571" y="-2426275"/>
                  <a:ext cx="50059" cy="113420"/>
                </a:xfrm>
                <a:custGeom>
                  <a:avLst/>
                  <a:gdLst>
                    <a:gd name="connsiteX0" fmla="*/ 0 w 50059"/>
                    <a:gd name="connsiteY0" fmla="*/ 84406 h 113420"/>
                    <a:gd name="connsiteX1" fmla="*/ 36886 w 50059"/>
                    <a:gd name="connsiteY1" fmla="*/ 113421 h 113420"/>
                    <a:gd name="connsiteX2" fmla="*/ 50060 w 50059"/>
                    <a:gd name="connsiteY2" fmla="*/ 0 h 113420"/>
                    <a:gd name="connsiteX3" fmla="*/ 0 w 50059"/>
                    <a:gd name="connsiteY3" fmla="*/ 84406 h 113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059" h="113420">
                      <a:moveTo>
                        <a:pt x="0" y="84406"/>
                      </a:moveTo>
                      <a:lnTo>
                        <a:pt x="36886" y="113421"/>
                      </a:lnTo>
                      <a:lnTo>
                        <a:pt x="50060" y="0"/>
                      </a:lnTo>
                      <a:lnTo>
                        <a:pt x="0" y="84406"/>
                      </a:lnTo>
                      <a:close/>
                    </a:path>
                  </a:pathLst>
                </a:custGeom>
                <a:noFill/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12EB2099-87A0-ED72-B4E0-1E8DAC2828D1}"/>
                    </a:ext>
                  </a:extLst>
                </p:cNvPr>
                <p:cNvSpPr/>
                <p:nvPr/>
              </p:nvSpPr>
              <p:spPr>
                <a:xfrm>
                  <a:off x="3073651" y="-519223"/>
                  <a:ext cx="141395" cy="71217"/>
                </a:xfrm>
                <a:custGeom>
                  <a:avLst/>
                  <a:gdLst>
                    <a:gd name="connsiteX0" fmla="*/ 0 w 141395"/>
                    <a:gd name="connsiteY0" fmla="*/ 2638 h 71217"/>
                    <a:gd name="connsiteX1" fmla="*/ 7026 w 141395"/>
                    <a:gd name="connsiteY1" fmla="*/ 71218 h 71217"/>
                    <a:gd name="connsiteX2" fmla="*/ 134370 w 141395"/>
                    <a:gd name="connsiteY2" fmla="*/ 64184 h 71217"/>
                    <a:gd name="connsiteX3" fmla="*/ 141396 w 141395"/>
                    <a:gd name="connsiteY3" fmla="*/ 0 h 71217"/>
                    <a:gd name="connsiteX4" fmla="*/ 0 w 141395"/>
                    <a:gd name="connsiteY4" fmla="*/ 2638 h 71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395" h="71217">
                      <a:moveTo>
                        <a:pt x="0" y="2638"/>
                      </a:moveTo>
                      <a:lnTo>
                        <a:pt x="7026" y="71218"/>
                      </a:lnTo>
                      <a:cubicBezTo>
                        <a:pt x="13174" y="66822"/>
                        <a:pt x="50060" y="39565"/>
                        <a:pt x="134370" y="64184"/>
                      </a:cubicBezTo>
                      <a:lnTo>
                        <a:pt x="141396" y="0"/>
                      </a:lnTo>
                      <a:cubicBezTo>
                        <a:pt x="108023" y="7034"/>
                        <a:pt x="62355" y="10551"/>
                        <a:pt x="0" y="2638"/>
                      </a:cubicBez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CD6CB29A-1F50-9C41-28A5-7EF4A807CE69}"/>
                    </a:ext>
                  </a:extLst>
                </p:cNvPr>
                <p:cNvSpPr/>
                <p:nvPr/>
              </p:nvSpPr>
              <p:spPr>
                <a:xfrm>
                  <a:off x="3526822" y="-3191643"/>
                  <a:ext cx="258268" cy="413676"/>
                </a:xfrm>
                <a:custGeom>
                  <a:avLst/>
                  <a:gdLst>
                    <a:gd name="connsiteX0" fmla="*/ 256445 w 258268"/>
                    <a:gd name="connsiteY0" fmla="*/ 81327 h 413676"/>
                    <a:gd name="connsiteX1" fmla="*/ 238881 w 258268"/>
                    <a:gd name="connsiteY1" fmla="*/ 84844 h 413676"/>
                    <a:gd name="connsiteX2" fmla="*/ 191456 w 258268"/>
                    <a:gd name="connsiteY2" fmla="*/ 157820 h 413676"/>
                    <a:gd name="connsiteX3" fmla="*/ 238881 w 258268"/>
                    <a:gd name="connsiteY3" fmla="*/ 36486 h 413676"/>
                    <a:gd name="connsiteX4" fmla="*/ 218681 w 258268"/>
                    <a:gd name="connsiteY4" fmla="*/ 44399 h 413676"/>
                    <a:gd name="connsiteX5" fmla="*/ 172135 w 258268"/>
                    <a:gd name="connsiteY5" fmla="*/ 122651 h 413676"/>
                    <a:gd name="connsiteX6" fmla="*/ 209899 w 258268"/>
                    <a:gd name="connsiteY6" fmla="*/ 4834 h 413676"/>
                    <a:gd name="connsiteX7" fmla="*/ 182673 w 258268"/>
                    <a:gd name="connsiteY7" fmla="*/ 23298 h 413676"/>
                    <a:gd name="connsiteX8" fmla="*/ 144031 w 258268"/>
                    <a:gd name="connsiteY8" fmla="*/ 103308 h 413676"/>
                    <a:gd name="connsiteX9" fmla="*/ 163352 w 258268"/>
                    <a:gd name="connsiteY9" fmla="*/ 16264 h 413676"/>
                    <a:gd name="connsiteX10" fmla="*/ 144031 w 258268"/>
                    <a:gd name="connsiteY10" fmla="*/ 8351 h 413676"/>
                    <a:gd name="connsiteX11" fmla="*/ 109780 w 258268"/>
                    <a:gd name="connsiteY11" fmla="*/ 111221 h 413676"/>
                    <a:gd name="connsiteX12" fmla="*/ 75529 w 258268"/>
                    <a:gd name="connsiteY12" fmla="*/ 154303 h 413676"/>
                    <a:gd name="connsiteX13" fmla="*/ 43912 w 258268"/>
                    <a:gd name="connsiteY13" fmla="*/ 130564 h 413676"/>
                    <a:gd name="connsiteX14" fmla="*/ 43912 w 258268"/>
                    <a:gd name="connsiteY14" fmla="*/ 130564 h 413676"/>
                    <a:gd name="connsiteX15" fmla="*/ 0 w 258268"/>
                    <a:gd name="connsiteY15" fmla="*/ 120013 h 413676"/>
                    <a:gd name="connsiteX16" fmla="*/ 19321 w 258268"/>
                    <a:gd name="connsiteY16" fmla="*/ 150786 h 413676"/>
                    <a:gd name="connsiteX17" fmla="*/ 38643 w 258268"/>
                    <a:gd name="connsiteY17" fmla="*/ 207057 h 413676"/>
                    <a:gd name="connsiteX18" fmla="*/ 50938 w 258268"/>
                    <a:gd name="connsiteY18" fmla="*/ 236072 h 413676"/>
                    <a:gd name="connsiteX19" fmla="*/ 57964 w 258268"/>
                    <a:gd name="connsiteY19" fmla="*/ 261569 h 413676"/>
                    <a:gd name="connsiteX20" fmla="*/ 35129 w 258268"/>
                    <a:gd name="connsiteY20" fmla="*/ 355647 h 413676"/>
                    <a:gd name="connsiteX21" fmla="*/ 136127 w 258268"/>
                    <a:gd name="connsiteY21" fmla="*/ 413676 h 413676"/>
                    <a:gd name="connsiteX22" fmla="*/ 136127 w 258268"/>
                    <a:gd name="connsiteY22" fmla="*/ 286188 h 413676"/>
                    <a:gd name="connsiteX23" fmla="*/ 210777 w 258268"/>
                    <a:gd name="connsiteY23" fmla="*/ 180680 h 413676"/>
                    <a:gd name="connsiteX24" fmla="*/ 257323 w 258268"/>
                    <a:gd name="connsiteY24" fmla="*/ 80448 h 413676"/>
                    <a:gd name="connsiteX25" fmla="*/ 256445 w 258268"/>
                    <a:gd name="connsiteY25" fmla="*/ 80448 h 413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58268" h="413676">
                      <a:moveTo>
                        <a:pt x="256445" y="81327"/>
                      </a:moveTo>
                      <a:cubicBezTo>
                        <a:pt x="248541" y="66380"/>
                        <a:pt x="238881" y="84844"/>
                        <a:pt x="238881" y="84844"/>
                      </a:cubicBezTo>
                      <a:lnTo>
                        <a:pt x="191456" y="157820"/>
                      </a:lnTo>
                      <a:cubicBezTo>
                        <a:pt x="191456" y="157820"/>
                        <a:pt x="245028" y="69018"/>
                        <a:pt x="238881" y="36486"/>
                      </a:cubicBezTo>
                      <a:cubicBezTo>
                        <a:pt x="238881" y="36486"/>
                        <a:pt x="228342" y="17143"/>
                        <a:pt x="218681" y="44399"/>
                      </a:cubicBezTo>
                      <a:cubicBezTo>
                        <a:pt x="209020" y="71655"/>
                        <a:pt x="172135" y="122651"/>
                        <a:pt x="172135" y="122651"/>
                      </a:cubicBezTo>
                      <a:cubicBezTo>
                        <a:pt x="172135" y="122651"/>
                        <a:pt x="222194" y="23298"/>
                        <a:pt x="209899" y="4834"/>
                      </a:cubicBezTo>
                      <a:cubicBezTo>
                        <a:pt x="197603" y="-12751"/>
                        <a:pt x="182673" y="23298"/>
                        <a:pt x="182673" y="23298"/>
                      </a:cubicBezTo>
                      <a:lnTo>
                        <a:pt x="144031" y="103308"/>
                      </a:lnTo>
                      <a:cubicBezTo>
                        <a:pt x="144031" y="103308"/>
                        <a:pt x="168622" y="32969"/>
                        <a:pt x="163352" y="16264"/>
                      </a:cubicBezTo>
                      <a:cubicBezTo>
                        <a:pt x="158083" y="-1321"/>
                        <a:pt x="148422" y="-2200"/>
                        <a:pt x="144031" y="8351"/>
                      </a:cubicBezTo>
                      <a:cubicBezTo>
                        <a:pt x="140518" y="18902"/>
                        <a:pt x="119441" y="100670"/>
                        <a:pt x="109780" y="111221"/>
                      </a:cubicBezTo>
                      <a:cubicBezTo>
                        <a:pt x="105388" y="115617"/>
                        <a:pt x="81676" y="145511"/>
                        <a:pt x="75529" y="154303"/>
                      </a:cubicBezTo>
                      <a:cubicBezTo>
                        <a:pt x="66746" y="168371"/>
                        <a:pt x="54451" y="152545"/>
                        <a:pt x="43912" y="130564"/>
                      </a:cubicBezTo>
                      <a:lnTo>
                        <a:pt x="43912" y="130564"/>
                      </a:lnTo>
                      <a:cubicBezTo>
                        <a:pt x="30738" y="97153"/>
                        <a:pt x="879" y="107704"/>
                        <a:pt x="0" y="120013"/>
                      </a:cubicBezTo>
                      <a:cubicBezTo>
                        <a:pt x="0" y="128805"/>
                        <a:pt x="14052" y="143752"/>
                        <a:pt x="19321" y="150786"/>
                      </a:cubicBezTo>
                      <a:cubicBezTo>
                        <a:pt x="24591" y="156941"/>
                        <a:pt x="36886" y="200023"/>
                        <a:pt x="38643" y="207057"/>
                      </a:cubicBezTo>
                      <a:cubicBezTo>
                        <a:pt x="41277" y="222004"/>
                        <a:pt x="46546" y="227279"/>
                        <a:pt x="50938" y="236072"/>
                      </a:cubicBezTo>
                      <a:cubicBezTo>
                        <a:pt x="50938" y="238709"/>
                        <a:pt x="57964" y="259811"/>
                        <a:pt x="57964" y="261569"/>
                      </a:cubicBezTo>
                      <a:lnTo>
                        <a:pt x="35129" y="355647"/>
                      </a:lnTo>
                      <a:lnTo>
                        <a:pt x="136127" y="413676"/>
                      </a:lnTo>
                      <a:lnTo>
                        <a:pt x="136127" y="286188"/>
                      </a:lnTo>
                      <a:lnTo>
                        <a:pt x="210777" y="180680"/>
                      </a:lnTo>
                      <a:cubicBezTo>
                        <a:pt x="210777" y="180680"/>
                        <a:pt x="266106" y="95395"/>
                        <a:pt x="257323" y="80448"/>
                      </a:cubicBezTo>
                      <a:lnTo>
                        <a:pt x="256445" y="80448"/>
                      </a:lnTo>
                      <a:close/>
                    </a:path>
                  </a:pathLst>
                </a:custGeom>
                <a:solidFill>
                  <a:srgbClr val="7A3E1A"/>
                </a:solidFill>
                <a:ln w="13174" cap="rnd">
                  <a:solidFill>
                    <a:srgbClr val="28180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72E20D25-901E-F4B7-4EC0-8791909670F4}"/>
                    </a:ext>
                  </a:extLst>
                </p:cNvPr>
                <p:cNvSpPr/>
                <p:nvPr/>
              </p:nvSpPr>
              <p:spPr>
                <a:xfrm>
                  <a:off x="3046313" y="-469317"/>
                  <a:ext cx="206498" cy="450095"/>
                </a:xfrm>
                <a:custGeom>
                  <a:avLst/>
                  <a:gdLst>
                    <a:gd name="connsiteX0" fmla="*/ 206499 w 206498"/>
                    <a:gd name="connsiteY0" fmla="*/ 391467 h 450095"/>
                    <a:gd name="connsiteX1" fmla="*/ 189813 w 206498"/>
                    <a:gd name="connsiteY1" fmla="*/ 292114 h 450095"/>
                    <a:gd name="connsiteX2" fmla="*/ 173126 w 206498"/>
                    <a:gd name="connsiteY2" fmla="*/ 176056 h 450095"/>
                    <a:gd name="connsiteX3" fmla="*/ 167857 w 206498"/>
                    <a:gd name="connsiteY3" fmla="*/ 18674 h 450095"/>
                    <a:gd name="connsiteX4" fmla="*/ 28217 w 206498"/>
                    <a:gd name="connsiteY4" fmla="*/ 25707 h 450095"/>
                    <a:gd name="connsiteX5" fmla="*/ 35243 w 206498"/>
                    <a:gd name="connsiteY5" fmla="*/ 126819 h 450095"/>
                    <a:gd name="connsiteX6" fmla="*/ 10652 w 206498"/>
                    <a:gd name="connsiteY6" fmla="*/ 284201 h 450095"/>
                    <a:gd name="connsiteX7" fmla="*/ 10652 w 206498"/>
                    <a:gd name="connsiteY7" fmla="*/ 407293 h 450095"/>
                    <a:gd name="connsiteX8" fmla="*/ 174005 w 206498"/>
                    <a:gd name="connsiteY8" fmla="*/ 438066 h 450095"/>
                    <a:gd name="connsiteX9" fmla="*/ 206499 w 206498"/>
                    <a:gd name="connsiteY9" fmla="*/ 391467 h 450095"/>
                    <a:gd name="connsiteX10" fmla="*/ 206499 w 206498"/>
                    <a:gd name="connsiteY10" fmla="*/ 391467 h 450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06498" h="450095">
                      <a:moveTo>
                        <a:pt x="206499" y="391467"/>
                      </a:moveTo>
                      <a:cubicBezTo>
                        <a:pt x="206499" y="349264"/>
                        <a:pt x="189813" y="292114"/>
                        <a:pt x="189813" y="292114"/>
                      </a:cubicBezTo>
                      <a:cubicBezTo>
                        <a:pt x="189813" y="270134"/>
                        <a:pt x="173126" y="176056"/>
                        <a:pt x="173126" y="176056"/>
                      </a:cubicBezTo>
                      <a:lnTo>
                        <a:pt x="167857" y="18674"/>
                      </a:lnTo>
                      <a:cubicBezTo>
                        <a:pt x="138875" y="-7703"/>
                        <a:pt x="49295" y="-6824"/>
                        <a:pt x="28217" y="25707"/>
                      </a:cubicBezTo>
                      <a:cubicBezTo>
                        <a:pt x="18556" y="40654"/>
                        <a:pt x="35243" y="126819"/>
                        <a:pt x="35243" y="126819"/>
                      </a:cubicBezTo>
                      <a:cubicBezTo>
                        <a:pt x="35243" y="126819"/>
                        <a:pt x="15922" y="234964"/>
                        <a:pt x="10652" y="284201"/>
                      </a:cubicBezTo>
                      <a:cubicBezTo>
                        <a:pt x="5383" y="334317"/>
                        <a:pt x="-10425" y="343110"/>
                        <a:pt x="10652" y="407293"/>
                      </a:cubicBezTo>
                      <a:cubicBezTo>
                        <a:pt x="31730" y="471477"/>
                        <a:pt x="160831" y="446859"/>
                        <a:pt x="174005" y="438066"/>
                      </a:cubicBezTo>
                      <a:cubicBezTo>
                        <a:pt x="189813" y="428395"/>
                        <a:pt x="206499" y="416965"/>
                        <a:pt x="206499" y="391467"/>
                      </a:cubicBezTo>
                      <a:lnTo>
                        <a:pt x="206499" y="391467"/>
                      </a:lnTo>
                      <a:close/>
                    </a:path>
                  </a:pathLst>
                </a:custGeom>
                <a:solidFill>
                  <a:srgbClr val="281805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DD67CC58-D16D-4601-A6FB-08B1CDFD1AF6}"/>
                    </a:ext>
                  </a:extLst>
                </p:cNvPr>
                <p:cNvSpPr/>
                <p:nvPr/>
              </p:nvSpPr>
              <p:spPr>
                <a:xfrm>
                  <a:off x="2833014" y="-3239563"/>
                  <a:ext cx="69380" cy="130126"/>
                </a:xfrm>
                <a:custGeom>
                  <a:avLst/>
                  <a:gdLst>
                    <a:gd name="connsiteX0" fmla="*/ 879 w 69380"/>
                    <a:gd name="connsiteY0" fmla="*/ 65063 h 130126"/>
                    <a:gd name="connsiteX1" fmla="*/ 35129 w 69380"/>
                    <a:gd name="connsiteY1" fmla="*/ 130126 h 130126"/>
                    <a:gd name="connsiteX2" fmla="*/ 69381 w 69380"/>
                    <a:gd name="connsiteY2" fmla="*/ 65063 h 130126"/>
                    <a:gd name="connsiteX3" fmla="*/ 66746 w 69380"/>
                    <a:gd name="connsiteY3" fmla="*/ 41324 h 130126"/>
                    <a:gd name="connsiteX4" fmla="*/ 57964 w 69380"/>
                    <a:gd name="connsiteY4" fmla="*/ 17585 h 130126"/>
                    <a:gd name="connsiteX5" fmla="*/ 34251 w 69380"/>
                    <a:gd name="connsiteY5" fmla="*/ 0 h 130126"/>
                    <a:gd name="connsiteX6" fmla="*/ 2635 w 69380"/>
                    <a:gd name="connsiteY6" fmla="*/ 38686 h 130126"/>
                    <a:gd name="connsiteX7" fmla="*/ 0 w 69380"/>
                    <a:gd name="connsiteY7" fmla="*/ 53633 h 130126"/>
                    <a:gd name="connsiteX8" fmla="*/ 0 w 69380"/>
                    <a:gd name="connsiteY8" fmla="*/ 64184 h 130126"/>
                    <a:gd name="connsiteX9" fmla="*/ 0 w 69380"/>
                    <a:gd name="connsiteY9" fmla="*/ 64184 h 130126"/>
                    <a:gd name="connsiteX10" fmla="*/ 23713 w 69380"/>
                    <a:gd name="connsiteY10" fmla="*/ 50995 h 130126"/>
                    <a:gd name="connsiteX11" fmla="*/ 23713 w 69380"/>
                    <a:gd name="connsiteY11" fmla="*/ 37807 h 130126"/>
                    <a:gd name="connsiteX12" fmla="*/ 34251 w 69380"/>
                    <a:gd name="connsiteY12" fmla="*/ 14947 h 130126"/>
                    <a:gd name="connsiteX13" fmla="*/ 42155 w 69380"/>
                    <a:gd name="connsiteY13" fmla="*/ 25498 h 130126"/>
                    <a:gd name="connsiteX14" fmla="*/ 45668 w 69380"/>
                    <a:gd name="connsiteY14" fmla="*/ 44841 h 130126"/>
                    <a:gd name="connsiteX15" fmla="*/ 45668 w 69380"/>
                    <a:gd name="connsiteY15" fmla="*/ 50995 h 130126"/>
                    <a:gd name="connsiteX16" fmla="*/ 34251 w 69380"/>
                    <a:gd name="connsiteY16" fmla="*/ 86165 h 130126"/>
                    <a:gd name="connsiteX17" fmla="*/ 22834 w 69380"/>
                    <a:gd name="connsiteY17" fmla="*/ 51875 h 130126"/>
                    <a:gd name="connsiteX18" fmla="*/ 22834 w 69380"/>
                    <a:gd name="connsiteY18" fmla="*/ 51875 h 130126"/>
                    <a:gd name="connsiteX19" fmla="*/ 22834 w 69380"/>
                    <a:gd name="connsiteY19" fmla="*/ 51875 h 130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9380" h="130126">
                      <a:moveTo>
                        <a:pt x="879" y="65063"/>
                      </a:moveTo>
                      <a:cubicBezTo>
                        <a:pt x="879" y="101112"/>
                        <a:pt x="15808" y="130126"/>
                        <a:pt x="35129" y="130126"/>
                      </a:cubicBezTo>
                      <a:cubicBezTo>
                        <a:pt x="54451" y="130126"/>
                        <a:pt x="69381" y="101112"/>
                        <a:pt x="69381" y="65063"/>
                      </a:cubicBezTo>
                      <a:cubicBezTo>
                        <a:pt x="69381" y="29015"/>
                        <a:pt x="69381" y="49237"/>
                        <a:pt x="66746" y="41324"/>
                      </a:cubicBezTo>
                      <a:cubicBezTo>
                        <a:pt x="64990" y="32532"/>
                        <a:pt x="62355" y="24618"/>
                        <a:pt x="57964" y="17585"/>
                      </a:cubicBezTo>
                      <a:cubicBezTo>
                        <a:pt x="51816" y="7034"/>
                        <a:pt x="43912" y="0"/>
                        <a:pt x="34251" y="0"/>
                      </a:cubicBezTo>
                      <a:cubicBezTo>
                        <a:pt x="20199" y="0"/>
                        <a:pt x="7904" y="15826"/>
                        <a:pt x="2635" y="38686"/>
                      </a:cubicBezTo>
                      <a:cubicBezTo>
                        <a:pt x="2635" y="43082"/>
                        <a:pt x="879" y="48358"/>
                        <a:pt x="0" y="53633"/>
                      </a:cubicBezTo>
                      <a:lnTo>
                        <a:pt x="0" y="64184"/>
                      </a:lnTo>
                      <a:lnTo>
                        <a:pt x="0" y="64184"/>
                      </a:lnTo>
                      <a:close/>
                      <a:moveTo>
                        <a:pt x="23713" y="50995"/>
                      </a:moveTo>
                      <a:lnTo>
                        <a:pt x="23713" y="37807"/>
                      </a:lnTo>
                      <a:cubicBezTo>
                        <a:pt x="25469" y="24618"/>
                        <a:pt x="29860" y="14947"/>
                        <a:pt x="34251" y="14947"/>
                      </a:cubicBezTo>
                      <a:cubicBezTo>
                        <a:pt x="38643" y="14947"/>
                        <a:pt x="40399" y="19343"/>
                        <a:pt x="42155" y="25498"/>
                      </a:cubicBezTo>
                      <a:cubicBezTo>
                        <a:pt x="43912" y="30773"/>
                        <a:pt x="44790" y="36928"/>
                        <a:pt x="45668" y="44841"/>
                      </a:cubicBezTo>
                      <a:lnTo>
                        <a:pt x="45668" y="50995"/>
                      </a:lnTo>
                      <a:cubicBezTo>
                        <a:pt x="45668" y="70338"/>
                        <a:pt x="40399" y="86165"/>
                        <a:pt x="34251" y="86165"/>
                      </a:cubicBezTo>
                      <a:cubicBezTo>
                        <a:pt x="28104" y="86165"/>
                        <a:pt x="22834" y="71218"/>
                        <a:pt x="22834" y="51875"/>
                      </a:cubicBezTo>
                      <a:lnTo>
                        <a:pt x="22834" y="51875"/>
                      </a:lnTo>
                      <a:cubicBezTo>
                        <a:pt x="22834" y="51875"/>
                        <a:pt x="22834" y="51875"/>
                        <a:pt x="22834" y="51875"/>
                      </a:cubicBezTo>
                      <a:close/>
                    </a:path>
                  </a:pathLst>
                </a:custGeom>
                <a:solidFill>
                  <a:srgbClr val="FA69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A418274F-94CA-40EA-E48A-6C0383450B4F}"/>
                    </a:ext>
                  </a:extLst>
                </p:cNvPr>
                <p:cNvSpPr/>
                <p:nvPr/>
              </p:nvSpPr>
              <p:spPr>
                <a:xfrm>
                  <a:off x="2606429" y="-3026789"/>
                  <a:ext cx="555558" cy="763172"/>
                </a:xfrm>
                <a:custGeom>
                  <a:avLst/>
                  <a:gdLst>
                    <a:gd name="connsiteX0" fmla="*/ 410137 w 555558"/>
                    <a:gd name="connsiteY0" fmla="*/ 879 h 763172"/>
                    <a:gd name="connsiteX1" fmla="*/ 137883 w 555558"/>
                    <a:gd name="connsiteY1" fmla="*/ 22860 h 763172"/>
                    <a:gd name="connsiteX2" fmla="*/ 118562 w 555558"/>
                    <a:gd name="connsiteY2" fmla="*/ 87044 h 763172"/>
                    <a:gd name="connsiteX3" fmla="*/ 0 w 555558"/>
                    <a:gd name="connsiteY3" fmla="*/ 750863 h 763172"/>
                    <a:gd name="connsiteX4" fmla="*/ 33373 w 555558"/>
                    <a:gd name="connsiteY4" fmla="*/ 763172 h 763172"/>
                    <a:gd name="connsiteX5" fmla="*/ 186186 w 555558"/>
                    <a:gd name="connsiteY5" fmla="*/ 730641 h 763172"/>
                    <a:gd name="connsiteX6" fmla="*/ 555046 w 555558"/>
                    <a:gd name="connsiteY6" fmla="*/ 684041 h 763172"/>
                    <a:gd name="connsiteX7" fmla="*/ 410137 w 555558"/>
                    <a:gd name="connsiteY7" fmla="*/ 0 h 763172"/>
                    <a:gd name="connsiteX8" fmla="*/ 410137 w 555558"/>
                    <a:gd name="connsiteY8" fmla="*/ 0 h 763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55558" h="763172">
                      <a:moveTo>
                        <a:pt x="410137" y="879"/>
                      </a:moveTo>
                      <a:cubicBezTo>
                        <a:pt x="268740" y="109025"/>
                        <a:pt x="137883" y="22860"/>
                        <a:pt x="137883" y="22860"/>
                      </a:cubicBezTo>
                      <a:lnTo>
                        <a:pt x="118562" y="87044"/>
                      </a:lnTo>
                      <a:cubicBezTo>
                        <a:pt x="112414" y="118696"/>
                        <a:pt x="8782" y="708660"/>
                        <a:pt x="0" y="750863"/>
                      </a:cubicBezTo>
                      <a:cubicBezTo>
                        <a:pt x="7026" y="757897"/>
                        <a:pt x="19321" y="762293"/>
                        <a:pt x="33373" y="763172"/>
                      </a:cubicBezTo>
                      <a:cubicBezTo>
                        <a:pt x="104510" y="759655"/>
                        <a:pt x="138761" y="751742"/>
                        <a:pt x="186186" y="730641"/>
                      </a:cubicBezTo>
                      <a:cubicBezTo>
                        <a:pt x="320557" y="673491"/>
                        <a:pt x="555046" y="684041"/>
                        <a:pt x="555046" y="684041"/>
                      </a:cubicBezTo>
                      <a:cubicBezTo>
                        <a:pt x="565585" y="366639"/>
                        <a:pt x="410137" y="0"/>
                        <a:pt x="410137" y="0"/>
                      </a:cubicBezTo>
                      <a:lnTo>
                        <a:pt x="41013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C43FB64D-8339-82D1-5107-83A437A19E68}"/>
                    </a:ext>
                  </a:extLst>
                </p:cNvPr>
                <p:cNvSpPr/>
                <p:nvPr/>
              </p:nvSpPr>
              <p:spPr>
                <a:xfrm>
                  <a:off x="3003392" y="-3033823"/>
                  <a:ext cx="710493" cy="1381271"/>
                </a:xfrm>
                <a:custGeom>
                  <a:avLst/>
                  <a:gdLst>
                    <a:gd name="connsiteX0" fmla="*/ 620914 w 710493"/>
                    <a:gd name="connsiteY0" fmla="*/ 236513 h 1381271"/>
                    <a:gd name="connsiteX1" fmla="*/ 519917 w 710493"/>
                    <a:gd name="connsiteY1" fmla="*/ 178484 h 1381271"/>
                    <a:gd name="connsiteX2" fmla="*/ 513769 w 710493"/>
                    <a:gd name="connsiteY2" fmla="*/ 174967 h 1381271"/>
                    <a:gd name="connsiteX3" fmla="*/ 456683 w 710493"/>
                    <a:gd name="connsiteY3" fmla="*/ 315644 h 1381271"/>
                    <a:gd name="connsiteX4" fmla="*/ 228342 w 710493"/>
                    <a:gd name="connsiteY4" fmla="*/ 68580 h 1381271"/>
                    <a:gd name="connsiteX5" fmla="*/ 0 w 710493"/>
                    <a:gd name="connsiteY5" fmla="*/ 0 h 1381271"/>
                    <a:gd name="connsiteX6" fmla="*/ 79919 w 710493"/>
                    <a:gd name="connsiteY6" fmla="*/ 243547 h 1381271"/>
                    <a:gd name="connsiteX7" fmla="*/ 142275 w 710493"/>
                    <a:gd name="connsiteY7" fmla="*/ 617220 h 1381271"/>
                    <a:gd name="connsiteX8" fmla="*/ 142275 w 710493"/>
                    <a:gd name="connsiteY8" fmla="*/ 691955 h 1381271"/>
                    <a:gd name="connsiteX9" fmla="*/ 212534 w 710493"/>
                    <a:gd name="connsiteY9" fmla="*/ 1381271 h 1381271"/>
                    <a:gd name="connsiteX10" fmla="*/ 387302 w 710493"/>
                    <a:gd name="connsiteY10" fmla="*/ 1381271 h 1381271"/>
                    <a:gd name="connsiteX11" fmla="*/ 341634 w 710493"/>
                    <a:gd name="connsiteY11" fmla="*/ 711298 h 1381271"/>
                    <a:gd name="connsiteX12" fmla="*/ 310018 w 710493"/>
                    <a:gd name="connsiteY12" fmla="*/ 519625 h 1381271"/>
                    <a:gd name="connsiteX13" fmla="*/ 310018 w 710493"/>
                    <a:gd name="connsiteY13" fmla="*/ 521384 h 1381271"/>
                    <a:gd name="connsiteX14" fmla="*/ 519917 w 710493"/>
                    <a:gd name="connsiteY14" fmla="*/ 616341 h 1381271"/>
                    <a:gd name="connsiteX15" fmla="*/ 630574 w 710493"/>
                    <a:gd name="connsiteY15" fmla="*/ 559191 h 1381271"/>
                    <a:gd name="connsiteX16" fmla="*/ 710494 w 710493"/>
                    <a:gd name="connsiteY16" fmla="*/ 289267 h 1381271"/>
                    <a:gd name="connsiteX17" fmla="*/ 620035 w 710493"/>
                    <a:gd name="connsiteY17" fmla="*/ 237392 h 1381271"/>
                    <a:gd name="connsiteX18" fmla="*/ 620914 w 710493"/>
                    <a:gd name="connsiteY18" fmla="*/ 237392 h 1381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10493" h="1381271">
                      <a:moveTo>
                        <a:pt x="620914" y="236513"/>
                      </a:moveTo>
                      <a:lnTo>
                        <a:pt x="519917" y="178484"/>
                      </a:lnTo>
                      <a:lnTo>
                        <a:pt x="513769" y="174967"/>
                      </a:lnTo>
                      <a:lnTo>
                        <a:pt x="456683" y="315644"/>
                      </a:lnTo>
                      <a:cubicBezTo>
                        <a:pt x="456683" y="315644"/>
                        <a:pt x="285427" y="102870"/>
                        <a:pt x="228342" y="68580"/>
                      </a:cubicBezTo>
                      <a:cubicBezTo>
                        <a:pt x="171256" y="34290"/>
                        <a:pt x="0" y="0"/>
                        <a:pt x="0" y="0"/>
                      </a:cubicBezTo>
                      <a:lnTo>
                        <a:pt x="79919" y="243547"/>
                      </a:lnTo>
                      <a:cubicBezTo>
                        <a:pt x="79919" y="243547"/>
                        <a:pt x="138761" y="350813"/>
                        <a:pt x="142275" y="617220"/>
                      </a:cubicBezTo>
                      <a:lnTo>
                        <a:pt x="142275" y="691955"/>
                      </a:lnTo>
                      <a:cubicBezTo>
                        <a:pt x="145787" y="958361"/>
                        <a:pt x="212534" y="1381271"/>
                        <a:pt x="212534" y="1381271"/>
                      </a:cubicBezTo>
                      <a:lnTo>
                        <a:pt x="387302" y="1381271"/>
                      </a:lnTo>
                      <a:cubicBezTo>
                        <a:pt x="387302" y="1381271"/>
                        <a:pt x="349538" y="779878"/>
                        <a:pt x="341634" y="711298"/>
                      </a:cubicBezTo>
                      <a:cubicBezTo>
                        <a:pt x="337243" y="675249"/>
                        <a:pt x="323191" y="590843"/>
                        <a:pt x="310018" y="519625"/>
                      </a:cubicBezTo>
                      <a:lnTo>
                        <a:pt x="310018" y="521384"/>
                      </a:lnTo>
                      <a:cubicBezTo>
                        <a:pt x="310018" y="521384"/>
                        <a:pt x="459318" y="612824"/>
                        <a:pt x="519917" y="616341"/>
                      </a:cubicBezTo>
                      <a:cubicBezTo>
                        <a:pt x="580515" y="619858"/>
                        <a:pt x="630574" y="559191"/>
                        <a:pt x="630574" y="559191"/>
                      </a:cubicBezTo>
                      <a:lnTo>
                        <a:pt x="710494" y="289267"/>
                      </a:lnTo>
                      <a:lnTo>
                        <a:pt x="620035" y="237392"/>
                      </a:lnTo>
                      <a:lnTo>
                        <a:pt x="620914" y="23739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2833D898-95AA-7B3A-6FF0-FD0701272EB0}"/>
                    </a:ext>
                  </a:extLst>
                </p:cNvPr>
                <p:cNvSpPr/>
                <p:nvPr/>
              </p:nvSpPr>
              <p:spPr>
                <a:xfrm>
                  <a:off x="2220365" y="-3011842"/>
                  <a:ext cx="533607" cy="1359290"/>
                </a:xfrm>
                <a:custGeom>
                  <a:avLst/>
                  <a:gdLst>
                    <a:gd name="connsiteX0" fmla="*/ 521313 w 533607"/>
                    <a:gd name="connsiteY0" fmla="*/ 0 h 1359290"/>
                    <a:gd name="connsiteX1" fmla="*/ 258720 w 533607"/>
                    <a:gd name="connsiteY1" fmla="*/ 133643 h 1359290"/>
                    <a:gd name="connsiteX2" fmla="*/ 518 w 533607"/>
                    <a:gd name="connsiteY2" fmla="*/ 749984 h 1359290"/>
                    <a:gd name="connsiteX3" fmla="*/ 256085 w 533607"/>
                    <a:gd name="connsiteY3" fmla="*/ 993531 h 1359290"/>
                    <a:gd name="connsiteX4" fmla="*/ 216565 w 533607"/>
                    <a:gd name="connsiteY4" fmla="*/ 1317088 h 1359290"/>
                    <a:gd name="connsiteX5" fmla="*/ 216565 w 533607"/>
                    <a:gd name="connsiteY5" fmla="*/ 1359291 h 1359290"/>
                    <a:gd name="connsiteX6" fmla="*/ 350935 w 533607"/>
                    <a:gd name="connsiteY6" fmla="*/ 1355774 h 1359290"/>
                    <a:gd name="connsiteX7" fmla="*/ 533608 w 533607"/>
                    <a:gd name="connsiteY7" fmla="*/ 192551 h 1359290"/>
                    <a:gd name="connsiteX8" fmla="*/ 520434 w 533607"/>
                    <a:gd name="connsiteY8" fmla="*/ 879 h 1359290"/>
                    <a:gd name="connsiteX9" fmla="*/ 521313 w 533607"/>
                    <a:gd name="connsiteY9" fmla="*/ 879 h 1359290"/>
                    <a:gd name="connsiteX10" fmla="*/ 255207 w 533607"/>
                    <a:gd name="connsiteY10" fmla="*/ 669974 h 1359290"/>
                    <a:gd name="connsiteX11" fmla="*/ 305266 w 533607"/>
                    <a:gd name="connsiteY11" fmla="*/ 585568 h 1359290"/>
                    <a:gd name="connsiteX12" fmla="*/ 291215 w 533607"/>
                    <a:gd name="connsiteY12" fmla="*/ 698988 h 1359290"/>
                    <a:gd name="connsiteX13" fmla="*/ 254329 w 533607"/>
                    <a:gd name="connsiteY13" fmla="*/ 669974 h 1359290"/>
                    <a:gd name="connsiteX14" fmla="*/ 254329 w 533607"/>
                    <a:gd name="connsiteY14" fmla="*/ 669974 h 1359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33607" h="1359290">
                      <a:moveTo>
                        <a:pt x="521313" y="0"/>
                      </a:moveTo>
                      <a:cubicBezTo>
                        <a:pt x="521313" y="0"/>
                        <a:pt x="327222" y="60667"/>
                        <a:pt x="258720" y="133643"/>
                      </a:cubicBezTo>
                      <a:cubicBezTo>
                        <a:pt x="190217" y="205740"/>
                        <a:pt x="16327" y="633046"/>
                        <a:pt x="518" y="749984"/>
                      </a:cubicBezTo>
                      <a:cubicBezTo>
                        <a:pt x="-13534" y="854612"/>
                        <a:pt x="263111" y="997048"/>
                        <a:pt x="256085" y="993531"/>
                      </a:cubicBezTo>
                      <a:lnTo>
                        <a:pt x="216565" y="1317088"/>
                      </a:lnTo>
                      <a:lnTo>
                        <a:pt x="216565" y="1359291"/>
                      </a:lnTo>
                      <a:lnTo>
                        <a:pt x="350935" y="1355774"/>
                      </a:lnTo>
                      <a:cubicBezTo>
                        <a:pt x="350935" y="1355774"/>
                        <a:pt x="532730" y="281354"/>
                        <a:pt x="533608" y="192551"/>
                      </a:cubicBezTo>
                      <a:cubicBezTo>
                        <a:pt x="533608" y="82648"/>
                        <a:pt x="520434" y="879"/>
                        <a:pt x="520434" y="879"/>
                      </a:cubicBezTo>
                      <a:lnTo>
                        <a:pt x="521313" y="879"/>
                      </a:lnTo>
                      <a:close/>
                      <a:moveTo>
                        <a:pt x="255207" y="669974"/>
                      </a:moveTo>
                      <a:lnTo>
                        <a:pt x="305266" y="585568"/>
                      </a:lnTo>
                      <a:lnTo>
                        <a:pt x="291215" y="698988"/>
                      </a:lnTo>
                      <a:lnTo>
                        <a:pt x="254329" y="669974"/>
                      </a:lnTo>
                      <a:lnTo>
                        <a:pt x="254329" y="6699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2335A5A5-938D-9F28-DB7E-873E6D641F60}"/>
                    </a:ext>
                  </a:extLst>
                </p:cNvPr>
                <p:cNvSpPr/>
                <p:nvPr/>
              </p:nvSpPr>
              <p:spPr>
                <a:xfrm>
                  <a:off x="2558126" y="-2180090"/>
                  <a:ext cx="140517" cy="184638"/>
                </a:xfrm>
                <a:custGeom>
                  <a:avLst/>
                  <a:gdLst>
                    <a:gd name="connsiteX0" fmla="*/ 37764 w 140517"/>
                    <a:gd name="connsiteY0" fmla="*/ 0 h 184638"/>
                    <a:gd name="connsiteX1" fmla="*/ 0 w 140517"/>
                    <a:gd name="connsiteY1" fmla="*/ 119575 h 184638"/>
                    <a:gd name="connsiteX2" fmla="*/ 53572 w 140517"/>
                    <a:gd name="connsiteY2" fmla="*/ 121334 h 184638"/>
                    <a:gd name="connsiteX3" fmla="*/ 69381 w 140517"/>
                    <a:gd name="connsiteY3" fmla="*/ 154745 h 184638"/>
                    <a:gd name="connsiteX4" fmla="*/ 94850 w 140517"/>
                    <a:gd name="connsiteY4" fmla="*/ 184638 h 184638"/>
                    <a:gd name="connsiteX5" fmla="*/ 140518 w 140517"/>
                    <a:gd name="connsiteY5" fmla="*/ 34290 h 184638"/>
                    <a:gd name="connsiteX6" fmla="*/ 38643 w 140517"/>
                    <a:gd name="connsiteY6" fmla="*/ 0 h 184638"/>
                    <a:gd name="connsiteX7" fmla="*/ 37764 w 140517"/>
                    <a:gd name="connsiteY7" fmla="*/ 0 h 184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0517" h="184638">
                      <a:moveTo>
                        <a:pt x="37764" y="0"/>
                      </a:moveTo>
                      <a:lnTo>
                        <a:pt x="0" y="119575"/>
                      </a:lnTo>
                      <a:cubicBezTo>
                        <a:pt x="0" y="119575"/>
                        <a:pt x="41277" y="117817"/>
                        <a:pt x="53572" y="121334"/>
                      </a:cubicBezTo>
                      <a:cubicBezTo>
                        <a:pt x="65868" y="124851"/>
                        <a:pt x="61477" y="141556"/>
                        <a:pt x="69381" y="154745"/>
                      </a:cubicBezTo>
                      <a:cubicBezTo>
                        <a:pt x="77285" y="167933"/>
                        <a:pt x="94850" y="184638"/>
                        <a:pt x="94850" y="184638"/>
                      </a:cubicBezTo>
                      <a:cubicBezTo>
                        <a:pt x="119440" y="133643"/>
                        <a:pt x="138761" y="83527"/>
                        <a:pt x="140518" y="34290"/>
                      </a:cubicBezTo>
                      <a:lnTo>
                        <a:pt x="38643" y="0"/>
                      </a:lnTo>
                      <a:lnTo>
                        <a:pt x="37764" y="0"/>
                      </a:lnTo>
                      <a:close/>
                    </a:path>
                  </a:pathLst>
                </a:custGeom>
                <a:solidFill>
                  <a:srgbClr val="7A3E1A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6" name="Graphic 9">
              <a:extLst>
                <a:ext uri="{FF2B5EF4-FFF2-40B4-BE49-F238E27FC236}">
                  <a16:creationId xmlns:a16="http://schemas.microsoft.com/office/drawing/2014/main" id="{14599761-6CBF-C31A-70C3-E3BD7C705B04}"/>
                </a:ext>
              </a:extLst>
            </p:cNvPr>
            <p:cNvGrpSpPr/>
            <p:nvPr/>
          </p:nvGrpSpPr>
          <p:grpSpPr>
            <a:xfrm>
              <a:off x="1130112" y="-3452462"/>
              <a:ext cx="1518472" cy="3400500"/>
              <a:chOff x="1130112" y="-3452462"/>
              <a:chExt cx="1518472" cy="3400500"/>
            </a:xfrm>
          </p:grpSpPr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56F7BAF5-2C9A-7DD7-C60B-2520E2A05A80}"/>
                  </a:ext>
                </a:extLst>
              </p:cNvPr>
              <p:cNvSpPr/>
              <p:nvPr/>
            </p:nvSpPr>
            <p:spPr>
              <a:xfrm>
                <a:off x="2121642" y="-233473"/>
                <a:ext cx="147543" cy="60667"/>
              </a:xfrm>
              <a:custGeom>
                <a:avLst/>
                <a:gdLst>
                  <a:gd name="connsiteX0" fmla="*/ 9661 w 147543"/>
                  <a:gd name="connsiteY0" fmla="*/ 60667 h 60667"/>
                  <a:gd name="connsiteX1" fmla="*/ 147544 w 147543"/>
                  <a:gd name="connsiteY1" fmla="*/ 60667 h 60667"/>
                  <a:gd name="connsiteX2" fmla="*/ 142275 w 147543"/>
                  <a:gd name="connsiteY2" fmla="*/ 0 h 60667"/>
                  <a:gd name="connsiteX3" fmla="*/ 0 w 147543"/>
                  <a:gd name="connsiteY3" fmla="*/ 0 h 60667"/>
                  <a:gd name="connsiteX4" fmla="*/ 9661 w 147543"/>
                  <a:gd name="connsiteY4" fmla="*/ 60667 h 60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3" h="60667">
                    <a:moveTo>
                      <a:pt x="9661" y="60667"/>
                    </a:moveTo>
                    <a:cubicBezTo>
                      <a:pt x="69381" y="53633"/>
                      <a:pt x="143153" y="60667"/>
                      <a:pt x="147544" y="60667"/>
                    </a:cubicBezTo>
                    <a:lnTo>
                      <a:pt x="142275" y="0"/>
                    </a:lnTo>
                    <a:lnTo>
                      <a:pt x="0" y="0"/>
                    </a:lnTo>
                    <a:lnTo>
                      <a:pt x="9661" y="60667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E4D26EE0-817B-0484-1DC1-5550849565A1}"/>
                  </a:ext>
                </a:extLst>
              </p:cNvPr>
              <p:cNvSpPr/>
              <p:nvPr/>
            </p:nvSpPr>
            <p:spPr>
              <a:xfrm>
                <a:off x="1560449" y="-233473"/>
                <a:ext cx="147543" cy="91440"/>
              </a:xfrm>
              <a:custGeom>
                <a:avLst/>
                <a:gdLst>
                  <a:gd name="connsiteX0" fmla="*/ 0 w 147543"/>
                  <a:gd name="connsiteY0" fmla="*/ 51875 h 91440"/>
                  <a:gd name="connsiteX1" fmla="*/ 145787 w 147543"/>
                  <a:gd name="connsiteY1" fmla="*/ 91440 h 91440"/>
                  <a:gd name="connsiteX2" fmla="*/ 147544 w 147543"/>
                  <a:gd name="connsiteY2" fmla="*/ 0 h 91440"/>
                  <a:gd name="connsiteX3" fmla="*/ 5269 w 147543"/>
                  <a:gd name="connsiteY3" fmla="*/ 0 h 91440"/>
                  <a:gd name="connsiteX4" fmla="*/ 0 w 147543"/>
                  <a:gd name="connsiteY4" fmla="*/ 51875 h 91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3" h="91440">
                    <a:moveTo>
                      <a:pt x="0" y="51875"/>
                    </a:moveTo>
                    <a:cubicBezTo>
                      <a:pt x="7026" y="48358"/>
                      <a:pt x="88702" y="83527"/>
                      <a:pt x="145787" y="91440"/>
                    </a:cubicBezTo>
                    <a:lnTo>
                      <a:pt x="147544" y="0"/>
                    </a:lnTo>
                    <a:lnTo>
                      <a:pt x="5269" y="0"/>
                    </a:lnTo>
                    <a:lnTo>
                      <a:pt x="0" y="51875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3AECFE43-CE74-523F-786F-07C987759A7C}"/>
                  </a:ext>
                </a:extLst>
              </p:cNvPr>
              <p:cNvSpPr/>
              <p:nvPr/>
            </p:nvSpPr>
            <p:spPr>
              <a:xfrm>
                <a:off x="1425860" y="-191082"/>
                <a:ext cx="310674" cy="134333"/>
              </a:xfrm>
              <a:custGeom>
                <a:avLst/>
                <a:gdLst>
                  <a:gd name="connsiteX0" fmla="*/ 282132 w 310674"/>
                  <a:gd name="connsiteY0" fmla="*/ 23551 h 134333"/>
                  <a:gd name="connsiteX1" fmla="*/ 131075 w 310674"/>
                  <a:gd name="connsiteY1" fmla="*/ 1570 h 134333"/>
                  <a:gd name="connsiteX2" fmla="*/ 36226 w 310674"/>
                  <a:gd name="connsiteY2" fmla="*/ 56082 h 134333"/>
                  <a:gd name="connsiteX3" fmla="*/ 218 w 310674"/>
                  <a:gd name="connsiteY3" fmla="*/ 134334 h 134333"/>
                  <a:gd name="connsiteX4" fmla="*/ 309357 w 310674"/>
                  <a:gd name="connsiteY4" fmla="*/ 134334 h 134333"/>
                  <a:gd name="connsiteX5" fmla="*/ 282132 w 310674"/>
                  <a:gd name="connsiteY5" fmla="*/ 22672 h 134333"/>
                  <a:gd name="connsiteX6" fmla="*/ 282132 w 310674"/>
                  <a:gd name="connsiteY6" fmla="*/ 22672 h 13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0674" h="134333">
                    <a:moveTo>
                      <a:pt x="282132" y="23551"/>
                    </a:moveTo>
                    <a:cubicBezTo>
                      <a:pt x="176744" y="37618"/>
                      <a:pt x="234707" y="-8981"/>
                      <a:pt x="131075" y="1570"/>
                    </a:cubicBezTo>
                    <a:cubicBezTo>
                      <a:pt x="117024" y="5966"/>
                      <a:pt x="97702" y="43773"/>
                      <a:pt x="36226" y="56082"/>
                    </a:cubicBezTo>
                    <a:cubicBezTo>
                      <a:pt x="-5051" y="63995"/>
                      <a:pt x="218" y="134334"/>
                      <a:pt x="218" y="134334"/>
                    </a:cubicBezTo>
                    <a:lnTo>
                      <a:pt x="309357" y="134334"/>
                    </a:lnTo>
                    <a:cubicBezTo>
                      <a:pt x="316383" y="93010"/>
                      <a:pt x="293549" y="35860"/>
                      <a:pt x="282132" y="22672"/>
                    </a:cubicBezTo>
                    <a:lnTo>
                      <a:pt x="282132" y="22672"/>
                    </a:lnTo>
                    <a:close/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D4DD554E-EB5D-4B85-63A4-F254CC713389}"/>
                  </a:ext>
                </a:extLst>
              </p:cNvPr>
              <p:cNvSpPr/>
              <p:nvPr/>
            </p:nvSpPr>
            <p:spPr>
              <a:xfrm>
                <a:off x="2110186" y="-199978"/>
                <a:ext cx="241959" cy="148016"/>
              </a:xfrm>
              <a:custGeom>
                <a:avLst/>
                <a:gdLst>
                  <a:gd name="connsiteX0" fmla="*/ 917 w 241959"/>
                  <a:gd name="connsiteY0" fmla="*/ 125645 h 148016"/>
                  <a:gd name="connsiteX1" fmla="*/ 7065 w 241959"/>
                  <a:gd name="connsiteY1" fmla="*/ 64978 h 148016"/>
                  <a:gd name="connsiteX2" fmla="*/ 20239 w 241959"/>
                  <a:gd name="connsiteY2" fmla="*/ 28930 h 148016"/>
                  <a:gd name="connsiteX3" fmla="*/ 68542 w 241959"/>
                  <a:gd name="connsiteY3" fmla="*/ 13983 h 148016"/>
                  <a:gd name="connsiteX4" fmla="*/ 172173 w 241959"/>
                  <a:gd name="connsiteY4" fmla="*/ 19258 h 148016"/>
                  <a:gd name="connsiteX5" fmla="*/ 238041 w 241959"/>
                  <a:gd name="connsiteY5" fmla="*/ 99268 h 148016"/>
                  <a:gd name="connsiteX6" fmla="*/ 216964 w 241959"/>
                  <a:gd name="connsiteY6" fmla="*/ 147626 h 148016"/>
                  <a:gd name="connsiteX7" fmla="*/ 24630 w 241959"/>
                  <a:gd name="connsiteY7" fmla="*/ 147626 h 148016"/>
                  <a:gd name="connsiteX8" fmla="*/ 39 w 241959"/>
                  <a:gd name="connsiteY8" fmla="*/ 124766 h 148016"/>
                  <a:gd name="connsiteX9" fmla="*/ 917 w 241959"/>
                  <a:gd name="connsiteY9" fmla="*/ 124766 h 148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1959" h="148016">
                    <a:moveTo>
                      <a:pt x="917" y="125645"/>
                    </a:moveTo>
                    <a:cubicBezTo>
                      <a:pt x="917" y="125645"/>
                      <a:pt x="917" y="83442"/>
                      <a:pt x="7065" y="64978"/>
                    </a:cubicBezTo>
                    <a:cubicBezTo>
                      <a:pt x="13213" y="46515"/>
                      <a:pt x="20239" y="28930"/>
                      <a:pt x="20239" y="28930"/>
                    </a:cubicBezTo>
                    <a:cubicBezTo>
                      <a:pt x="25508" y="24534"/>
                      <a:pt x="29021" y="35085"/>
                      <a:pt x="68542" y="13983"/>
                    </a:cubicBezTo>
                    <a:cubicBezTo>
                      <a:pt x="134409" y="-20307"/>
                      <a:pt x="172173" y="19258"/>
                      <a:pt x="172173" y="19258"/>
                    </a:cubicBezTo>
                    <a:cubicBezTo>
                      <a:pt x="196765" y="48273"/>
                      <a:pt x="234529" y="89597"/>
                      <a:pt x="238041" y="99268"/>
                    </a:cubicBezTo>
                    <a:cubicBezTo>
                      <a:pt x="250337" y="129162"/>
                      <a:pt x="231015" y="146747"/>
                      <a:pt x="216964" y="147626"/>
                    </a:cubicBezTo>
                    <a:cubicBezTo>
                      <a:pt x="202912" y="148505"/>
                      <a:pt x="36047" y="147626"/>
                      <a:pt x="24630" y="147626"/>
                    </a:cubicBezTo>
                    <a:cubicBezTo>
                      <a:pt x="13213" y="147626"/>
                      <a:pt x="-839" y="130921"/>
                      <a:pt x="39" y="124766"/>
                    </a:cubicBezTo>
                    <a:lnTo>
                      <a:pt x="917" y="124766"/>
                    </a:lnTo>
                    <a:close/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DAA0C6AC-452E-D954-94C4-00119B7D0375}"/>
                  </a:ext>
                </a:extLst>
              </p:cNvPr>
              <p:cNvSpPr/>
              <p:nvPr/>
            </p:nvSpPr>
            <p:spPr>
              <a:xfrm>
                <a:off x="2439913" y="-1646137"/>
                <a:ext cx="180567" cy="386710"/>
              </a:xfrm>
              <a:custGeom>
                <a:avLst/>
                <a:gdLst>
                  <a:gd name="connsiteX0" fmla="*/ 118213 w 180567"/>
                  <a:gd name="connsiteY0" fmla="*/ 352311 h 386710"/>
                  <a:gd name="connsiteX1" fmla="*/ 118213 w 180567"/>
                  <a:gd name="connsiteY1" fmla="*/ 267905 h 386710"/>
                  <a:gd name="connsiteX2" fmla="*/ 118213 w 180567"/>
                  <a:gd name="connsiteY2" fmla="*/ 267905 h 386710"/>
                  <a:gd name="connsiteX3" fmla="*/ 90987 w 180567"/>
                  <a:gd name="connsiteY3" fmla="*/ 385722 h 386710"/>
                  <a:gd name="connsiteX4" fmla="*/ 76057 w 180567"/>
                  <a:gd name="connsiteY4" fmla="*/ 351432 h 386710"/>
                  <a:gd name="connsiteX5" fmla="*/ 79570 w 180567"/>
                  <a:gd name="connsiteY5" fmla="*/ 274939 h 386710"/>
                  <a:gd name="connsiteX6" fmla="*/ 79570 w 180567"/>
                  <a:gd name="connsiteY6" fmla="*/ 274939 h 386710"/>
                  <a:gd name="connsiteX7" fmla="*/ 54979 w 180567"/>
                  <a:gd name="connsiteY7" fmla="*/ 354070 h 386710"/>
                  <a:gd name="connsiteX8" fmla="*/ 32145 w 180567"/>
                  <a:gd name="connsiteY8" fmla="*/ 351432 h 386710"/>
                  <a:gd name="connsiteX9" fmla="*/ 50588 w 180567"/>
                  <a:gd name="connsiteY9" fmla="*/ 252958 h 386710"/>
                  <a:gd name="connsiteX10" fmla="*/ 47954 w 180567"/>
                  <a:gd name="connsiteY10" fmla="*/ 201963 h 386710"/>
                  <a:gd name="connsiteX11" fmla="*/ 42684 w 180567"/>
                  <a:gd name="connsiteY11" fmla="*/ 211634 h 386710"/>
                  <a:gd name="connsiteX12" fmla="*/ 6676 w 180567"/>
                  <a:gd name="connsiteY12" fmla="*/ 256475 h 386710"/>
                  <a:gd name="connsiteX13" fmla="*/ 2285 w 180567"/>
                  <a:gd name="connsiteY13" fmla="*/ 240649 h 386710"/>
                  <a:gd name="connsiteX14" fmla="*/ 10190 w 180567"/>
                  <a:gd name="connsiteY14" fmla="*/ 184378 h 386710"/>
                  <a:gd name="connsiteX15" fmla="*/ 37415 w 180567"/>
                  <a:gd name="connsiteY15" fmla="*/ 114040 h 386710"/>
                  <a:gd name="connsiteX16" fmla="*/ 26876 w 180567"/>
                  <a:gd name="connsiteY16" fmla="*/ 47218 h 386710"/>
                  <a:gd name="connsiteX17" fmla="*/ 103282 w 180567"/>
                  <a:gd name="connsiteY17" fmla="*/ 11170 h 386710"/>
                  <a:gd name="connsiteX18" fmla="*/ 144560 w 180567"/>
                  <a:gd name="connsiteY18" fmla="*/ 92059 h 386710"/>
                  <a:gd name="connsiteX19" fmla="*/ 162124 w 180567"/>
                  <a:gd name="connsiteY19" fmla="*/ 132504 h 386710"/>
                  <a:gd name="connsiteX20" fmla="*/ 178811 w 180567"/>
                  <a:gd name="connsiteY20" fmla="*/ 241528 h 386710"/>
                  <a:gd name="connsiteX21" fmla="*/ 171785 w 180567"/>
                  <a:gd name="connsiteY21" fmla="*/ 332089 h 386710"/>
                  <a:gd name="connsiteX22" fmla="*/ 156855 w 180567"/>
                  <a:gd name="connsiteY22" fmla="*/ 328572 h 386710"/>
                  <a:gd name="connsiteX23" fmla="*/ 151586 w 180567"/>
                  <a:gd name="connsiteY23" fmla="*/ 257354 h 386710"/>
                  <a:gd name="connsiteX24" fmla="*/ 134021 w 180567"/>
                  <a:gd name="connsiteY24" fmla="*/ 370775 h 386710"/>
                  <a:gd name="connsiteX25" fmla="*/ 117335 w 180567"/>
                  <a:gd name="connsiteY25" fmla="*/ 354070 h 386710"/>
                  <a:gd name="connsiteX26" fmla="*/ 117335 w 180567"/>
                  <a:gd name="connsiteY26" fmla="*/ 352311 h 386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80567" h="386710">
                    <a:moveTo>
                      <a:pt x="118213" y="352311"/>
                    </a:moveTo>
                    <a:cubicBezTo>
                      <a:pt x="123482" y="324176"/>
                      <a:pt x="118213" y="267905"/>
                      <a:pt x="118213" y="267905"/>
                    </a:cubicBezTo>
                    <a:lnTo>
                      <a:pt x="118213" y="267905"/>
                    </a:lnTo>
                    <a:cubicBezTo>
                      <a:pt x="118213" y="267905"/>
                      <a:pt x="112065" y="377809"/>
                      <a:pt x="90987" y="385722"/>
                    </a:cubicBezTo>
                    <a:cubicBezTo>
                      <a:pt x="69910" y="393635"/>
                      <a:pt x="76057" y="351432"/>
                      <a:pt x="76057" y="351432"/>
                    </a:cubicBezTo>
                    <a:cubicBezTo>
                      <a:pt x="76057" y="351432"/>
                      <a:pt x="82205" y="304833"/>
                      <a:pt x="79570" y="274939"/>
                    </a:cubicBezTo>
                    <a:lnTo>
                      <a:pt x="79570" y="274939"/>
                    </a:lnTo>
                    <a:cubicBezTo>
                      <a:pt x="79570" y="274939"/>
                      <a:pt x="68153" y="340881"/>
                      <a:pt x="54979" y="354070"/>
                    </a:cubicBezTo>
                    <a:cubicBezTo>
                      <a:pt x="41806" y="366379"/>
                      <a:pt x="30389" y="361983"/>
                      <a:pt x="32145" y="351432"/>
                    </a:cubicBezTo>
                    <a:cubicBezTo>
                      <a:pt x="33902" y="340881"/>
                      <a:pt x="50588" y="275818"/>
                      <a:pt x="50588" y="252958"/>
                    </a:cubicBezTo>
                    <a:cubicBezTo>
                      <a:pt x="50588" y="230098"/>
                      <a:pt x="48832" y="213393"/>
                      <a:pt x="47954" y="201963"/>
                    </a:cubicBezTo>
                    <a:cubicBezTo>
                      <a:pt x="47954" y="185258"/>
                      <a:pt x="42684" y="210755"/>
                      <a:pt x="42684" y="211634"/>
                    </a:cubicBezTo>
                    <a:cubicBezTo>
                      <a:pt x="40928" y="277577"/>
                      <a:pt x="6676" y="256475"/>
                      <a:pt x="6676" y="256475"/>
                    </a:cubicBezTo>
                    <a:cubicBezTo>
                      <a:pt x="6676" y="256475"/>
                      <a:pt x="-4741" y="252079"/>
                      <a:pt x="2285" y="240649"/>
                    </a:cubicBezTo>
                    <a:cubicBezTo>
                      <a:pt x="9311" y="229219"/>
                      <a:pt x="7555" y="194929"/>
                      <a:pt x="10190" y="184378"/>
                    </a:cubicBezTo>
                    <a:cubicBezTo>
                      <a:pt x="13702" y="172069"/>
                      <a:pt x="42684" y="143934"/>
                      <a:pt x="37415" y="114040"/>
                    </a:cubicBezTo>
                    <a:cubicBezTo>
                      <a:pt x="33902" y="95576"/>
                      <a:pt x="40049" y="95576"/>
                      <a:pt x="26876" y="47218"/>
                    </a:cubicBezTo>
                    <a:cubicBezTo>
                      <a:pt x="13702" y="-1139"/>
                      <a:pt x="61127" y="-10811"/>
                      <a:pt x="103282" y="11170"/>
                    </a:cubicBezTo>
                    <a:cubicBezTo>
                      <a:pt x="139291" y="30513"/>
                      <a:pt x="144560" y="92059"/>
                      <a:pt x="144560" y="92059"/>
                    </a:cubicBezTo>
                    <a:cubicBezTo>
                      <a:pt x="156855" y="112281"/>
                      <a:pt x="163881" y="135141"/>
                      <a:pt x="162124" y="132504"/>
                    </a:cubicBezTo>
                    <a:cubicBezTo>
                      <a:pt x="168272" y="149209"/>
                      <a:pt x="178811" y="241528"/>
                      <a:pt x="178811" y="241528"/>
                    </a:cubicBezTo>
                    <a:cubicBezTo>
                      <a:pt x="178811" y="241528"/>
                      <a:pt x="185837" y="323297"/>
                      <a:pt x="171785" y="332089"/>
                    </a:cubicBezTo>
                    <a:cubicBezTo>
                      <a:pt x="156855" y="340881"/>
                      <a:pt x="156855" y="328572"/>
                      <a:pt x="156855" y="328572"/>
                    </a:cubicBezTo>
                    <a:lnTo>
                      <a:pt x="151586" y="257354"/>
                    </a:lnTo>
                    <a:cubicBezTo>
                      <a:pt x="151586" y="257354"/>
                      <a:pt x="155099" y="345277"/>
                      <a:pt x="134021" y="370775"/>
                    </a:cubicBezTo>
                    <a:cubicBezTo>
                      <a:pt x="134021" y="370775"/>
                      <a:pt x="112065" y="382205"/>
                      <a:pt x="117335" y="354070"/>
                    </a:cubicBezTo>
                    <a:lnTo>
                      <a:pt x="117335" y="352311"/>
                    </a:lnTo>
                    <a:close/>
                  </a:path>
                </a:pathLst>
              </a:custGeom>
              <a:solidFill>
                <a:srgbClr val="DE9C74"/>
              </a:solidFill>
              <a:ln w="13174" cap="rnd">
                <a:solidFill>
                  <a:srgbClr val="28180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98B6913B-175B-B29A-BD33-D0989A63903D}"/>
                  </a:ext>
                </a:extLst>
              </p:cNvPr>
              <p:cNvSpPr/>
              <p:nvPr/>
            </p:nvSpPr>
            <p:spPr>
              <a:xfrm>
                <a:off x="1482796" y="-1800262"/>
                <a:ext cx="864128" cy="1569426"/>
              </a:xfrm>
              <a:custGeom>
                <a:avLst/>
                <a:gdLst>
                  <a:gd name="connsiteX0" fmla="*/ 14419 w 864128"/>
                  <a:gd name="connsiteY0" fmla="*/ 879 h 1569426"/>
                  <a:gd name="connsiteX1" fmla="*/ 845231 w 864128"/>
                  <a:gd name="connsiteY1" fmla="*/ 40445 h 1569426"/>
                  <a:gd name="connsiteX2" fmla="*/ 845231 w 864128"/>
                  <a:gd name="connsiteY2" fmla="*/ 1569427 h 1569426"/>
                  <a:gd name="connsiteX3" fmla="*/ 576491 w 864128"/>
                  <a:gd name="connsiteY3" fmla="*/ 1569427 h 1569426"/>
                  <a:gd name="connsiteX4" fmla="*/ 439486 w 864128"/>
                  <a:gd name="connsiteY4" fmla="*/ 451045 h 1569426"/>
                  <a:gd name="connsiteX5" fmla="*/ 297212 w 864128"/>
                  <a:gd name="connsiteY5" fmla="*/ 1569427 h 1569426"/>
                  <a:gd name="connsiteX6" fmla="*/ 26714 w 864128"/>
                  <a:gd name="connsiteY6" fmla="*/ 1569427 h 1569426"/>
                  <a:gd name="connsiteX7" fmla="*/ 14419 w 864128"/>
                  <a:gd name="connsiteY7" fmla="*/ 0 h 1569426"/>
                  <a:gd name="connsiteX8" fmla="*/ 14419 w 864128"/>
                  <a:gd name="connsiteY8" fmla="*/ 0 h 156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4128" h="1569426">
                    <a:moveTo>
                      <a:pt x="14419" y="879"/>
                    </a:moveTo>
                    <a:lnTo>
                      <a:pt x="845231" y="40445"/>
                    </a:lnTo>
                    <a:cubicBezTo>
                      <a:pt x="861918" y="451925"/>
                      <a:pt x="877726" y="962758"/>
                      <a:pt x="845231" y="1569427"/>
                    </a:cubicBezTo>
                    <a:lnTo>
                      <a:pt x="576491" y="1569427"/>
                    </a:lnTo>
                    <a:lnTo>
                      <a:pt x="439486" y="451045"/>
                    </a:lnTo>
                    <a:lnTo>
                      <a:pt x="297212" y="1569427"/>
                    </a:lnTo>
                    <a:lnTo>
                      <a:pt x="26714" y="1569427"/>
                    </a:lnTo>
                    <a:cubicBezTo>
                      <a:pt x="-25102" y="1132449"/>
                      <a:pt x="14419" y="0"/>
                      <a:pt x="14419" y="0"/>
                    </a:cubicBezTo>
                    <a:lnTo>
                      <a:pt x="1441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AFFEA457-0676-2354-3FBA-84778B41781C}"/>
                  </a:ext>
                </a:extLst>
              </p:cNvPr>
              <p:cNvSpPr/>
              <p:nvPr/>
            </p:nvSpPr>
            <p:spPr>
              <a:xfrm>
                <a:off x="1517415" y="-1677170"/>
                <a:ext cx="98362" cy="225083"/>
              </a:xfrm>
              <a:custGeom>
                <a:avLst/>
                <a:gdLst>
                  <a:gd name="connsiteX0" fmla="*/ 0 w 98362"/>
                  <a:gd name="connsiteY0" fmla="*/ 225083 h 225083"/>
                  <a:gd name="connsiteX1" fmla="*/ 98363 w 98362"/>
                  <a:gd name="connsiteY1" fmla="*/ 0 h 225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362" h="225083">
                    <a:moveTo>
                      <a:pt x="0" y="225083"/>
                    </a:moveTo>
                    <a:lnTo>
                      <a:pt x="98363" y="0"/>
                    </a:lnTo>
                  </a:path>
                </a:pathLst>
              </a:custGeom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F641F58E-0783-A8B0-131B-4CF74FB937D4}"/>
                  </a:ext>
                </a:extLst>
              </p:cNvPr>
              <p:cNvSpPr/>
              <p:nvPr/>
            </p:nvSpPr>
            <p:spPr>
              <a:xfrm>
                <a:off x="1494581" y="-1658706"/>
                <a:ext cx="93092" cy="169691"/>
              </a:xfrm>
              <a:custGeom>
                <a:avLst/>
                <a:gdLst>
                  <a:gd name="connsiteX0" fmla="*/ 45668 w 93092"/>
                  <a:gd name="connsiteY0" fmla="*/ 0 h 169691"/>
                  <a:gd name="connsiteX1" fmla="*/ 93093 w 93092"/>
                  <a:gd name="connsiteY1" fmla="*/ 40444 h 169691"/>
                  <a:gd name="connsiteX2" fmla="*/ 38642 w 93092"/>
                  <a:gd name="connsiteY2" fmla="*/ 169691 h 169691"/>
                  <a:gd name="connsiteX3" fmla="*/ 0 w 93092"/>
                  <a:gd name="connsiteY3" fmla="*/ 133643 h 169691"/>
                  <a:gd name="connsiteX4" fmla="*/ 45668 w 93092"/>
                  <a:gd name="connsiteY4" fmla="*/ 0 h 169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092" h="169691">
                    <a:moveTo>
                      <a:pt x="45668" y="0"/>
                    </a:moveTo>
                    <a:cubicBezTo>
                      <a:pt x="58841" y="5275"/>
                      <a:pt x="83433" y="35169"/>
                      <a:pt x="93093" y="40444"/>
                    </a:cubicBezTo>
                    <a:lnTo>
                      <a:pt x="38642" y="169691"/>
                    </a:lnTo>
                    <a:lnTo>
                      <a:pt x="0" y="133643"/>
                    </a:lnTo>
                    <a:lnTo>
                      <a:pt x="45668" y="0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 94">
                <a:extLst>
                  <a:ext uri="{FF2B5EF4-FFF2-40B4-BE49-F238E27FC236}">
                    <a16:creationId xmlns:a16="http://schemas.microsoft.com/office/drawing/2014/main" id="{0FE5AB6F-C1EA-534E-80A4-8C751F9825AD}"/>
                  </a:ext>
                </a:extLst>
              </p:cNvPr>
              <p:cNvSpPr/>
              <p:nvPr/>
            </p:nvSpPr>
            <p:spPr>
              <a:xfrm>
                <a:off x="2455372" y="-1596281"/>
                <a:ext cx="152813" cy="58908"/>
              </a:xfrm>
              <a:custGeom>
                <a:avLst/>
                <a:gdLst>
                  <a:gd name="connsiteX0" fmla="*/ 151057 w 152813"/>
                  <a:gd name="connsiteY0" fmla="*/ 0 h 58908"/>
                  <a:gd name="connsiteX1" fmla="*/ 151057 w 152813"/>
                  <a:gd name="connsiteY1" fmla="*/ 45720 h 58908"/>
                  <a:gd name="connsiteX2" fmla="*/ 2635 w 152813"/>
                  <a:gd name="connsiteY2" fmla="*/ 58909 h 58908"/>
                  <a:gd name="connsiteX3" fmla="*/ 0 w 152813"/>
                  <a:gd name="connsiteY3" fmla="*/ 10551 h 58908"/>
                  <a:gd name="connsiteX4" fmla="*/ 152814 w 152813"/>
                  <a:gd name="connsiteY4" fmla="*/ 0 h 58908"/>
                  <a:gd name="connsiteX5" fmla="*/ 151935 w 152813"/>
                  <a:gd name="connsiteY5" fmla="*/ 0 h 5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813" h="58908">
                    <a:moveTo>
                      <a:pt x="151057" y="0"/>
                    </a:moveTo>
                    <a:cubicBezTo>
                      <a:pt x="148422" y="15826"/>
                      <a:pt x="152814" y="34290"/>
                      <a:pt x="151057" y="45720"/>
                    </a:cubicBezTo>
                    <a:lnTo>
                      <a:pt x="2635" y="58909"/>
                    </a:lnTo>
                    <a:cubicBezTo>
                      <a:pt x="2635" y="58909"/>
                      <a:pt x="2635" y="34290"/>
                      <a:pt x="0" y="10551"/>
                    </a:cubicBezTo>
                    <a:lnTo>
                      <a:pt x="152814" y="0"/>
                    </a:lnTo>
                    <a:lnTo>
                      <a:pt x="15193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 95">
                <a:extLst>
                  <a:ext uri="{FF2B5EF4-FFF2-40B4-BE49-F238E27FC236}">
                    <a16:creationId xmlns:a16="http://schemas.microsoft.com/office/drawing/2014/main" id="{E9A6EB0B-D0DD-3CE2-4094-0FEEBCCA2264}"/>
                  </a:ext>
                </a:extLst>
              </p:cNvPr>
              <p:cNvSpPr/>
              <p:nvPr/>
            </p:nvSpPr>
            <p:spPr>
              <a:xfrm>
                <a:off x="1779129" y="-2928315"/>
                <a:ext cx="253810" cy="564466"/>
              </a:xfrm>
              <a:custGeom>
                <a:avLst/>
                <a:gdLst>
                  <a:gd name="connsiteX0" fmla="*/ 10539 w 253810"/>
                  <a:gd name="connsiteY0" fmla="*/ 3517 h 564466"/>
                  <a:gd name="connsiteX1" fmla="*/ 157205 w 253810"/>
                  <a:gd name="connsiteY1" fmla="*/ 30773 h 564466"/>
                  <a:gd name="connsiteX2" fmla="*/ 223951 w 253810"/>
                  <a:gd name="connsiteY2" fmla="*/ 0 h 564466"/>
                  <a:gd name="connsiteX3" fmla="*/ 253811 w 253810"/>
                  <a:gd name="connsiteY3" fmla="*/ 7913 h 564466"/>
                  <a:gd name="connsiteX4" fmla="*/ 144031 w 253810"/>
                  <a:gd name="connsiteY4" fmla="*/ 564466 h 564466"/>
                  <a:gd name="connsiteX5" fmla="*/ 0 w 253810"/>
                  <a:gd name="connsiteY5" fmla="*/ 15826 h 564466"/>
                  <a:gd name="connsiteX6" fmla="*/ 10539 w 253810"/>
                  <a:gd name="connsiteY6" fmla="*/ 3517 h 564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810" h="564466">
                    <a:moveTo>
                      <a:pt x="10539" y="3517"/>
                    </a:moveTo>
                    <a:lnTo>
                      <a:pt x="157205" y="30773"/>
                    </a:lnTo>
                    <a:lnTo>
                      <a:pt x="223951" y="0"/>
                    </a:lnTo>
                    <a:cubicBezTo>
                      <a:pt x="225707" y="0"/>
                      <a:pt x="253811" y="7913"/>
                      <a:pt x="253811" y="7913"/>
                    </a:cubicBezTo>
                    <a:lnTo>
                      <a:pt x="144031" y="564466"/>
                    </a:lnTo>
                    <a:lnTo>
                      <a:pt x="0" y="15826"/>
                    </a:lnTo>
                    <a:lnTo>
                      <a:pt x="10539" y="3517"/>
                    </a:lnTo>
                    <a:close/>
                  </a:path>
                </a:pathLst>
              </a:custGeom>
              <a:solidFill>
                <a:srgbClr val="FFFFFF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 96">
                <a:extLst>
                  <a:ext uri="{FF2B5EF4-FFF2-40B4-BE49-F238E27FC236}">
                    <a16:creationId xmlns:a16="http://schemas.microsoft.com/office/drawing/2014/main" id="{6A927D2A-D3F1-668A-FE9C-480476E4C9A4}"/>
                  </a:ext>
                </a:extLst>
              </p:cNvPr>
              <p:cNvSpPr/>
              <p:nvPr/>
            </p:nvSpPr>
            <p:spPr>
              <a:xfrm>
                <a:off x="1783521" y="-3217597"/>
                <a:ext cx="253810" cy="362257"/>
              </a:xfrm>
              <a:custGeom>
                <a:avLst/>
                <a:gdLst>
                  <a:gd name="connsiteX0" fmla="*/ 207264 w 253810"/>
                  <a:gd name="connsiteY0" fmla="*/ 167069 h 362257"/>
                  <a:gd name="connsiteX1" fmla="*/ 144031 w 253810"/>
                  <a:gd name="connsiteY1" fmla="*/ 104643 h 362257"/>
                  <a:gd name="connsiteX2" fmla="*/ 165987 w 253810"/>
                  <a:gd name="connsiteY2" fmla="*/ 75629 h 362257"/>
                  <a:gd name="connsiteX3" fmla="*/ 126466 w 253810"/>
                  <a:gd name="connsiteY3" fmla="*/ 15 h 362257"/>
                  <a:gd name="connsiteX4" fmla="*/ 85189 w 253810"/>
                  <a:gd name="connsiteY4" fmla="*/ 41339 h 362257"/>
                  <a:gd name="connsiteX5" fmla="*/ 92215 w 253810"/>
                  <a:gd name="connsiteY5" fmla="*/ 167948 h 362257"/>
                  <a:gd name="connsiteX6" fmla="*/ 0 w 253810"/>
                  <a:gd name="connsiteY6" fmla="*/ 251475 h 362257"/>
                  <a:gd name="connsiteX7" fmla="*/ 3513 w 253810"/>
                  <a:gd name="connsiteY7" fmla="*/ 300712 h 362257"/>
                  <a:gd name="connsiteX8" fmla="*/ 110658 w 253810"/>
                  <a:gd name="connsiteY8" fmla="*/ 362258 h 362257"/>
                  <a:gd name="connsiteX9" fmla="*/ 253811 w 253810"/>
                  <a:gd name="connsiteY9" fmla="*/ 292798 h 362257"/>
                  <a:gd name="connsiteX10" fmla="*/ 206386 w 253810"/>
                  <a:gd name="connsiteY10" fmla="*/ 167069 h 362257"/>
                  <a:gd name="connsiteX11" fmla="*/ 207264 w 253810"/>
                  <a:gd name="connsiteY11" fmla="*/ 167069 h 36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3810" h="362257">
                    <a:moveTo>
                      <a:pt x="207264" y="167069"/>
                    </a:moveTo>
                    <a:cubicBezTo>
                      <a:pt x="204629" y="167069"/>
                      <a:pt x="144909" y="108160"/>
                      <a:pt x="144031" y="104643"/>
                    </a:cubicBezTo>
                    <a:cubicBezTo>
                      <a:pt x="153692" y="99368"/>
                      <a:pt x="162474" y="90575"/>
                      <a:pt x="165987" y="75629"/>
                    </a:cubicBezTo>
                    <a:cubicBezTo>
                      <a:pt x="173013" y="37822"/>
                      <a:pt x="163352" y="-865"/>
                      <a:pt x="126466" y="15"/>
                    </a:cubicBezTo>
                    <a:cubicBezTo>
                      <a:pt x="95728" y="1773"/>
                      <a:pt x="87824" y="24633"/>
                      <a:pt x="85189" y="41339"/>
                    </a:cubicBezTo>
                    <a:cubicBezTo>
                      <a:pt x="85189" y="60682"/>
                      <a:pt x="92215" y="167948"/>
                      <a:pt x="92215" y="167948"/>
                    </a:cubicBezTo>
                    <a:cubicBezTo>
                      <a:pt x="79920" y="199600"/>
                      <a:pt x="37764" y="204875"/>
                      <a:pt x="0" y="251475"/>
                    </a:cubicBezTo>
                    <a:lnTo>
                      <a:pt x="3513" y="300712"/>
                    </a:lnTo>
                    <a:lnTo>
                      <a:pt x="110658" y="362258"/>
                    </a:lnTo>
                    <a:lnTo>
                      <a:pt x="253811" y="292798"/>
                    </a:lnTo>
                    <a:cubicBezTo>
                      <a:pt x="247663" y="276972"/>
                      <a:pt x="211656" y="183774"/>
                      <a:pt x="206386" y="167069"/>
                    </a:cubicBezTo>
                    <a:lnTo>
                      <a:pt x="207264" y="167069"/>
                    </a:lnTo>
                    <a:close/>
                  </a:path>
                </a:pathLst>
              </a:custGeom>
              <a:solidFill>
                <a:srgbClr val="DE9C74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98" name="Graphic 9">
                <a:extLst>
                  <a:ext uri="{FF2B5EF4-FFF2-40B4-BE49-F238E27FC236}">
                    <a16:creationId xmlns:a16="http://schemas.microsoft.com/office/drawing/2014/main" id="{63541C59-F15F-95E4-9036-DA0C80918AD2}"/>
                  </a:ext>
                </a:extLst>
              </p:cNvPr>
              <p:cNvGrpSpPr/>
              <p:nvPr/>
            </p:nvGrpSpPr>
            <p:grpSpPr>
              <a:xfrm>
                <a:off x="1617810" y="-3452462"/>
                <a:ext cx="460850" cy="500660"/>
                <a:chOff x="1617810" y="-3452462"/>
                <a:chExt cx="460850" cy="500660"/>
              </a:xfrm>
            </p:grpSpPr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C0B4F988-1B10-9F18-19D1-5AE2C7915095}"/>
                    </a:ext>
                  </a:extLst>
                </p:cNvPr>
                <p:cNvSpPr/>
                <p:nvPr/>
              </p:nvSpPr>
              <p:spPr>
                <a:xfrm>
                  <a:off x="1642125" y="-3079543"/>
                  <a:ext cx="60251" cy="53633"/>
                </a:xfrm>
                <a:custGeom>
                  <a:avLst/>
                  <a:gdLst>
                    <a:gd name="connsiteX0" fmla="*/ 59720 w 60251"/>
                    <a:gd name="connsiteY0" fmla="*/ 16705 h 53633"/>
                    <a:gd name="connsiteX1" fmla="*/ 33373 w 60251"/>
                    <a:gd name="connsiteY1" fmla="*/ 2638 h 53633"/>
                    <a:gd name="connsiteX2" fmla="*/ 0 w 60251"/>
                    <a:gd name="connsiteY2" fmla="*/ 0 h 53633"/>
                    <a:gd name="connsiteX3" fmla="*/ 19321 w 60251"/>
                    <a:gd name="connsiteY3" fmla="*/ 14947 h 53633"/>
                    <a:gd name="connsiteX4" fmla="*/ 7904 w 60251"/>
                    <a:gd name="connsiteY4" fmla="*/ 30773 h 53633"/>
                    <a:gd name="connsiteX5" fmla="*/ 21956 w 60251"/>
                    <a:gd name="connsiteY5" fmla="*/ 53633 h 53633"/>
                    <a:gd name="connsiteX6" fmla="*/ 59720 w 60251"/>
                    <a:gd name="connsiteY6" fmla="*/ 16705 h 536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251" h="53633">
                      <a:moveTo>
                        <a:pt x="59720" y="16705"/>
                      </a:moveTo>
                      <a:cubicBezTo>
                        <a:pt x="57963" y="9672"/>
                        <a:pt x="41277" y="2638"/>
                        <a:pt x="33373" y="2638"/>
                      </a:cubicBezTo>
                      <a:cubicBezTo>
                        <a:pt x="20199" y="2638"/>
                        <a:pt x="7904" y="1759"/>
                        <a:pt x="0" y="0"/>
                      </a:cubicBezTo>
                      <a:cubicBezTo>
                        <a:pt x="1757" y="8792"/>
                        <a:pt x="14052" y="14068"/>
                        <a:pt x="19321" y="14947"/>
                      </a:cubicBezTo>
                      <a:cubicBezTo>
                        <a:pt x="27225" y="16705"/>
                        <a:pt x="10539" y="15826"/>
                        <a:pt x="7904" y="30773"/>
                      </a:cubicBezTo>
                      <a:cubicBezTo>
                        <a:pt x="5269" y="45720"/>
                        <a:pt x="21956" y="53633"/>
                        <a:pt x="21956" y="53633"/>
                      </a:cubicBezTo>
                      <a:cubicBezTo>
                        <a:pt x="49181" y="41324"/>
                        <a:pt x="63233" y="30773"/>
                        <a:pt x="59720" y="16705"/>
                      </a:cubicBezTo>
                      <a:close/>
                    </a:path>
                  </a:pathLst>
                </a:custGeom>
                <a:solidFill>
                  <a:srgbClr val="DE9C74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B1F65196-C579-9ACB-AFE7-4242742CFE17}"/>
                    </a:ext>
                  </a:extLst>
                </p:cNvPr>
                <p:cNvSpPr/>
                <p:nvPr/>
              </p:nvSpPr>
              <p:spPr>
                <a:xfrm>
                  <a:off x="1633305" y="-3452462"/>
                  <a:ext cx="445355" cy="500660"/>
                </a:xfrm>
                <a:custGeom>
                  <a:avLst/>
                  <a:gdLst>
                    <a:gd name="connsiteX0" fmla="*/ 250335 w 445355"/>
                    <a:gd name="connsiteY0" fmla="*/ 16831 h 500660"/>
                    <a:gd name="connsiteX1" fmla="*/ 80835 w 445355"/>
                    <a:gd name="connsiteY1" fmla="*/ 1004 h 500660"/>
                    <a:gd name="connsiteX2" fmla="*/ 74687 w 445355"/>
                    <a:gd name="connsiteY2" fmla="*/ 91565 h 500660"/>
                    <a:gd name="connsiteX3" fmla="*/ 74687 w 445355"/>
                    <a:gd name="connsiteY3" fmla="*/ 93324 h 500660"/>
                    <a:gd name="connsiteX4" fmla="*/ 175685 w 445355"/>
                    <a:gd name="connsiteY4" fmla="*/ 132889 h 500660"/>
                    <a:gd name="connsiteX5" fmla="*/ 171293 w 445355"/>
                    <a:gd name="connsiteY5" fmla="*/ 187401 h 500660"/>
                    <a:gd name="connsiteX6" fmla="*/ 201153 w 445355"/>
                    <a:gd name="connsiteY6" fmla="*/ 240155 h 500660"/>
                    <a:gd name="connsiteX7" fmla="*/ 187980 w 445355"/>
                    <a:gd name="connsiteY7" fmla="*/ 316648 h 500660"/>
                    <a:gd name="connsiteX8" fmla="*/ 116843 w 445355"/>
                    <a:gd name="connsiteY8" fmla="*/ 361489 h 500660"/>
                    <a:gd name="connsiteX9" fmla="*/ 15845 w 445355"/>
                    <a:gd name="connsiteY9" fmla="*/ 336871 h 500660"/>
                    <a:gd name="connsiteX10" fmla="*/ 15845 w 445355"/>
                    <a:gd name="connsiteY10" fmla="*/ 336871 h 500660"/>
                    <a:gd name="connsiteX11" fmla="*/ 7941 w 445355"/>
                    <a:gd name="connsiteY11" fmla="*/ 367644 h 500660"/>
                    <a:gd name="connsiteX12" fmla="*/ 46584 w 445355"/>
                    <a:gd name="connsiteY12" fmla="*/ 377315 h 500660"/>
                    <a:gd name="connsiteX13" fmla="*/ 68540 w 445355"/>
                    <a:gd name="connsiteY13" fmla="*/ 391383 h 500660"/>
                    <a:gd name="connsiteX14" fmla="*/ 30776 w 445355"/>
                    <a:gd name="connsiteY14" fmla="*/ 429190 h 500660"/>
                    <a:gd name="connsiteX15" fmla="*/ 30776 w 445355"/>
                    <a:gd name="connsiteY15" fmla="*/ 429190 h 500660"/>
                    <a:gd name="connsiteX16" fmla="*/ 39558 w 445355"/>
                    <a:gd name="connsiteY16" fmla="*/ 492494 h 500660"/>
                    <a:gd name="connsiteX17" fmla="*/ 109817 w 445355"/>
                    <a:gd name="connsiteY17" fmla="*/ 497770 h 500660"/>
                    <a:gd name="connsiteX18" fmla="*/ 152850 w 445355"/>
                    <a:gd name="connsiteY18" fmla="*/ 488098 h 500660"/>
                    <a:gd name="connsiteX19" fmla="*/ 231892 w 445355"/>
                    <a:gd name="connsiteY19" fmla="*/ 436224 h 500660"/>
                    <a:gd name="connsiteX20" fmla="*/ 244187 w 445355"/>
                    <a:gd name="connsiteY20" fmla="*/ 404571 h 500660"/>
                    <a:gd name="connsiteX21" fmla="*/ 238918 w 445355"/>
                    <a:gd name="connsiteY21" fmla="*/ 366764 h 500660"/>
                    <a:gd name="connsiteX22" fmla="*/ 237161 w 445355"/>
                    <a:gd name="connsiteY22" fmla="*/ 277962 h 500660"/>
                    <a:gd name="connsiteX23" fmla="*/ 278439 w 445355"/>
                    <a:gd name="connsiteY23" fmla="*/ 236638 h 500660"/>
                    <a:gd name="connsiteX24" fmla="*/ 317959 w 445355"/>
                    <a:gd name="connsiteY24" fmla="*/ 312252 h 500660"/>
                    <a:gd name="connsiteX25" fmla="*/ 296003 w 445355"/>
                    <a:gd name="connsiteY25" fmla="*/ 341267 h 500660"/>
                    <a:gd name="connsiteX26" fmla="*/ 298638 w 445355"/>
                    <a:gd name="connsiteY26" fmla="*/ 353576 h 500660"/>
                    <a:gd name="connsiteX27" fmla="*/ 342550 w 445355"/>
                    <a:gd name="connsiteY27" fmla="*/ 404571 h 500660"/>
                    <a:gd name="connsiteX28" fmla="*/ 372410 w 445355"/>
                    <a:gd name="connsiteY28" fmla="*/ 392262 h 500660"/>
                    <a:gd name="connsiteX29" fmla="*/ 384705 w 445355"/>
                    <a:gd name="connsiteY29" fmla="*/ 383470 h 500660"/>
                    <a:gd name="connsiteX30" fmla="*/ 441790 w 445355"/>
                    <a:gd name="connsiteY30" fmla="*/ 265653 h 500660"/>
                    <a:gd name="connsiteX31" fmla="*/ 251213 w 445355"/>
                    <a:gd name="connsiteY31" fmla="*/ 17710 h 500660"/>
                    <a:gd name="connsiteX32" fmla="*/ 249456 w 445355"/>
                    <a:gd name="connsiteY32" fmla="*/ 17710 h 500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445355" h="500660">
                      <a:moveTo>
                        <a:pt x="250335" y="16831"/>
                      </a:moveTo>
                      <a:cubicBezTo>
                        <a:pt x="169537" y="10676"/>
                        <a:pt x="121234" y="27381"/>
                        <a:pt x="80835" y="1004"/>
                      </a:cubicBezTo>
                      <a:cubicBezTo>
                        <a:pt x="66783" y="-8667"/>
                        <a:pt x="43071" y="53758"/>
                        <a:pt x="74687" y="91565"/>
                      </a:cubicBezTo>
                      <a:cubicBezTo>
                        <a:pt x="74687" y="91565"/>
                        <a:pt x="74687" y="91565"/>
                        <a:pt x="74687" y="93324"/>
                      </a:cubicBezTo>
                      <a:cubicBezTo>
                        <a:pt x="86104" y="93324"/>
                        <a:pt x="167780" y="102995"/>
                        <a:pt x="175685" y="132889"/>
                      </a:cubicBezTo>
                      <a:cubicBezTo>
                        <a:pt x="183588" y="164541"/>
                        <a:pt x="171293" y="187401"/>
                        <a:pt x="171293" y="187401"/>
                      </a:cubicBezTo>
                      <a:cubicBezTo>
                        <a:pt x="171293" y="187401"/>
                        <a:pt x="190615" y="204107"/>
                        <a:pt x="201153" y="240155"/>
                      </a:cubicBezTo>
                      <a:cubicBezTo>
                        <a:pt x="204666" y="276204"/>
                        <a:pt x="198519" y="299943"/>
                        <a:pt x="187980" y="316648"/>
                      </a:cubicBezTo>
                      <a:cubicBezTo>
                        <a:pt x="166902" y="350059"/>
                        <a:pt x="128260" y="354455"/>
                        <a:pt x="116843" y="361489"/>
                      </a:cubicBezTo>
                      <a:cubicBezTo>
                        <a:pt x="98400" y="372919"/>
                        <a:pt x="36045" y="323682"/>
                        <a:pt x="15845" y="336871"/>
                      </a:cubicBezTo>
                      <a:lnTo>
                        <a:pt x="15845" y="336871"/>
                      </a:lnTo>
                      <a:cubicBezTo>
                        <a:pt x="-6111" y="343904"/>
                        <a:pt x="-1719" y="365885"/>
                        <a:pt x="7941" y="367644"/>
                      </a:cubicBezTo>
                      <a:cubicBezTo>
                        <a:pt x="7941" y="367644"/>
                        <a:pt x="33410" y="379074"/>
                        <a:pt x="46584" y="377315"/>
                      </a:cubicBezTo>
                      <a:cubicBezTo>
                        <a:pt x="55366" y="375557"/>
                        <a:pt x="65905" y="382590"/>
                        <a:pt x="68540" y="391383"/>
                      </a:cubicBezTo>
                      <a:cubicBezTo>
                        <a:pt x="72053" y="405451"/>
                        <a:pt x="58001" y="416001"/>
                        <a:pt x="30776" y="429190"/>
                      </a:cubicBezTo>
                      <a:lnTo>
                        <a:pt x="30776" y="429190"/>
                      </a:lnTo>
                      <a:cubicBezTo>
                        <a:pt x="11454" y="438861"/>
                        <a:pt x="39558" y="492494"/>
                        <a:pt x="39558" y="492494"/>
                      </a:cubicBezTo>
                      <a:cubicBezTo>
                        <a:pt x="39558" y="492494"/>
                        <a:pt x="53609" y="506562"/>
                        <a:pt x="109817" y="497770"/>
                      </a:cubicBezTo>
                      <a:cubicBezTo>
                        <a:pt x="124747" y="495132"/>
                        <a:pt x="138799" y="491615"/>
                        <a:pt x="152850" y="488098"/>
                      </a:cubicBezTo>
                      <a:cubicBezTo>
                        <a:pt x="152850" y="488098"/>
                        <a:pt x="217840" y="458204"/>
                        <a:pt x="231892" y="436224"/>
                      </a:cubicBezTo>
                      <a:cubicBezTo>
                        <a:pt x="236283" y="426552"/>
                        <a:pt x="241552" y="418639"/>
                        <a:pt x="244187" y="404571"/>
                      </a:cubicBezTo>
                      <a:cubicBezTo>
                        <a:pt x="244187" y="401054"/>
                        <a:pt x="239796" y="372919"/>
                        <a:pt x="238918" y="366764"/>
                      </a:cubicBezTo>
                      <a:cubicBezTo>
                        <a:pt x="235405" y="333354"/>
                        <a:pt x="236283" y="297305"/>
                        <a:pt x="237161" y="277962"/>
                      </a:cubicBezTo>
                      <a:cubicBezTo>
                        <a:pt x="239796" y="261257"/>
                        <a:pt x="247700" y="238397"/>
                        <a:pt x="278439" y="236638"/>
                      </a:cubicBezTo>
                      <a:cubicBezTo>
                        <a:pt x="315324" y="234880"/>
                        <a:pt x="325863" y="274445"/>
                        <a:pt x="317959" y="312252"/>
                      </a:cubicBezTo>
                      <a:cubicBezTo>
                        <a:pt x="315324" y="328078"/>
                        <a:pt x="305664" y="336871"/>
                        <a:pt x="296003" y="341267"/>
                      </a:cubicBezTo>
                      <a:cubicBezTo>
                        <a:pt x="296003" y="344784"/>
                        <a:pt x="297759" y="349180"/>
                        <a:pt x="298638" y="353576"/>
                      </a:cubicBezTo>
                      <a:cubicBezTo>
                        <a:pt x="298638" y="354455"/>
                        <a:pt x="326742" y="402813"/>
                        <a:pt x="342550" y="404571"/>
                      </a:cubicBezTo>
                      <a:cubicBezTo>
                        <a:pt x="358358" y="404571"/>
                        <a:pt x="365384" y="394900"/>
                        <a:pt x="372410" y="392262"/>
                      </a:cubicBezTo>
                      <a:cubicBezTo>
                        <a:pt x="375045" y="390504"/>
                        <a:pt x="383827" y="384349"/>
                        <a:pt x="384705" y="383470"/>
                      </a:cubicBezTo>
                      <a:cubicBezTo>
                        <a:pt x="418078" y="357093"/>
                        <a:pt x="433008" y="312252"/>
                        <a:pt x="441790" y="265653"/>
                      </a:cubicBezTo>
                      <a:cubicBezTo>
                        <a:pt x="464624" y="143440"/>
                        <a:pt x="375045" y="27381"/>
                        <a:pt x="251213" y="17710"/>
                      </a:cubicBezTo>
                      <a:lnTo>
                        <a:pt x="249456" y="17710"/>
                      </a:lnTo>
                      <a:close/>
                    </a:path>
                  </a:pathLst>
                </a:custGeom>
                <a:solidFill>
                  <a:srgbClr val="DEDDDC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ACB35FD3-8BB7-B95B-9A9F-649120EF37D0}"/>
                    </a:ext>
                  </a:extLst>
                </p:cNvPr>
                <p:cNvSpPr/>
                <p:nvPr/>
              </p:nvSpPr>
              <p:spPr>
                <a:xfrm>
                  <a:off x="1617810" y="-3360017"/>
                  <a:ext cx="217640" cy="270128"/>
                </a:xfrm>
                <a:custGeom>
                  <a:avLst/>
                  <a:gdLst>
                    <a:gd name="connsiteX0" fmla="*/ 216649 w 217640"/>
                    <a:gd name="connsiteY0" fmla="*/ 146832 h 270128"/>
                    <a:gd name="connsiteX1" fmla="*/ 186789 w 217640"/>
                    <a:gd name="connsiteY1" fmla="*/ 94078 h 270128"/>
                    <a:gd name="connsiteX2" fmla="*/ 191180 w 217640"/>
                    <a:gd name="connsiteY2" fmla="*/ 39565 h 270128"/>
                    <a:gd name="connsiteX3" fmla="*/ 90183 w 217640"/>
                    <a:gd name="connsiteY3" fmla="*/ 0 h 270128"/>
                    <a:gd name="connsiteX4" fmla="*/ 88426 w 217640"/>
                    <a:gd name="connsiteY4" fmla="*/ 0 h 270128"/>
                    <a:gd name="connsiteX5" fmla="*/ 46271 w 217640"/>
                    <a:gd name="connsiteY5" fmla="*/ 88802 h 270128"/>
                    <a:gd name="connsiteX6" fmla="*/ 50662 w 217640"/>
                    <a:gd name="connsiteY6" fmla="*/ 137160 h 270128"/>
                    <a:gd name="connsiteX7" fmla="*/ 37488 w 217640"/>
                    <a:gd name="connsiteY7" fmla="*/ 160020 h 270128"/>
                    <a:gd name="connsiteX8" fmla="*/ 602 w 217640"/>
                    <a:gd name="connsiteY8" fmla="*/ 218049 h 270128"/>
                    <a:gd name="connsiteX9" fmla="*/ 11141 w 217640"/>
                    <a:gd name="connsiteY9" fmla="*/ 237392 h 270128"/>
                    <a:gd name="connsiteX10" fmla="*/ 132338 w 217640"/>
                    <a:gd name="connsiteY10" fmla="*/ 268165 h 270128"/>
                    <a:gd name="connsiteX11" fmla="*/ 203475 w 217640"/>
                    <a:gd name="connsiteY11" fmla="*/ 223325 h 270128"/>
                    <a:gd name="connsiteX12" fmla="*/ 216649 w 217640"/>
                    <a:gd name="connsiteY12" fmla="*/ 146832 h 270128"/>
                    <a:gd name="connsiteX13" fmla="*/ 216649 w 217640"/>
                    <a:gd name="connsiteY13" fmla="*/ 146832 h 270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7640" h="270128">
                      <a:moveTo>
                        <a:pt x="216649" y="146832"/>
                      </a:moveTo>
                      <a:cubicBezTo>
                        <a:pt x="206988" y="116938"/>
                        <a:pt x="186789" y="94078"/>
                        <a:pt x="186789" y="94078"/>
                      </a:cubicBezTo>
                      <a:cubicBezTo>
                        <a:pt x="186789" y="94078"/>
                        <a:pt x="199084" y="72097"/>
                        <a:pt x="191180" y="39565"/>
                      </a:cubicBezTo>
                      <a:cubicBezTo>
                        <a:pt x="184154" y="9672"/>
                        <a:pt x="102478" y="1759"/>
                        <a:pt x="90183" y="0"/>
                      </a:cubicBezTo>
                      <a:lnTo>
                        <a:pt x="88426" y="0"/>
                      </a:lnTo>
                      <a:cubicBezTo>
                        <a:pt x="78766" y="16705"/>
                        <a:pt x="57688" y="55392"/>
                        <a:pt x="46271" y="88802"/>
                      </a:cubicBezTo>
                      <a:cubicBezTo>
                        <a:pt x="41001" y="104628"/>
                        <a:pt x="44514" y="121334"/>
                        <a:pt x="50662" y="137160"/>
                      </a:cubicBezTo>
                      <a:cubicBezTo>
                        <a:pt x="56810" y="152986"/>
                        <a:pt x="41880" y="152107"/>
                        <a:pt x="37488" y="160020"/>
                      </a:cubicBezTo>
                      <a:lnTo>
                        <a:pt x="602" y="218049"/>
                      </a:lnTo>
                      <a:cubicBezTo>
                        <a:pt x="602" y="218049"/>
                        <a:pt x="-3789" y="238272"/>
                        <a:pt x="11141" y="237392"/>
                      </a:cubicBezTo>
                      <a:cubicBezTo>
                        <a:pt x="26071" y="237392"/>
                        <a:pt x="113895" y="279595"/>
                        <a:pt x="132338" y="268165"/>
                      </a:cubicBezTo>
                      <a:cubicBezTo>
                        <a:pt x="143755" y="261132"/>
                        <a:pt x="182398" y="257615"/>
                        <a:pt x="203475" y="223325"/>
                      </a:cubicBezTo>
                      <a:cubicBezTo>
                        <a:pt x="214014" y="206619"/>
                        <a:pt x="220162" y="182001"/>
                        <a:pt x="216649" y="146832"/>
                      </a:cubicBezTo>
                      <a:lnTo>
                        <a:pt x="216649" y="146832"/>
                      </a:lnTo>
                      <a:close/>
                    </a:path>
                  </a:pathLst>
                </a:custGeom>
                <a:solidFill>
                  <a:srgbClr val="DE9C74"/>
                </a:solidFill>
                <a:ln w="13174" cap="flat">
                  <a:solidFill>
                    <a:srgbClr val="28180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02" name="Freeform 101">
                <a:extLst>
                  <a:ext uri="{FF2B5EF4-FFF2-40B4-BE49-F238E27FC236}">
                    <a16:creationId xmlns:a16="http://schemas.microsoft.com/office/drawing/2014/main" id="{BCE7E35E-0FAE-BDC3-B898-2633A7ACBBDB}"/>
                  </a:ext>
                </a:extLst>
              </p:cNvPr>
              <p:cNvSpPr/>
              <p:nvPr/>
            </p:nvSpPr>
            <p:spPr>
              <a:xfrm>
                <a:off x="1131869" y="-2923919"/>
                <a:ext cx="1516715" cy="1346102"/>
              </a:xfrm>
              <a:custGeom>
                <a:avLst/>
                <a:gdLst>
                  <a:gd name="connsiteX0" fmla="*/ 349539 w 1516715"/>
                  <a:gd name="connsiteY0" fmla="*/ 654148 h 1346102"/>
                  <a:gd name="connsiteX1" fmla="*/ 345147 w 1516715"/>
                  <a:gd name="connsiteY1" fmla="*/ 805375 h 1346102"/>
                  <a:gd name="connsiteX2" fmla="*/ 340756 w 1516715"/>
                  <a:gd name="connsiteY2" fmla="*/ 1253783 h 1346102"/>
                  <a:gd name="connsiteX3" fmla="*/ 753528 w 1516715"/>
                  <a:gd name="connsiteY3" fmla="*/ 1269609 h 1346102"/>
                  <a:gd name="connsiteX4" fmla="*/ 783388 w 1516715"/>
                  <a:gd name="connsiteY4" fmla="*/ 1219493 h 1346102"/>
                  <a:gd name="connsiteX5" fmla="*/ 822030 w 1516715"/>
                  <a:gd name="connsiteY5" fmla="*/ 1272247 h 1346102"/>
                  <a:gd name="connsiteX6" fmla="*/ 1222506 w 1516715"/>
                  <a:gd name="connsiteY6" fmla="*/ 1287194 h 1346102"/>
                  <a:gd name="connsiteX7" fmla="*/ 1208455 w 1516715"/>
                  <a:gd name="connsiteY7" fmla="*/ 867801 h 1346102"/>
                  <a:gd name="connsiteX8" fmla="*/ 1182986 w 1516715"/>
                  <a:gd name="connsiteY8" fmla="*/ 659423 h 1346102"/>
                  <a:gd name="connsiteX9" fmla="*/ 1219872 w 1516715"/>
                  <a:gd name="connsiteY9" fmla="*/ 859888 h 1346102"/>
                  <a:gd name="connsiteX10" fmla="*/ 1311208 w 1516715"/>
                  <a:gd name="connsiteY10" fmla="*/ 1346102 h 1346102"/>
                  <a:gd name="connsiteX11" fmla="*/ 1516716 w 1516715"/>
                  <a:gd name="connsiteY11" fmla="*/ 1337310 h 1346102"/>
                  <a:gd name="connsiteX12" fmla="*/ 1459630 w 1516715"/>
                  <a:gd name="connsiteY12" fmla="*/ 726244 h 1346102"/>
                  <a:gd name="connsiteX13" fmla="*/ 1283983 w 1516715"/>
                  <a:gd name="connsiteY13" fmla="*/ 144194 h 1346102"/>
                  <a:gd name="connsiteX14" fmla="*/ 1214602 w 1516715"/>
                  <a:gd name="connsiteY14" fmla="*/ 76493 h 1346102"/>
                  <a:gd name="connsiteX15" fmla="*/ 994164 w 1516715"/>
                  <a:gd name="connsiteY15" fmla="*/ 13188 h 1346102"/>
                  <a:gd name="connsiteX16" fmla="*/ 908097 w 1516715"/>
                  <a:gd name="connsiteY16" fmla="*/ 0 h 1346102"/>
                  <a:gd name="connsiteX17" fmla="*/ 784266 w 1516715"/>
                  <a:gd name="connsiteY17" fmla="*/ 555674 h 1346102"/>
                  <a:gd name="connsiteX18" fmla="*/ 647261 w 1516715"/>
                  <a:gd name="connsiteY18" fmla="*/ 4396 h 1346102"/>
                  <a:gd name="connsiteX19" fmla="*/ 329339 w 1516715"/>
                  <a:gd name="connsiteY19" fmla="*/ 88802 h 1346102"/>
                  <a:gd name="connsiteX20" fmla="*/ 5269 w 1516715"/>
                  <a:gd name="connsiteY20" fmla="*/ 729761 h 1346102"/>
                  <a:gd name="connsiteX21" fmla="*/ 0 w 1516715"/>
                  <a:gd name="connsiteY21" fmla="*/ 766689 h 134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16715" h="1346102">
                    <a:moveTo>
                      <a:pt x="349539" y="654148"/>
                    </a:moveTo>
                    <a:lnTo>
                      <a:pt x="345147" y="805375"/>
                    </a:lnTo>
                    <a:cubicBezTo>
                      <a:pt x="324070" y="962758"/>
                      <a:pt x="323191" y="1152671"/>
                      <a:pt x="340756" y="1253783"/>
                    </a:cubicBezTo>
                    <a:lnTo>
                      <a:pt x="753528" y="1269609"/>
                    </a:lnTo>
                    <a:lnTo>
                      <a:pt x="783388" y="1219493"/>
                    </a:lnTo>
                    <a:lnTo>
                      <a:pt x="822030" y="1272247"/>
                    </a:lnTo>
                    <a:lnTo>
                      <a:pt x="1222506" y="1287194"/>
                    </a:lnTo>
                    <a:lnTo>
                      <a:pt x="1208455" y="867801"/>
                    </a:lnTo>
                    <a:lnTo>
                      <a:pt x="1182986" y="659423"/>
                    </a:lnTo>
                    <a:lnTo>
                      <a:pt x="1219872" y="859888"/>
                    </a:lnTo>
                    <a:cubicBezTo>
                      <a:pt x="1243584" y="1108710"/>
                      <a:pt x="1311208" y="1346102"/>
                      <a:pt x="1311208" y="1346102"/>
                    </a:cubicBezTo>
                    <a:lnTo>
                      <a:pt x="1516716" y="1337310"/>
                    </a:lnTo>
                    <a:cubicBezTo>
                      <a:pt x="1516716" y="1337310"/>
                      <a:pt x="1486856" y="1076178"/>
                      <a:pt x="1459630" y="726244"/>
                    </a:cubicBezTo>
                    <a:cubicBezTo>
                      <a:pt x="1431527" y="376311"/>
                      <a:pt x="1283983" y="144194"/>
                      <a:pt x="1283983" y="144194"/>
                    </a:cubicBezTo>
                    <a:cubicBezTo>
                      <a:pt x="1283983" y="144194"/>
                      <a:pt x="1261149" y="90561"/>
                      <a:pt x="1214602" y="76493"/>
                    </a:cubicBezTo>
                    <a:cubicBezTo>
                      <a:pt x="1181229" y="60667"/>
                      <a:pt x="1087258" y="32532"/>
                      <a:pt x="994164" y="13188"/>
                    </a:cubicBezTo>
                    <a:cubicBezTo>
                      <a:pt x="967817" y="7913"/>
                      <a:pt x="938836" y="2638"/>
                      <a:pt x="908097" y="0"/>
                    </a:cubicBezTo>
                    <a:cubicBezTo>
                      <a:pt x="903706" y="0"/>
                      <a:pt x="784266" y="555674"/>
                      <a:pt x="784266" y="555674"/>
                    </a:cubicBezTo>
                    <a:lnTo>
                      <a:pt x="647261" y="4396"/>
                    </a:lnTo>
                    <a:cubicBezTo>
                      <a:pt x="556802" y="17585"/>
                      <a:pt x="432971" y="43962"/>
                      <a:pt x="329339" y="88802"/>
                    </a:cubicBezTo>
                    <a:cubicBezTo>
                      <a:pt x="329339" y="88802"/>
                      <a:pt x="199360" y="283992"/>
                      <a:pt x="5269" y="729761"/>
                    </a:cubicBezTo>
                    <a:cubicBezTo>
                      <a:pt x="5269" y="731520"/>
                      <a:pt x="0" y="763172"/>
                      <a:pt x="0" y="766689"/>
                    </a:cubicBezTo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Freeform 102">
                <a:extLst>
                  <a:ext uri="{FF2B5EF4-FFF2-40B4-BE49-F238E27FC236}">
                    <a16:creationId xmlns:a16="http://schemas.microsoft.com/office/drawing/2014/main" id="{085DB838-8614-89EF-83AA-7F3F2B8BC3A8}"/>
                  </a:ext>
                </a:extLst>
              </p:cNvPr>
              <p:cNvSpPr/>
              <p:nvPr/>
            </p:nvSpPr>
            <p:spPr>
              <a:xfrm>
                <a:off x="1130112" y="-2269771"/>
                <a:ext cx="420675" cy="768447"/>
              </a:xfrm>
              <a:custGeom>
                <a:avLst/>
                <a:gdLst>
                  <a:gd name="connsiteX0" fmla="*/ 351295 w 420675"/>
                  <a:gd name="connsiteY0" fmla="*/ 0 h 768447"/>
                  <a:gd name="connsiteX1" fmla="*/ 274010 w 420675"/>
                  <a:gd name="connsiteY1" fmla="*/ 162658 h 768447"/>
                  <a:gd name="connsiteX2" fmla="*/ 420676 w 420675"/>
                  <a:gd name="connsiteY2" fmla="*/ 575896 h 768447"/>
                  <a:gd name="connsiteX3" fmla="*/ 359199 w 420675"/>
                  <a:gd name="connsiteY3" fmla="*/ 768448 h 768447"/>
                  <a:gd name="connsiteX4" fmla="*/ 0 w 420675"/>
                  <a:gd name="connsiteY4" fmla="*/ 85285 h 768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675" h="768447">
                    <a:moveTo>
                      <a:pt x="351295" y="0"/>
                    </a:moveTo>
                    <a:cubicBezTo>
                      <a:pt x="319678" y="46599"/>
                      <a:pt x="303870" y="127488"/>
                      <a:pt x="274010" y="162658"/>
                    </a:cubicBezTo>
                    <a:cubicBezTo>
                      <a:pt x="279280" y="288388"/>
                      <a:pt x="343391" y="429944"/>
                      <a:pt x="420676" y="575896"/>
                    </a:cubicBezTo>
                    <a:cubicBezTo>
                      <a:pt x="390816" y="677008"/>
                      <a:pt x="374129" y="697230"/>
                      <a:pt x="359199" y="768448"/>
                    </a:cubicBezTo>
                    <a:cubicBezTo>
                      <a:pt x="2635" y="439615"/>
                      <a:pt x="2635" y="156503"/>
                      <a:pt x="0" y="85285"/>
                    </a:cubicBezTo>
                  </a:path>
                </a:pathLst>
              </a:custGeom>
              <a:solidFill>
                <a:srgbClr val="281805"/>
              </a:solidFill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" name="Freeform 103">
                <a:extLst>
                  <a:ext uri="{FF2B5EF4-FFF2-40B4-BE49-F238E27FC236}">
                    <a16:creationId xmlns:a16="http://schemas.microsoft.com/office/drawing/2014/main" id="{DD5B5A42-9899-71E9-9AAF-957BC2ED8547}"/>
                  </a:ext>
                </a:extLst>
              </p:cNvPr>
              <p:cNvSpPr/>
              <p:nvPr/>
            </p:nvSpPr>
            <p:spPr>
              <a:xfrm>
                <a:off x="1914378" y="-2917764"/>
                <a:ext cx="244149" cy="548639"/>
              </a:xfrm>
              <a:custGeom>
                <a:avLst/>
                <a:gdLst>
                  <a:gd name="connsiteX0" fmla="*/ 0 w 244149"/>
                  <a:gd name="connsiteY0" fmla="*/ 548640 h 548639"/>
                  <a:gd name="connsiteX1" fmla="*/ 207264 w 244149"/>
                  <a:gd name="connsiteY1" fmla="*/ 151228 h 548639"/>
                  <a:gd name="connsiteX2" fmla="*/ 176525 w 244149"/>
                  <a:gd name="connsiteY2" fmla="*/ 117817 h 548639"/>
                  <a:gd name="connsiteX3" fmla="*/ 244150 w 244149"/>
                  <a:gd name="connsiteY3" fmla="*/ 106387 h 548639"/>
                  <a:gd name="connsiteX4" fmla="*/ 185308 w 244149"/>
                  <a:gd name="connsiteY4" fmla="*/ 0 h 54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149" h="548639">
                    <a:moveTo>
                      <a:pt x="0" y="548640"/>
                    </a:moveTo>
                    <a:lnTo>
                      <a:pt x="207264" y="151228"/>
                    </a:lnTo>
                    <a:lnTo>
                      <a:pt x="176525" y="117817"/>
                    </a:lnTo>
                    <a:lnTo>
                      <a:pt x="244150" y="106387"/>
                    </a:lnTo>
                    <a:lnTo>
                      <a:pt x="185308" y="0"/>
                    </a:lnTo>
                  </a:path>
                </a:pathLst>
              </a:custGeom>
              <a:noFill/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" name="Freeform 104">
                <a:extLst>
                  <a:ext uri="{FF2B5EF4-FFF2-40B4-BE49-F238E27FC236}">
                    <a16:creationId xmlns:a16="http://schemas.microsoft.com/office/drawing/2014/main" id="{ADF0E270-D347-70B1-19DF-C925BBC2E865}"/>
                  </a:ext>
                </a:extLst>
              </p:cNvPr>
              <p:cNvSpPr/>
              <p:nvPr/>
            </p:nvSpPr>
            <p:spPr>
              <a:xfrm>
                <a:off x="1678132" y="-2913368"/>
                <a:ext cx="236246" cy="1208942"/>
              </a:xfrm>
              <a:custGeom>
                <a:avLst/>
                <a:gdLst>
                  <a:gd name="connsiteX0" fmla="*/ 56207 w 236246"/>
                  <a:gd name="connsiteY0" fmla="*/ 0 h 1208942"/>
                  <a:gd name="connsiteX1" fmla="*/ 0 w 236246"/>
                  <a:gd name="connsiteY1" fmla="*/ 101991 h 1208942"/>
                  <a:gd name="connsiteX2" fmla="*/ 67624 w 236246"/>
                  <a:gd name="connsiteY2" fmla="*/ 113421 h 1208942"/>
                  <a:gd name="connsiteX3" fmla="*/ 36886 w 236246"/>
                  <a:gd name="connsiteY3" fmla="*/ 146831 h 1208942"/>
                  <a:gd name="connsiteX4" fmla="*/ 236246 w 236246"/>
                  <a:gd name="connsiteY4" fmla="*/ 547761 h 1208942"/>
                  <a:gd name="connsiteX5" fmla="*/ 236246 w 236246"/>
                  <a:gd name="connsiteY5" fmla="*/ 1208942 h 1208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246" h="1208942">
                    <a:moveTo>
                      <a:pt x="56207" y="0"/>
                    </a:moveTo>
                    <a:lnTo>
                      <a:pt x="0" y="101991"/>
                    </a:lnTo>
                    <a:lnTo>
                      <a:pt x="67624" y="113421"/>
                    </a:lnTo>
                    <a:lnTo>
                      <a:pt x="36886" y="146831"/>
                    </a:lnTo>
                    <a:lnTo>
                      <a:pt x="236246" y="547761"/>
                    </a:lnTo>
                    <a:lnTo>
                      <a:pt x="236246" y="1208942"/>
                    </a:lnTo>
                  </a:path>
                </a:pathLst>
              </a:custGeom>
              <a:noFill/>
              <a:ln w="13174" cap="flat">
                <a:solidFill>
                  <a:srgbClr val="28180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55F261C4-D3E1-F12C-2459-A35525254626}"/>
                </a:ext>
              </a:extLst>
            </p:cNvPr>
            <p:cNvSpPr/>
            <p:nvPr/>
          </p:nvSpPr>
          <p:spPr>
            <a:xfrm>
              <a:off x="3304628" y="-2571348"/>
              <a:ext cx="11417" cy="66821"/>
            </a:xfrm>
            <a:custGeom>
              <a:avLst/>
              <a:gdLst>
                <a:gd name="connsiteX0" fmla="*/ 0 w 11417"/>
                <a:gd name="connsiteY0" fmla="*/ 0 h 66821"/>
                <a:gd name="connsiteX1" fmla="*/ 11417 w 11417"/>
                <a:gd name="connsiteY1" fmla="*/ 66822 h 6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7" h="66821">
                  <a:moveTo>
                    <a:pt x="0" y="0"/>
                  </a:moveTo>
                  <a:lnTo>
                    <a:pt x="11417" y="66822"/>
                  </a:lnTo>
                </a:path>
              </a:pathLst>
            </a:custGeom>
            <a:ln w="13174" cap="rnd">
              <a:solidFill>
                <a:srgbClr val="28180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19892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075636"/>
            <a:ext cx="5545138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596235"/>
            <a:ext cx="5545137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71FECBDB-0204-F169-0062-7F4D852B9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1116DF71-C805-4A66-B529-6672142A24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B2D267A-80E5-F6A6-3F99-9246BAD699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798983"/>
            <a:ext cx="5545138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ECF7ACC-BCF3-5887-B2AB-0F2A28C247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9198" y="541236"/>
            <a:ext cx="4474694" cy="5749959"/>
          </a:xfrm>
          <a:prstGeom prst="rect">
            <a:avLst/>
          </a:prstGeom>
        </p:spPr>
      </p:pic>
      <p:sp>
        <p:nvSpPr>
          <p:cNvPr id="57" name="Freeform 56">
            <a:extLst>
              <a:ext uri="{FF2B5EF4-FFF2-40B4-BE49-F238E27FC236}">
                <a16:creationId xmlns:a16="http://schemas.microsoft.com/office/drawing/2014/main" id="{7E43ED5B-313E-51C4-A761-B3FCF03DB8CC}"/>
              </a:ext>
            </a:extLst>
          </p:cNvPr>
          <p:cNvSpPr/>
          <p:nvPr/>
        </p:nvSpPr>
        <p:spPr>
          <a:xfrm>
            <a:off x="13782317" y="1075636"/>
            <a:ext cx="10641" cy="10639"/>
          </a:xfrm>
          <a:custGeom>
            <a:avLst/>
            <a:gdLst/>
            <a:ahLst/>
            <a:cxnLst/>
            <a:rect l="l" t="t" r="r" b="b"/>
            <a:pathLst>
              <a:path w="10641" h="10639"/>
            </a:pathLst>
          </a:custGeom>
          <a:solidFill>
            <a:srgbClr val="7A3E1A"/>
          </a:solidFill>
          <a:ln w="15960" cap="flat">
            <a:solidFill>
              <a:srgbClr val="28180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A12E521-AD10-7DDB-5C9A-9777740B95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4026" r="18254"/>
          <a:stretch>
            <a:fillRect/>
          </a:stretch>
        </p:blipFill>
        <p:spPr>
          <a:xfrm>
            <a:off x="535307" y="703360"/>
            <a:ext cx="4642475" cy="5658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0597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5DCC880C-AA17-DC67-FACE-EF362931E7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21A907D-FCCD-7731-894A-AD523A240F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1D18EAE-179B-9CD3-BF39-4E8E80B1C3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B304E1-BD23-0C90-293D-4DB64525C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7F99191-1444-7AB5-122A-B43964FD0E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0823776-4915-2D63-94B1-1834FA6481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98667E8-42C5-301D-F411-7450F6FB736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 flipH="1">
            <a:off x="6945998" y="1597930"/>
            <a:ext cx="6858002" cy="3662142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79B629D-9F42-CEF1-E62F-A03E4DD9E0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34533"/>
          <a:stretch>
            <a:fillRect/>
          </a:stretch>
        </p:blipFill>
        <p:spPr>
          <a:xfrm>
            <a:off x="5538497" y="210590"/>
            <a:ext cx="6487956" cy="691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490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and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9C46B0-2378-8315-7738-F496692F1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18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9C46B0-2378-8315-7738-F496692F1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B89BA7CA-6817-FBE9-C8BD-6F0C5C96B1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5308099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D3EE12C-CC41-41E6-5C92-C9962B40B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596235"/>
            <a:ext cx="5308098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Main heading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9F50714D-138E-9C06-92E6-3A2016884F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584200"/>
            <a:ext cx="5545138" cy="5689598"/>
          </a:xfrm>
          <a:custGeom>
            <a:avLst/>
            <a:gdLst>
              <a:gd name="connsiteX0" fmla="*/ 2810626 w 5621249"/>
              <a:gd name="connsiteY0" fmla="*/ 0 h 5886870"/>
              <a:gd name="connsiteX1" fmla="*/ 5621249 w 5621249"/>
              <a:gd name="connsiteY1" fmla="*/ 1455691 h 5886870"/>
              <a:gd name="connsiteX2" fmla="*/ 5621249 w 5621249"/>
              <a:gd name="connsiteY2" fmla="*/ 4431180 h 5886870"/>
              <a:gd name="connsiteX3" fmla="*/ 2810626 w 5621249"/>
              <a:gd name="connsiteY3" fmla="*/ 5886870 h 5886870"/>
              <a:gd name="connsiteX4" fmla="*/ 0 w 5621249"/>
              <a:gd name="connsiteY4" fmla="*/ 4431180 h 5886870"/>
              <a:gd name="connsiteX5" fmla="*/ 0 w 5621249"/>
              <a:gd name="connsiteY5" fmla="*/ 1455691 h 5886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21249" h="5886870">
                <a:moveTo>
                  <a:pt x="2810626" y="0"/>
                </a:moveTo>
                <a:lnTo>
                  <a:pt x="5621249" y="1455691"/>
                </a:lnTo>
                <a:lnTo>
                  <a:pt x="5621249" y="4431180"/>
                </a:lnTo>
                <a:lnTo>
                  <a:pt x="2810626" y="5886870"/>
                </a:lnTo>
                <a:lnTo>
                  <a:pt x="0" y="4431180"/>
                </a:lnTo>
                <a:lnTo>
                  <a:pt x="0" y="145569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A62E0A5D-0204-667F-81E7-019090AE1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F16D819-1FBF-F7A1-E70C-F4212DA7A7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798983"/>
            <a:ext cx="5308099" cy="4474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74123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BBB924CD-4376-F4B5-1F60-B7F0ECE806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584200"/>
            <a:ext cx="5508624" cy="5689598"/>
          </a:xfrm>
          <a:custGeom>
            <a:avLst/>
            <a:gdLst>
              <a:gd name="connsiteX0" fmla="*/ 2810626 w 5621249"/>
              <a:gd name="connsiteY0" fmla="*/ 0 h 5886870"/>
              <a:gd name="connsiteX1" fmla="*/ 5621249 w 5621249"/>
              <a:gd name="connsiteY1" fmla="*/ 1455691 h 5886870"/>
              <a:gd name="connsiteX2" fmla="*/ 5621249 w 5621249"/>
              <a:gd name="connsiteY2" fmla="*/ 4431180 h 5886870"/>
              <a:gd name="connsiteX3" fmla="*/ 2810626 w 5621249"/>
              <a:gd name="connsiteY3" fmla="*/ 5886870 h 5886870"/>
              <a:gd name="connsiteX4" fmla="*/ 0 w 5621249"/>
              <a:gd name="connsiteY4" fmla="*/ 4431180 h 5886870"/>
              <a:gd name="connsiteX5" fmla="*/ 0 w 5621249"/>
              <a:gd name="connsiteY5" fmla="*/ 1455691 h 5886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21249" h="5886870">
                <a:moveTo>
                  <a:pt x="2810626" y="0"/>
                </a:moveTo>
                <a:lnTo>
                  <a:pt x="5621249" y="1455691"/>
                </a:lnTo>
                <a:lnTo>
                  <a:pt x="5621249" y="4431180"/>
                </a:lnTo>
                <a:lnTo>
                  <a:pt x="2810626" y="5886870"/>
                </a:lnTo>
                <a:lnTo>
                  <a:pt x="0" y="4431180"/>
                </a:lnTo>
                <a:lnTo>
                  <a:pt x="0" y="145569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203200" tIns="201600" rIns="201600" bIns="201600" anchor="ctr" anchorCtr="0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EA18024-7C5D-701D-6A5B-AF45B261B4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1525" y="596235"/>
            <a:ext cx="5309611" cy="851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D86047EE-2903-BD82-FECF-200DDD602E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6" name="footnotes">
            <a:extLst>
              <a:ext uri="{FF2B5EF4-FFF2-40B4-BE49-F238E27FC236}">
                <a16:creationId xmlns:a16="http://schemas.microsoft.com/office/drawing/2014/main" id="{0B25229C-52C5-7415-495C-F772A3D88D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1523" y="6102000"/>
            <a:ext cx="4325967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CBC38DE-ACBF-BFF8-8AFF-8F65FC13F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1527" y="1996068"/>
            <a:ext cx="5309610" cy="2888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33219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C4EED20-35EA-6D7D-502E-B36EC673B7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221883"/>
            <a:ext cx="11053763" cy="4704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F1B380C-EB89-6D85-0069-62A3657F0A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53C97C16-A0EF-3E4C-23B4-6155B7D36D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024106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907A4DF-9CC9-3C34-8870-D03E46A5FC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774800"/>
            <a:ext cx="5400000" cy="4320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346CE513-7312-2A6D-0C76-F2ABB84848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2128" y="1774800"/>
            <a:ext cx="5400000" cy="4320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E1DA8DA-55FF-4B3E-7F26-D36A55507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3B654909-BC74-6DDA-3717-E5F5F7B4A6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1229952"/>
            <a:ext cx="5400626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6CCDE6BC-4F1F-F5B6-9079-460E195F77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52128" y="1229952"/>
            <a:ext cx="5400000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6" name="footnotes">
            <a:extLst>
              <a:ext uri="{FF2B5EF4-FFF2-40B4-BE49-F238E27FC236}">
                <a16:creationId xmlns:a16="http://schemas.microsoft.com/office/drawing/2014/main" id="{2C8561DC-F282-A78B-50CE-969241AA5A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449553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536D00D-2B69-EC86-D340-65300A70ED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4" y="1814992"/>
            <a:ext cx="3492626" cy="4180694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4E9C609-7BDF-6E14-1E47-C6C0FB352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6000" y="1814992"/>
            <a:ext cx="3600000" cy="4180694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B426A07-0A31-5B91-1A45-38A07DC057B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12000" y="1814992"/>
            <a:ext cx="3529137" cy="4180694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5C79F4E-B1FB-FBC4-6D03-2ABBC035C4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D2EB9582-0926-84B4-39F2-68C9ACD018A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1229952"/>
            <a:ext cx="3492624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38B5318D-76DE-DD4A-54C7-864036D8D0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6000" y="1229952"/>
            <a:ext cx="3492624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14883E3A-F329-138C-20E8-C6B03B8F6F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12000" y="1229952"/>
            <a:ext cx="3492624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lick to edit chart heading</a:t>
            </a:r>
          </a:p>
        </p:txBody>
      </p:sp>
      <p:sp>
        <p:nvSpPr>
          <p:cNvPr id="6" name="footnotes">
            <a:extLst>
              <a:ext uri="{FF2B5EF4-FFF2-40B4-BE49-F238E27FC236}">
                <a16:creationId xmlns:a16="http://schemas.microsoft.com/office/drawing/2014/main" id="{D37506C3-7B3E-2A4A-70C9-C50CBF1E85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68489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2021869F-D8BE-65EC-3EFC-62D7A43587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38B7E782-0276-ABEC-AC1C-388395CCF8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92653E-166E-38D8-1BC8-C5D6FBA292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3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183CE785-ABC0-52A7-2297-FFB4A13B98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08000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FDCCD86D-418E-BE12-3063-D9860A5D032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36000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59F0522D-B4DE-CD7F-1714-BFF3DC5D5CDD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93137" y="1729408"/>
            <a:ext cx="2448000" cy="436539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E93FB406-3B27-A118-DB18-049626F9E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000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98E7E66E-9331-BF78-F088-CC1507438D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36000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088C1518-30B9-2C18-63ED-801D2D3E9B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93139" y="1229952"/>
            <a:ext cx="2447999" cy="324000"/>
          </a:xfrm>
        </p:spPr>
        <p:txBody>
          <a:bodyPr>
            <a:noAutofit/>
          </a:bodyPr>
          <a:lstStyle>
            <a:lvl1pPr>
              <a:defRPr sz="1800" b="1">
                <a:latin typeface="+mn-lt"/>
              </a:defRPr>
            </a:lvl1pPr>
          </a:lstStyle>
          <a:p>
            <a:pPr lvl="0"/>
            <a:r>
              <a:rPr lang="en-GB"/>
              <a:t>chart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761F1022-3A52-842C-5123-AA41028E0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530947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D49B2E-97E6-D9F8-718B-A17FB3241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5DAA0C9C-5C56-49D6-1AC6-3571B708DB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2396943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660CB3EB-D911-068E-EFD8-9CAF76591B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D08538-F249-ACC9-C269-6FB8F093FC1D}"/>
              </a:ext>
            </a:extLst>
          </p:cNvPr>
          <p:cNvSpPr txBox="1"/>
          <p:nvPr userDrawn="1"/>
        </p:nvSpPr>
        <p:spPr>
          <a:xfrm>
            <a:off x="562131" y="661815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kern="100" spc="-30"/>
          </a:p>
        </p:txBody>
      </p:sp>
    </p:spTree>
    <p:extLst>
      <p:ext uri="{BB962C8B-B14F-4D97-AF65-F5344CB8AC3E}">
        <p14:creationId xmlns:p14="http://schemas.microsoft.com/office/powerpoint/2010/main" val="1848215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71201" y="1595671"/>
            <a:ext cx="5363719" cy="684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300"/>
              </a:spcBef>
              <a:defRPr sz="1600" b="1"/>
            </a:lvl1pPr>
            <a:lvl2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093464-3095-F78A-B2E2-863308B11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1201" y="2309563"/>
            <a:ext cx="2556000" cy="295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A55CB9-BA61-9A40-7BB0-B8BD345AD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8920" y="2309563"/>
            <a:ext cx="2556000" cy="3046208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B6113062-1D91-EC7D-6945-C25F22130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45DEFE8B-4606-FC48-F916-C19283E5F1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5" y="1595671"/>
            <a:ext cx="5339472" cy="684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300"/>
              </a:spcBef>
              <a:defRPr sz="1600" b="1"/>
            </a:lvl1pPr>
            <a:lvl2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B35C85BB-8C0F-03CB-68D4-2B200A528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87375" y="2309563"/>
            <a:ext cx="2556000" cy="295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27D3E646-7529-805E-C883-B8C09B6A5EF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70847" y="2309563"/>
            <a:ext cx="2556000" cy="29520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2FD32158-CA7A-863A-1719-88BE9C70C5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514496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87375" y="1554108"/>
            <a:ext cx="3492000" cy="540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093464-3095-F78A-B2E2-863308B11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2094108"/>
            <a:ext cx="349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A55CB9-BA61-9A40-7BB0-B8BD345AD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7375" y="4104000"/>
            <a:ext cx="3492000" cy="183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7" name="Name">
            <a:extLst>
              <a:ext uri="{FF2B5EF4-FFF2-40B4-BE49-F238E27FC236}">
                <a16:creationId xmlns:a16="http://schemas.microsoft.com/office/drawing/2014/main" id="{87D54A67-96F9-8691-B724-52896F51B5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9144" y="1554108"/>
            <a:ext cx="3492000" cy="540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58" name="Picture Placeholder 16">
            <a:extLst>
              <a:ext uri="{FF2B5EF4-FFF2-40B4-BE49-F238E27FC236}">
                <a16:creationId xmlns:a16="http://schemas.microsoft.com/office/drawing/2014/main" id="{C23838DB-C9C8-8D7E-C987-8EC962FBF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59144" y="2094108"/>
            <a:ext cx="349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5B706369-B81D-4A5C-BEF1-A0BC15B643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59144" y="4104000"/>
            <a:ext cx="3492000" cy="183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Name">
            <a:extLst>
              <a:ext uri="{FF2B5EF4-FFF2-40B4-BE49-F238E27FC236}">
                <a16:creationId xmlns:a16="http://schemas.microsoft.com/office/drawing/2014/main" id="{5F2A3F5B-C07A-B1D0-5E4B-C6948BAD8C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9137" y="1562880"/>
            <a:ext cx="3492000" cy="540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F3CF9A67-D10C-4D4B-5C00-7D932A04E8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49137" y="2102880"/>
            <a:ext cx="349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E929FF09-CFC1-C80B-2197-2C857D9BC02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49137" y="4112772"/>
            <a:ext cx="3492000" cy="183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C7D52EC-77FE-52B8-8520-5A955E0C0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7BE143D1-09C8-EA15-4F7A-26150B4E44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18907527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48B5E5E6-46C5-C5FB-B84C-8786631B6A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2273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56E353B-FE13-3E43-79DF-F5007735A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2272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D142ECC-8720-B38C-F938-BEE77618D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2272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B4BDA9A-EAAE-5D7C-031C-0C032BBF48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2272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9B26A0F-2CBF-58D1-5428-894A4AC424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2272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DDADA2B-D2CF-39B5-8286-AD5CD424B1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2272" y="2127876"/>
            <a:ext cx="5015681" cy="1555667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D0F4BD37-F703-3C6F-A72C-3EF89F70DB5C}"/>
              </a:ext>
            </a:extLst>
          </p:cNvPr>
          <p:cNvGrpSpPr/>
          <p:nvPr userDrawn="1"/>
        </p:nvGrpSpPr>
        <p:grpSpPr>
          <a:xfrm>
            <a:off x="-1037312" y="896107"/>
            <a:ext cx="8250014" cy="5804357"/>
            <a:chOff x="-1037312" y="825767"/>
            <a:chExt cx="8250014" cy="5804357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BD236820-F1A3-037F-2F07-93A009C968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7489" y="1191966"/>
              <a:ext cx="4615031" cy="4615031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C18C845B-EAB7-1FD3-C99C-921309E33D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-1037312" y="825767"/>
              <a:ext cx="8250014" cy="58043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1816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5382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87375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093464-3095-F78A-B2E2-863308B11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A55CB9-BA61-9A40-7BB0-B8BD345AD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7375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7" name="Name">
            <a:extLst>
              <a:ext uri="{FF2B5EF4-FFF2-40B4-BE49-F238E27FC236}">
                <a16:creationId xmlns:a16="http://schemas.microsoft.com/office/drawing/2014/main" id="{87D54A67-96F9-8691-B724-52896F51B5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0000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58" name="Picture Placeholder 16">
            <a:extLst>
              <a:ext uri="{FF2B5EF4-FFF2-40B4-BE49-F238E27FC236}">
                <a16:creationId xmlns:a16="http://schemas.microsoft.com/office/drawing/2014/main" id="{C23838DB-C9C8-8D7E-C987-8EC962FBF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420000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5B706369-B81D-4A5C-BEF1-A0BC15B643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0000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Name">
            <a:extLst>
              <a:ext uri="{FF2B5EF4-FFF2-40B4-BE49-F238E27FC236}">
                <a16:creationId xmlns:a16="http://schemas.microsoft.com/office/drawing/2014/main" id="{5F2A3F5B-C07A-B1D0-5E4B-C6948BAD8C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60000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F3CF9A67-D10C-4D4B-5C00-7D932A04E8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60000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E929FF09-CFC1-C80B-2197-2C857D9BC02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60000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8" name="Name">
            <a:extLst>
              <a:ext uri="{FF2B5EF4-FFF2-40B4-BE49-F238E27FC236}">
                <a16:creationId xmlns:a16="http://schemas.microsoft.com/office/drawing/2014/main" id="{9156FAE6-7FAF-8CD0-1115-28AE5D4844C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29138" y="1554108"/>
            <a:ext cx="2412000" cy="43200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200"/>
              </a:spcBef>
              <a:defRPr sz="1200" b="1"/>
            </a:lvl1pPr>
            <a:lvl2pPr marL="0" indent="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​"/>
              <a:defRPr sz="12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6" name="Picture Placeholder 16">
            <a:extLst>
              <a:ext uri="{FF2B5EF4-FFF2-40B4-BE49-F238E27FC236}">
                <a16:creationId xmlns:a16="http://schemas.microsoft.com/office/drawing/2014/main" id="{2BFF0F51-1E18-4B8F-C7DE-8EC473064E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229138" y="1986108"/>
            <a:ext cx="241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 anchor="ctr" anchorCtr="0">
            <a:noAutofit/>
          </a:bodyPr>
          <a:lstStyle>
            <a:lvl1pPr algn="ctr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A9561B99-449E-4769-2EAB-6972E0A58B7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9138" y="3996000"/>
            <a:ext cx="2412000" cy="1836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B86C685-A85C-4587-FE4A-757736055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D1668DF-F9A2-EB40-29FF-CD5C46B476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672339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hoto">
            <a:extLst>
              <a:ext uri="{FF2B5EF4-FFF2-40B4-BE49-F238E27FC236}">
                <a16:creationId xmlns:a16="http://schemas.microsoft.com/office/drawing/2014/main" id="{30F70C74-F4B1-3B37-BACC-5FBA204E66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87375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6" name="Name">
            <a:extLst>
              <a:ext uri="{FF2B5EF4-FFF2-40B4-BE49-F238E27FC236}">
                <a16:creationId xmlns:a16="http://schemas.microsoft.com/office/drawing/2014/main" id="{E2D042C5-ED9A-EC05-248E-E87546060C7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31301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7" name="Photo">
            <a:extLst>
              <a:ext uri="{FF2B5EF4-FFF2-40B4-BE49-F238E27FC236}">
                <a16:creationId xmlns:a16="http://schemas.microsoft.com/office/drawing/2014/main" id="{FE0DD311-5C76-EFD9-E991-566599DBB2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446030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8" name="Name">
            <a:extLst>
              <a:ext uri="{FF2B5EF4-FFF2-40B4-BE49-F238E27FC236}">
                <a16:creationId xmlns:a16="http://schemas.microsoft.com/office/drawing/2014/main" id="{E73BBE74-9646-680D-1DBF-33BE45459DE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389956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45" name="Photo">
            <a:extLst>
              <a:ext uri="{FF2B5EF4-FFF2-40B4-BE49-F238E27FC236}">
                <a16:creationId xmlns:a16="http://schemas.microsoft.com/office/drawing/2014/main" id="{888DB714-54BB-E8C0-DF50-84FC04A44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304685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46" name="Name">
            <a:extLst>
              <a:ext uri="{FF2B5EF4-FFF2-40B4-BE49-F238E27FC236}">
                <a16:creationId xmlns:a16="http://schemas.microsoft.com/office/drawing/2014/main" id="{DC3B0798-68A1-8C83-30B3-29D56F6FECB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48611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47" name="Photo">
            <a:extLst>
              <a:ext uri="{FF2B5EF4-FFF2-40B4-BE49-F238E27FC236}">
                <a16:creationId xmlns:a16="http://schemas.microsoft.com/office/drawing/2014/main" id="{E06E67B6-0656-D807-6E28-9E1F7E4A9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9163339" y="4508773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48" name="Name">
            <a:extLst>
              <a:ext uri="{FF2B5EF4-FFF2-40B4-BE49-F238E27FC236}">
                <a16:creationId xmlns:a16="http://schemas.microsoft.com/office/drawing/2014/main" id="{97857D0C-5A61-A54B-1983-CB8C04C9C1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07265" y="4508773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9" name="Photo">
            <a:extLst>
              <a:ext uri="{FF2B5EF4-FFF2-40B4-BE49-F238E27FC236}">
                <a16:creationId xmlns:a16="http://schemas.microsoft.com/office/drawing/2014/main" id="{60619E85-C7BC-AC62-E0EF-E7A8868F6A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7375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40" name="Name">
            <a:extLst>
              <a:ext uri="{FF2B5EF4-FFF2-40B4-BE49-F238E27FC236}">
                <a16:creationId xmlns:a16="http://schemas.microsoft.com/office/drawing/2014/main" id="{3B92114E-862E-E39F-89F3-255D469EE6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1301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2ED548-03FB-1143-B808-174885F26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6" name="Photo">
            <a:extLst>
              <a:ext uri="{FF2B5EF4-FFF2-40B4-BE49-F238E27FC236}">
                <a16:creationId xmlns:a16="http://schemas.microsoft.com/office/drawing/2014/main" id="{C45B5D83-EBCF-229A-8186-414008C75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446030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D0AAB61C-76E9-BA00-F090-B18A31B5D6D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389956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8" name="Photo">
            <a:extLst>
              <a:ext uri="{FF2B5EF4-FFF2-40B4-BE49-F238E27FC236}">
                <a16:creationId xmlns:a16="http://schemas.microsoft.com/office/drawing/2014/main" id="{4CD638C7-8BAC-1C52-4147-F8DD7326EB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304685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9" name="Name">
            <a:extLst>
              <a:ext uri="{FF2B5EF4-FFF2-40B4-BE49-F238E27FC236}">
                <a16:creationId xmlns:a16="http://schemas.microsoft.com/office/drawing/2014/main" id="{68D2D78B-B3C8-94ED-AFE3-FE3764F68C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48611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BB127E9C-74D4-E090-044E-7CF9AD69FD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9163339" y="1556568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11" name="Name">
            <a:extLst>
              <a:ext uri="{FF2B5EF4-FFF2-40B4-BE49-F238E27FC236}">
                <a16:creationId xmlns:a16="http://schemas.microsoft.com/office/drawing/2014/main" id="{EBF8D7B9-BD0F-0A0B-C8A6-65373B57F8C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107265" y="1556568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7" name="Photo">
            <a:extLst>
              <a:ext uri="{FF2B5EF4-FFF2-40B4-BE49-F238E27FC236}">
                <a16:creationId xmlns:a16="http://schemas.microsoft.com/office/drawing/2014/main" id="{D461CB8D-D83D-B76A-8172-3537CA4274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87375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28" name="Name">
            <a:extLst>
              <a:ext uri="{FF2B5EF4-FFF2-40B4-BE49-F238E27FC236}">
                <a16:creationId xmlns:a16="http://schemas.microsoft.com/office/drawing/2014/main" id="{AA8FD8BB-F900-E1E6-DB2C-0160849D132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31301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29" name="Photo">
            <a:extLst>
              <a:ext uri="{FF2B5EF4-FFF2-40B4-BE49-F238E27FC236}">
                <a16:creationId xmlns:a16="http://schemas.microsoft.com/office/drawing/2014/main" id="{C87E4CFC-A76E-2A8F-D0A1-E760BDE95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446030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0" name="Name">
            <a:extLst>
              <a:ext uri="{FF2B5EF4-FFF2-40B4-BE49-F238E27FC236}">
                <a16:creationId xmlns:a16="http://schemas.microsoft.com/office/drawing/2014/main" id="{6CF9058C-A42F-27F3-09F4-F31C9AD6C98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389956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1" name="Photo">
            <a:extLst>
              <a:ext uri="{FF2B5EF4-FFF2-40B4-BE49-F238E27FC236}">
                <a16:creationId xmlns:a16="http://schemas.microsoft.com/office/drawing/2014/main" id="{7C0EDA73-0E19-E4F4-D3F1-73C92553BC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304685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2" name="Name">
            <a:extLst>
              <a:ext uri="{FF2B5EF4-FFF2-40B4-BE49-F238E27FC236}">
                <a16:creationId xmlns:a16="http://schemas.microsoft.com/office/drawing/2014/main" id="{1A84167B-B3D3-96E1-765B-35C83EFBFF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48611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33" name="Photo">
            <a:extLst>
              <a:ext uri="{FF2B5EF4-FFF2-40B4-BE49-F238E27FC236}">
                <a16:creationId xmlns:a16="http://schemas.microsoft.com/office/drawing/2014/main" id="{9E5055ED-F256-224E-18C4-07B094925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163339" y="3028316"/>
            <a:ext cx="93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63500" tIns="63500" rIns="63500" bIns="63500">
            <a:noAutofit/>
          </a:bodyPr>
          <a:lstStyle>
            <a:lvl1pPr algn="l">
              <a:defRPr sz="1200"/>
            </a:lvl1pPr>
          </a:lstStyle>
          <a:p>
            <a:r>
              <a:rPr lang="en-GB"/>
              <a:t>Click icon to insert an image</a:t>
            </a:r>
          </a:p>
        </p:txBody>
      </p:sp>
      <p:sp>
        <p:nvSpPr>
          <p:cNvPr id="34" name="Name">
            <a:extLst>
              <a:ext uri="{FF2B5EF4-FFF2-40B4-BE49-F238E27FC236}">
                <a16:creationId xmlns:a16="http://schemas.microsoft.com/office/drawing/2014/main" id="{79E999DE-A1D6-721F-191E-7117748E43A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07265" y="3028316"/>
            <a:ext cx="1540416" cy="1080000"/>
          </a:xfrm>
        </p:spPr>
        <p:txBody>
          <a:bodyPr lIns="144000" tIns="50400" rIns="50400" bIns="50400"/>
          <a:lstStyle>
            <a:lvl1pPr>
              <a:lnSpc>
                <a:spcPct val="100000"/>
              </a:lnSpc>
              <a:spcBef>
                <a:spcPts val="600"/>
              </a:spcBef>
              <a:defRPr sz="1400" b="1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[Name]</a:t>
            </a:r>
          </a:p>
          <a:p>
            <a:pPr lvl="1"/>
            <a:r>
              <a:rPr lang="en-GB"/>
              <a:t>[Job title]</a:t>
            </a:r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869FC9CC-9AD3-B763-D80A-1AF4EC82D0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3402697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Media Placeholder 44">
            <a:extLst>
              <a:ext uri="{FF2B5EF4-FFF2-40B4-BE49-F238E27FC236}">
                <a16:creationId xmlns:a16="http://schemas.microsoft.com/office/drawing/2014/main" id="{FA45BFB3-67FB-D56E-F7EC-9EE4E9B366AA}"/>
              </a:ext>
            </a:extLst>
          </p:cNvPr>
          <p:cNvSpPr>
            <a:spLocks noGrp="1" noChangeAspect="1"/>
          </p:cNvSpPr>
          <p:nvPr>
            <p:ph type="media" sz="quarter" idx="11"/>
          </p:nvPr>
        </p:nvSpPr>
        <p:spPr>
          <a:xfrm>
            <a:off x="1776000" y="1217418"/>
            <a:ext cx="8640000" cy="4787924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F98ED0-8855-75DF-52D9-B89C69F739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sp>
        <p:nvSpPr>
          <p:cNvPr id="6" name="footnotes">
            <a:extLst>
              <a:ext uri="{FF2B5EF4-FFF2-40B4-BE49-F238E27FC236}">
                <a16:creationId xmlns:a16="http://schemas.microsoft.com/office/drawing/2014/main" id="{AAE380B2-57C9-5B38-45AA-C1BD79F40A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462806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7385A6E-DBFF-E23C-3DAF-634AD6DD5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5" y="584200"/>
            <a:ext cx="2554800" cy="1235891"/>
          </a:xfrm>
        </p:spPr>
        <p:txBody>
          <a:bodyPr anchor="t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2786EEC0-3A40-806E-576A-3B4F5D0A01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975" y="1989000"/>
            <a:ext cx="2556000" cy="1440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</a:t>
            </a:r>
            <a:br>
              <a:rPr lang="en-GB"/>
            </a:br>
            <a:r>
              <a:rPr lang="en-GB"/>
              <a:t>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222A164-8778-FD85-D8FF-C09CD7826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2039" y="584201"/>
            <a:ext cx="6769100" cy="56895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notes">
            <a:extLst>
              <a:ext uri="{FF2B5EF4-FFF2-40B4-BE49-F238E27FC236}">
                <a16:creationId xmlns:a16="http://schemas.microsoft.com/office/drawing/2014/main" id="{C5EF6C21-06AC-BD1C-4EB9-BFD3B49F36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72039" y="6102000"/>
            <a:ext cx="535196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</p:spTree>
    <p:extLst>
      <p:ext uri="{BB962C8B-B14F-4D97-AF65-F5344CB8AC3E}">
        <p14:creationId xmlns:p14="http://schemas.microsoft.com/office/powerpoint/2010/main" val="847026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06FBAE-7F72-CD65-3E5B-02A5627677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3" y="0"/>
            <a:ext cx="3648076" cy="6858000"/>
          </a:xfrm>
          <a:custGeom>
            <a:avLst/>
            <a:gdLst>
              <a:gd name="connsiteX0" fmla="*/ 7 w 8572495"/>
              <a:gd name="connsiteY0" fmla="*/ 0 h 6858000"/>
              <a:gd name="connsiteX1" fmla="*/ 8572495 w 8572495"/>
              <a:gd name="connsiteY1" fmla="*/ 1695829 h 6858000"/>
              <a:gd name="connsiteX2" fmla="*/ 8572495 w 8572495"/>
              <a:gd name="connsiteY2" fmla="*/ 5162172 h 6858000"/>
              <a:gd name="connsiteX3" fmla="*/ 7 w 8572495"/>
              <a:gd name="connsiteY3" fmla="*/ 6858000 h 6858000"/>
              <a:gd name="connsiteX4" fmla="*/ 0 w 8572495"/>
              <a:gd name="connsiteY4" fmla="*/ 6857999 h 6858000"/>
              <a:gd name="connsiteX5" fmla="*/ 0 w 8572495"/>
              <a:gd name="connsiteY5" fmla="*/ 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72495" h="6858000">
                <a:moveTo>
                  <a:pt x="7" y="0"/>
                </a:moveTo>
                <a:lnTo>
                  <a:pt x="8572495" y="1695829"/>
                </a:lnTo>
                <a:lnTo>
                  <a:pt x="8572495" y="5162172"/>
                </a:lnTo>
                <a:lnTo>
                  <a:pt x="7" y="6858000"/>
                </a:lnTo>
                <a:lnTo>
                  <a:pt x="0" y="6857999"/>
                </a:lnTo>
                <a:lnTo>
                  <a:pt x="0" y="1"/>
                </a:lnTo>
                <a:close/>
              </a:path>
            </a:pathLst>
          </a:custGeom>
          <a:solidFill>
            <a:srgbClr val="4CD300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tx1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tx1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tx1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tx1">
                    <a:alpha val="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5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107155E9-29C0-4F5A-3B1A-054E2EF7F8D8}"/>
              </a:ext>
            </a:extLst>
          </p:cNvPr>
          <p:cNvGrpSpPr/>
          <p:nvPr userDrawn="1"/>
        </p:nvGrpSpPr>
        <p:grpSpPr>
          <a:xfrm>
            <a:off x="0" y="-243000"/>
            <a:ext cx="8572500" cy="7344000"/>
            <a:chOff x="0" y="-243000"/>
            <a:chExt cx="8572500" cy="73440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746C574-DFF9-47C9-8465-E472708D92D7}"/>
                </a:ext>
              </a:extLst>
            </p:cNvPr>
            <p:cNvGrpSpPr/>
            <p:nvPr userDrawn="1"/>
          </p:nvGrpSpPr>
          <p:grpSpPr>
            <a:xfrm>
              <a:off x="0" y="-243000"/>
              <a:ext cx="8572500" cy="180000"/>
              <a:chOff x="0" y="-2043000"/>
              <a:chExt cx="8572500" cy="10142533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210EDD7-E90A-5B0B-7DA0-41F3DB6C50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50% Mark">
                <a:extLst>
                  <a:ext uri="{FF2B5EF4-FFF2-40B4-BE49-F238E27FC236}">
                    <a16:creationId xmlns:a16="http://schemas.microsoft.com/office/drawing/2014/main" id="{0907C615-7953-B6BC-B232-117A3505D7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100% Mark">
                <a:extLst>
                  <a:ext uri="{FF2B5EF4-FFF2-40B4-BE49-F238E27FC236}">
                    <a16:creationId xmlns:a16="http://schemas.microsoft.com/office/drawing/2014/main" id="{A1870CA0-2057-F5FE-F291-517441788C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50% Mark">
                <a:extLst>
                  <a:ext uri="{FF2B5EF4-FFF2-40B4-BE49-F238E27FC236}">
                    <a16:creationId xmlns:a16="http://schemas.microsoft.com/office/drawing/2014/main" id="{9272DAEC-25F2-C107-BC7F-DEB28692EB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200% Mark">
                <a:extLst>
                  <a:ext uri="{FF2B5EF4-FFF2-40B4-BE49-F238E27FC236}">
                    <a16:creationId xmlns:a16="http://schemas.microsoft.com/office/drawing/2014/main" id="{9CD4C702-DE53-7369-FCA2-CA099703CC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250% Mark">
                <a:extLst>
                  <a:ext uri="{FF2B5EF4-FFF2-40B4-BE49-F238E27FC236}">
                    <a16:creationId xmlns:a16="http://schemas.microsoft.com/office/drawing/2014/main" id="{4A48A43B-A8D6-AB86-ED70-634A2B93BB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C85D123-A188-4A7D-5844-87CF77D86C91}"/>
                </a:ext>
              </a:extLst>
            </p:cNvPr>
            <p:cNvGrpSpPr/>
            <p:nvPr userDrawn="1"/>
          </p:nvGrpSpPr>
          <p:grpSpPr>
            <a:xfrm>
              <a:off x="0" y="6921000"/>
              <a:ext cx="8572500" cy="180000"/>
              <a:chOff x="0" y="-2043000"/>
              <a:chExt cx="8572500" cy="10142533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460F146-04EC-0F01-7040-9C3F0B6FA3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50% Mark">
                <a:extLst>
                  <a:ext uri="{FF2B5EF4-FFF2-40B4-BE49-F238E27FC236}">
                    <a16:creationId xmlns:a16="http://schemas.microsoft.com/office/drawing/2014/main" id="{8C333C07-FF82-9C27-D689-C080DCDC2F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100% Mark">
                <a:extLst>
                  <a:ext uri="{FF2B5EF4-FFF2-40B4-BE49-F238E27FC236}">
                    <a16:creationId xmlns:a16="http://schemas.microsoft.com/office/drawing/2014/main" id="{D1DC9600-412F-57C4-651A-A4B1423EFAD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150% Mark">
                <a:extLst>
                  <a:ext uri="{FF2B5EF4-FFF2-40B4-BE49-F238E27FC236}">
                    <a16:creationId xmlns:a16="http://schemas.microsoft.com/office/drawing/2014/main" id="{DB4DD0AB-49E8-6F63-A125-6CBA3B9E0A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200% Mark">
                <a:extLst>
                  <a:ext uri="{FF2B5EF4-FFF2-40B4-BE49-F238E27FC236}">
                    <a16:creationId xmlns:a16="http://schemas.microsoft.com/office/drawing/2014/main" id="{9F985A50-5519-D6DF-8B96-39A47A3A3D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250% Mark">
                <a:extLst>
                  <a:ext uri="{FF2B5EF4-FFF2-40B4-BE49-F238E27FC236}">
                    <a16:creationId xmlns:a16="http://schemas.microsoft.com/office/drawing/2014/main" id="{28480E8E-5094-5366-DA51-AA3F67F622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AC169E5-16B0-10D4-5B53-5FF1BDBBC8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8193" y="1773000"/>
            <a:ext cx="7582946" cy="431923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650C64-D872-AD2C-9700-2773C86DE6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8193" y="1075636"/>
            <a:ext cx="7582943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2924D50-C209-CFBF-2D4E-2FC62B71E3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8193" y="596235"/>
            <a:ext cx="7582943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One line master title style hea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CD712-6FAF-5FDE-6B79-FCA56C826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7C4D123A-CE8E-D0B5-C1EF-BA425B90A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11" name="footnotes">
            <a:extLst>
              <a:ext uri="{FF2B5EF4-FFF2-40B4-BE49-F238E27FC236}">
                <a16:creationId xmlns:a16="http://schemas.microsoft.com/office/drawing/2014/main" id="{0F47C2DE-37A8-E115-CD2D-E6340B8A1D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8193" y="6102000"/>
            <a:ext cx="6165806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94DAB51D-E67A-404A-F935-C61F7FFD5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373" y="2000250"/>
            <a:ext cx="2736000" cy="285840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3600">
                <a:latin typeface="+mj-lt"/>
              </a:defRPr>
            </a:lvl1pPr>
          </a:lstStyle>
          <a:p>
            <a:pPr>
              <a:buClrTx/>
              <a:buFontTx/>
            </a:pPr>
            <a:r>
              <a:rPr lang="en-GB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559298-77DD-721F-4275-553FE3B5B09C}"/>
              </a:ext>
            </a:extLst>
          </p:cNvPr>
          <p:cNvSpPr txBox="1"/>
          <p:nvPr userDrawn="1"/>
        </p:nvSpPr>
        <p:spPr>
          <a:xfrm>
            <a:off x="5181600" y="6705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kern="100" spc="-30"/>
          </a:p>
        </p:txBody>
      </p:sp>
      <p:sp>
        <p:nvSpPr>
          <p:cNvPr id="4" name="Slide Number Static">
            <a:extLst>
              <a:ext uri="{FF2B5EF4-FFF2-40B4-BE49-F238E27FC236}">
                <a16:creationId xmlns:a16="http://schemas.microsoft.com/office/drawing/2014/main" id="{A6558380-DF12-F780-1F09-DD96C0126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361351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5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107155E9-29C0-4F5A-3B1A-054E2EF7F8D8}"/>
              </a:ext>
            </a:extLst>
          </p:cNvPr>
          <p:cNvGrpSpPr/>
          <p:nvPr userDrawn="1"/>
        </p:nvGrpSpPr>
        <p:grpSpPr>
          <a:xfrm>
            <a:off x="0" y="-243000"/>
            <a:ext cx="8572500" cy="7344000"/>
            <a:chOff x="0" y="-243000"/>
            <a:chExt cx="8572500" cy="73440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746C574-DFF9-47C9-8465-E472708D92D7}"/>
                </a:ext>
              </a:extLst>
            </p:cNvPr>
            <p:cNvGrpSpPr/>
            <p:nvPr userDrawn="1"/>
          </p:nvGrpSpPr>
          <p:grpSpPr>
            <a:xfrm>
              <a:off x="0" y="-243000"/>
              <a:ext cx="8572500" cy="180000"/>
              <a:chOff x="0" y="-2043000"/>
              <a:chExt cx="8572500" cy="10142533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210EDD7-E90A-5B0B-7DA0-41F3DB6C50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50% Mark">
                <a:extLst>
                  <a:ext uri="{FF2B5EF4-FFF2-40B4-BE49-F238E27FC236}">
                    <a16:creationId xmlns:a16="http://schemas.microsoft.com/office/drawing/2014/main" id="{0907C615-7953-B6BC-B232-117A3505D7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100% Mark">
                <a:extLst>
                  <a:ext uri="{FF2B5EF4-FFF2-40B4-BE49-F238E27FC236}">
                    <a16:creationId xmlns:a16="http://schemas.microsoft.com/office/drawing/2014/main" id="{A1870CA0-2057-F5FE-F291-517441788C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50% Mark">
                <a:extLst>
                  <a:ext uri="{FF2B5EF4-FFF2-40B4-BE49-F238E27FC236}">
                    <a16:creationId xmlns:a16="http://schemas.microsoft.com/office/drawing/2014/main" id="{9272DAEC-25F2-C107-BC7F-DEB28692EB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200% Mark">
                <a:extLst>
                  <a:ext uri="{FF2B5EF4-FFF2-40B4-BE49-F238E27FC236}">
                    <a16:creationId xmlns:a16="http://schemas.microsoft.com/office/drawing/2014/main" id="{9CD4C702-DE53-7369-FCA2-CA099703CC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250% Mark">
                <a:extLst>
                  <a:ext uri="{FF2B5EF4-FFF2-40B4-BE49-F238E27FC236}">
                    <a16:creationId xmlns:a16="http://schemas.microsoft.com/office/drawing/2014/main" id="{4A48A43B-A8D6-AB86-ED70-634A2B93BB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C85D123-A188-4A7D-5844-87CF77D86C91}"/>
                </a:ext>
              </a:extLst>
            </p:cNvPr>
            <p:cNvGrpSpPr/>
            <p:nvPr userDrawn="1"/>
          </p:nvGrpSpPr>
          <p:grpSpPr>
            <a:xfrm>
              <a:off x="0" y="6921000"/>
              <a:ext cx="8572500" cy="180000"/>
              <a:chOff x="0" y="-2043000"/>
              <a:chExt cx="8572500" cy="10142533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460F146-04EC-0F01-7040-9C3F0B6FA3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50% Mark">
                <a:extLst>
                  <a:ext uri="{FF2B5EF4-FFF2-40B4-BE49-F238E27FC236}">
                    <a16:creationId xmlns:a16="http://schemas.microsoft.com/office/drawing/2014/main" id="{8C333C07-FF82-9C27-D689-C080DCDC2F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100% Mark">
                <a:extLst>
                  <a:ext uri="{FF2B5EF4-FFF2-40B4-BE49-F238E27FC236}">
                    <a16:creationId xmlns:a16="http://schemas.microsoft.com/office/drawing/2014/main" id="{D1DC9600-412F-57C4-651A-A4B1423EFAD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150% Mark">
                <a:extLst>
                  <a:ext uri="{FF2B5EF4-FFF2-40B4-BE49-F238E27FC236}">
                    <a16:creationId xmlns:a16="http://schemas.microsoft.com/office/drawing/2014/main" id="{DB4DD0AB-49E8-6F63-A125-6CBA3B9E0A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200% Mark">
                <a:extLst>
                  <a:ext uri="{FF2B5EF4-FFF2-40B4-BE49-F238E27FC236}">
                    <a16:creationId xmlns:a16="http://schemas.microsoft.com/office/drawing/2014/main" id="{9F985A50-5519-D6DF-8B96-39A47A3A3D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250% Mark">
                <a:extLst>
                  <a:ext uri="{FF2B5EF4-FFF2-40B4-BE49-F238E27FC236}">
                    <a16:creationId xmlns:a16="http://schemas.microsoft.com/office/drawing/2014/main" id="{28480E8E-5094-5366-DA51-AA3F67F622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Subtitle 2">
            <a:extLst>
              <a:ext uri="{FF2B5EF4-FFF2-40B4-BE49-F238E27FC236}">
                <a16:creationId xmlns:a16="http://schemas.microsoft.com/office/drawing/2014/main" id="{11650C64-D872-AD2C-9700-2773C86DE6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7623" y="1075636"/>
            <a:ext cx="10473514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2924D50-C209-CFBF-2D4E-2FC62B71E3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7623" y="596235"/>
            <a:ext cx="10473514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One line master title style hea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CD712-6FAF-5FDE-6B79-FCA56C826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39273CA8-BE2E-8DF0-0E20-3DCA45037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10" name="footnotes">
            <a:extLst>
              <a:ext uri="{FF2B5EF4-FFF2-40B4-BE49-F238E27FC236}">
                <a16:creationId xmlns:a16="http://schemas.microsoft.com/office/drawing/2014/main" id="{88766D66-80DF-CFA4-6500-8193E011B4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07826" y="6102000"/>
            <a:ext cx="851617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3F28D0E1-CC1C-26A8-8FEA-FC95BD3D8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-1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z="1000" smtClean="0"/>
              <a:pPr/>
              <a:t>‹#›</a:t>
            </a:fld>
            <a:endParaRPr lang="en-GB" sz="10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DDFD4-9C26-370F-A928-2DF3084D16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621" y="1773000"/>
            <a:ext cx="10473518" cy="431923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5551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4"/>
            <a:ext cx="5268665" cy="9277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DDE6DB5-3337-2923-E916-811C7B87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230EA2F-4888-1BAE-161D-A054B37662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0"/>
          <a:stretch/>
        </p:blipFill>
        <p:spPr>
          <a:xfrm>
            <a:off x="5710425" y="277985"/>
            <a:ext cx="5268665" cy="6580015"/>
          </a:xfrm>
          <a:prstGeom prst="rect">
            <a:avLst/>
          </a:prstGeom>
        </p:spPr>
      </p:pic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667C1DBA-535E-3793-63D8-258B68BE72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6687" y="509764"/>
            <a:ext cx="3946526" cy="5744425"/>
          </a:xfrm>
          <a:prstGeom prst="round2SameRect">
            <a:avLst>
              <a:gd name="adj1" fmla="val 2088"/>
              <a:gd name="adj2" fmla="val 2128"/>
            </a:avLst>
          </a:prstGeo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9625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660CB3EB-D911-068E-EFD8-9CAF76591B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DDE6DB5-3337-2923-E916-811C7B87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D753257-93B8-9BAE-05CB-7CC8DA47A7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7312" y="1237794"/>
            <a:ext cx="7434688" cy="5038936"/>
          </a:xfrm>
          <a:prstGeom prst="rect">
            <a:avLst/>
          </a:prstGeom>
        </p:spPr>
      </p:pic>
      <p:sp>
        <p:nvSpPr>
          <p:cNvPr id="11" name="Picture Placeholder 20">
            <a:extLst>
              <a:ext uri="{FF2B5EF4-FFF2-40B4-BE49-F238E27FC236}">
                <a16:creationId xmlns:a16="http://schemas.microsoft.com/office/drawing/2014/main" id="{F0A47979-E1AE-9B1F-3BD2-2BC355D422B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61001" y="1460500"/>
            <a:ext cx="5969000" cy="4108450"/>
          </a:xfrm>
          <a:prstGeom prst="round2SameRect">
            <a:avLst>
              <a:gd name="adj1" fmla="val 2471"/>
              <a:gd name="adj2" fmla="val 1664"/>
            </a:avLst>
          </a:prstGeom>
          <a:solidFill>
            <a:schemeClr val="bg1"/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47771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660CB3EB-D911-068E-EFD8-9CAF76591B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1075636"/>
            <a:ext cx="11053762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78C8441-55E7-ADC3-6267-D8989B000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96235"/>
            <a:ext cx="11053762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one line master title style headi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DDE6DB5-3337-2923-E916-811C7B87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5" name="footnotes">
            <a:extLst>
              <a:ext uri="{FF2B5EF4-FFF2-40B4-BE49-F238E27FC236}">
                <a16:creationId xmlns:a16="http://schemas.microsoft.com/office/drawing/2014/main" id="{A6A0380F-17F1-F7B6-9545-D1D425A0D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9" y="6102000"/>
            <a:ext cx="9396000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24EE1-28B7-2157-954D-BB4DD6163D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30"/>
          <a:stretch/>
        </p:blipFill>
        <p:spPr>
          <a:xfrm>
            <a:off x="5603619" y="1070483"/>
            <a:ext cx="6588382" cy="5518029"/>
          </a:xfrm>
          <a:prstGeom prst="rect">
            <a:avLst/>
          </a:prstGeom>
        </p:spPr>
      </p:pic>
      <p:sp>
        <p:nvSpPr>
          <p:cNvPr id="10" name="Picture Placeholder 20">
            <a:extLst>
              <a:ext uri="{FF2B5EF4-FFF2-40B4-BE49-F238E27FC236}">
                <a16:creationId xmlns:a16="http://schemas.microsoft.com/office/drawing/2014/main" id="{8EADDAC2-1480-5EFA-67DF-0443C253DC3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03327" y="1458096"/>
            <a:ext cx="5981346" cy="4492465"/>
          </a:xfrm>
          <a:prstGeom prst="round2SameRect">
            <a:avLst>
              <a:gd name="adj1" fmla="val 1759"/>
              <a:gd name="adj2" fmla="val 2128"/>
            </a:avLst>
          </a:prstGeo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62800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Logo">
            <a:extLst>
              <a:ext uri="{FF2B5EF4-FFF2-40B4-BE49-F238E27FC236}">
                <a16:creationId xmlns:a16="http://schemas.microsoft.com/office/drawing/2014/main" id="{93F75D2D-60C8-74A7-05B1-B87F1C73D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7E27A56-BFD3-25BF-64BC-DC2AF63D33E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28551" y="803236"/>
            <a:ext cx="4720223" cy="4720223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9E6FE99-F34B-495F-0E4C-FBC7A04F5F5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26385" y="1266467"/>
            <a:ext cx="8250014" cy="580435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319CAE7-2180-5795-2417-12A624EFEF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3700720"/>
            <a:ext cx="5507425" cy="1487998"/>
          </a:xfrm>
        </p:spPr>
        <p:txBody>
          <a:bodyPr vert="horz" wrap="square" anchor="t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27CAC3FD-2F13-305E-5E7E-D3E0E34DE7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54A1E1-DB1B-55C9-3FCE-DC16077FDE87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1745110-3EE1-2301-F340-FB00251D113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7375" y="1832265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79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664AEBBB-2859-0CCA-5FC3-17E4F41BC5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-2" y="0"/>
            <a:ext cx="3445097" cy="6923638"/>
          </a:xfrm>
          <a:prstGeom prst="rect">
            <a:avLst/>
          </a:prstGeom>
        </p:spPr>
      </p:pic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48B5E5E6-46C5-C5FB-B84C-8786631B6A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2273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56E353B-FE13-3E43-79DF-F5007735A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2272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D142ECC-8720-B38C-F938-BEE77618D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2272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B4BDA9A-EAAE-5D7C-031C-0C032BBF48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2272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9B26A0F-2CBF-58D1-5428-894A4AC424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2272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DDADA2B-D2CF-39B5-8286-AD5CD424B1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2272" y="2127876"/>
            <a:ext cx="5015681" cy="155566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E1E3A28-A138-C70F-0619-D3A80A1AB4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4606" r="1621"/>
          <a:stretch>
            <a:fillRect/>
          </a:stretch>
        </p:blipFill>
        <p:spPr>
          <a:xfrm>
            <a:off x="531103" y="627374"/>
            <a:ext cx="5208515" cy="566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178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5382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C98399D3-A99C-91A2-9A7B-43C3FA2A0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BCA69D5-B383-8615-A2EB-7C3EAB03FEC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14267" y="3745864"/>
            <a:ext cx="5086967" cy="253119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8745EFA-1970-87F4-E9E0-AFB8FA4A84B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23292" y="427214"/>
            <a:ext cx="5508625" cy="502257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B6B5C54-E13F-AFE3-F712-E8A8BEE763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3700720"/>
            <a:ext cx="5507425" cy="1487998"/>
          </a:xfrm>
        </p:spPr>
        <p:txBody>
          <a:bodyPr vert="horz" wrap="square" anchor="t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3E3DAE5D-6121-70B9-C8DE-6BE055364A7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CAB1B6F-44B9-33FA-8CB7-643FBEB90A3B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04A8C30-C786-328D-BC74-E62C4FE74A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7375" y="1832265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136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7D7ECAE-4941-15F9-2D04-D50668A2C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3700720"/>
            <a:ext cx="5507425" cy="1487998"/>
          </a:xfrm>
        </p:spPr>
        <p:txBody>
          <a:bodyPr vert="horz" wrap="square" anchor="t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3C850C-B8D8-CF64-D11B-E69EA74EC599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D670E1D-997C-0DE3-C7BF-373D2F74B6D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59483" y="0"/>
            <a:ext cx="3432517" cy="686503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52D3287-46D5-DD4B-7CC9-FCD31AC07CD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33414" y="875584"/>
            <a:ext cx="7258586" cy="510683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7375" y="1832265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317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Logo">
            <a:extLst>
              <a:ext uri="{FF2B5EF4-FFF2-40B4-BE49-F238E27FC236}">
                <a16:creationId xmlns:a16="http://schemas.microsoft.com/office/drawing/2014/main" id="{93F75D2D-60C8-74A7-05B1-B87F1C73D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ED39C3F-04EF-B918-41FC-760265D3928E}"/>
              </a:ext>
            </a:extLst>
          </p:cNvPr>
          <p:cNvGrpSpPr/>
          <p:nvPr userDrawn="1"/>
        </p:nvGrpSpPr>
        <p:grpSpPr>
          <a:xfrm>
            <a:off x="5563451" y="953900"/>
            <a:ext cx="7415239" cy="5633404"/>
            <a:chOff x="4857051" y="457408"/>
            <a:chExt cx="8250014" cy="6267588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47E27A56-BFD3-25BF-64BC-DC2AF63D33E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459217" y="457408"/>
              <a:ext cx="4720223" cy="4720223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E9E6FE99-F34B-495F-0E4C-FBC7A04F5F5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857051" y="920639"/>
              <a:ext cx="8250014" cy="5804357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5319CAE7-2180-5795-2417-12A624EFEF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919092"/>
            <a:ext cx="4976076" cy="3269626"/>
          </a:xfrm>
        </p:spPr>
        <p:txBody>
          <a:bodyPr vert="horz" wrap="square" anchor="ctr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27CAC3FD-2F13-305E-5E7E-D3E0E34DE7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879492"/>
            <a:ext cx="3857625" cy="2082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54A1E1-DB1B-55C9-3FCE-DC16077FDE87}"/>
              </a:ext>
            </a:extLst>
          </p:cNvPr>
          <p:cNvSpPr txBox="1"/>
          <p:nvPr userDrawn="1"/>
        </p:nvSpPr>
        <p:spPr>
          <a:xfrm>
            <a:off x="587374" y="6273800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A4F6A68-2375-6694-A913-4E092273293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20961" y="6282217"/>
            <a:ext cx="2520176" cy="30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640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C98399D3-A99C-91A2-9A7B-43C3FA2A0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BCA69D5-B383-8615-A2EB-7C3EAB03FEC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4120" y="3355856"/>
            <a:ext cx="5086967" cy="253119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8745EFA-1970-87F4-E9E0-AFB8FA4A84B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23292" y="427214"/>
            <a:ext cx="5508625" cy="5022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3916AD-2D67-52C8-63CD-14758A8657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919092"/>
            <a:ext cx="4976076" cy="3269626"/>
          </a:xfrm>
        </p:spPr>
        <p:txBody>
          <a:bodyPr vert="horz" wrap="square" anchor="ctr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D5BA4F60-7EFA-3870-6544-E7BEE016424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879492"/>
            <a:ext cx="3857625" cy="2082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830C5B-8B9E-ED3E-6842-95415A6C504C}"/>
              </a:ext>
            </a:extLst>
          </p:cNvPr>
          <p:cNvSpPr txBox="1"/>
          <p:nvPr userDrawn="1"/>
        </p:nvSpPr>
        <p:spPr>
          <a:xfrm>
            <a:off x="587374" y="6273800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4EFE9E3-4027-307D-336C-F6100FD6BB8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20961" y="6282217"/>
            <a:ext cx="2520176" cy="30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819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D670E1D-997C-0DE3-C7BF-373D2F74B6D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59483" y="0"/>
            <a:ext cx="3432517" cy="686503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52D3287-46D5-DD4B-7CC9-FCD31AC07CD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425361" y="803236"/>
            <a:ext cx="6766639" cy="476071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46E4906-89B2-46DB-1FB0-F555C00DBE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919092"/>
            <a:ext cx="4976076" cy="3269626"/>
          </a:xfrm>
        </p:spPr>
        <p:txBody>
          <a:bodyPr vert="horz" wrap="square" anchor="ctr" anchorCtr="0">
            <a:noAutofit/>
          </a:bodyPr>
          <a:lstStyle>
            <a:lvl1pPr algn="l">
              <a:lnSpc>
                <a:spcPct val="85000"/>
              </a:lnSpc>
              <a:defRPr sz="4800" kern="100" spc="-1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1" name="Picture 1">
            <a:extLst>
              <a:ext uri="{FF2B5EF4-FFF2-40B4-BE49-F238E27FC236}">
                <a16:creationId xmlns:a16="http://schemas.microsoft.com/office/drawing/2014/main" id="{49C8078F-58DE-7854-89CF-C8AC13456B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7374" y="5879492"/>
            <a:ext cx="3857625" cy="2082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7B03A41-CA37-8F0B-94EC-F9A647363576}"/>
              </a:ext>
            </a:extLst>
          </p:cNvPr>
          <p:cNvSpPr txBox="1"/>
          <p:nvPr userDrawn="1"/>
        </p:nvSpPr>
        <p:spPr>
          <a:xfrm>
            <a:off x="587374" y="6273800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846F6C3-97E4-6601-9523-F6E092F0726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20961" y="6282217"/>
            <a:ext cx="2520176" cy="30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56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3C850C-B8D8-CF64-D11B-E69EA74EC599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374" y="2548369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765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600712"/>
            <a:ext cx="3857625" cy="2082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3C850C-B8D8-CF64-D11B-E69EA74EC599}"/>
              </a:ext>
            </a:extLst>
          </p:cNvPr>
          <p:cNvSpPr txBox="1"/>
          <p:nvPr userDrawn="1"/>
        </p:nvSpPr>
        <p:spPr>
          <a:xfrm>
            <a:off x="587375" y="6026956"/>
            <a:ext cx="5508625" cy="26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281805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Aegon UK plc, registered office: Level 26, The Leadenhall Building, 122 Leadenhall Street, London, </a:t>
            </a:r>
            <a:b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</a:br>
            <a:r>
              <a:rPr lang="en-GB" sz="100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EC3V 4AB. Registered in England and Wales (No. 03679296). © 2024 Aegon UK plc</a:t>
            </a:r>
            <a:endParaRPr lang="en-GB" sz="1000" kern="100" spc="-3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17657" y="5537371"/>
            <a:ext cx="2423481" cy="751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753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646C8A2-3D7D-9E4F-1586-267B77A9284C}"/>
              </a:ext>
            </a:extLst>
          </p:cNvPr>
          <p:cNvSpPr txBox="1"/>
          <p:nvPr userDrawn="1"/>
        </p:nvSpPr>
        <p:spPr>
          <a:xfrm>
            <a:off x="569119" y="5655662"/>
            <a:ext cx="11053762" cy="7958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Aft>
                <a:spcPts val="375"/>
              </a:spcAft>
            </a:pP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Z-clause –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Perferu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ptatati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d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is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magn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t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dolorep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rrorer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squ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era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nobi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er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bern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scipsan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tu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sitat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 Um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olesequat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cum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olenestr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ps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rr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des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nsedi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psandel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erios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inumendi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isqu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sitioriatu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cca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dolupt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d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s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, sus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simaiorro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t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xce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xperitibu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ntior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tota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ven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rsperumqu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bl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o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ad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maximpores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oloru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a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rrore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ae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 Et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ni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venti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ulpari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di ne net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au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lam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iasit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nobisquation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po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ratur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re et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am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a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comnimus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sum et a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exped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 </a:t>
            </a:r>
            <a:r>
              <a:rPr lang="en-GB" sz="1000" err="1">
                <a:solidFill>
                  <a:srgbClr val="271604"/>
                </a:solidFill>
                <a:effectLst/>
                <a:latin typeface="+mn-lt"/>
              </a:rPr>
              <a:t>quunt</a:t>
            </a: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. </a:t>
            </a:r>
          </a:p>
          <a:p>
            <a:pPr>
              <a:lnSpc>
                <a:spcPct val="100000"/>
              </a:lnSpc>
              <a:spcAft>
                <a:spcPts val="375"/>
              </a:spcAft>
            </a:pPr>
            <a:r>
              <a:rPr lang="en-GB" sz="1000">
                <a:solidFill>
                  <a:srgbClr val="271604"/>
                </a:solidFill>
                <a:effectLst/>
                <a:latin typeface="+mn-lt"/>
              </a:rPr>
              <a:t>XXXXXXXXXX XX/XX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DD0C67-BA4F-CECD-A33F-9D11386DD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7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D0C67-BA4F-CECD-A33F-9D11386DD20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9CBE026-025D-48F3-B27C-DA6DF6A081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374" y="5166374"/>
            <a:ext cx="3857625" cy="208275"/>
          </a:xfrm>
          <a:prstGeom prst="rect">
            <a:avLst/>
          </a:prstGeom>
        </p:spPr>
      </p:pic>
      <p:pic>
        <p:nvPicPr>
          <p:cNvPr id="5" name="Logo">
            <a:extLst>
              <a:ext uri="{FF2B5EF4-FFF2-40B4-BE49-F238E27FC236}">
                <a16:creationId xmlns:a16="http://schemas.microsoft.com/office/drawing/2014/main" id="{8FD53D0C-2CF6-5E3E-F276-BD7CEBC94E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A3FF19E-BA3D-B6C1-8FA9-45DBA82ACB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374" y="2476842"/>
            <a:ext cx="4695826" cy="14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378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xag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5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107155E9-29C0-4F5A-3B1A-054E2EF7F8D8}"/>
              </a:ext>
            </a:extLst>
          </p:cNvPr>
          <p:cNvGrpSpPr/>
          <p:nvPr userDrawn="1"/>
        </p:nvGrpSpPr>
        <p:grpSpPr>
          <a:xfrm>
            <a:off x="0" y="-243000"/>
            <a:ext cx="8572500" cy="7344000"/>
            <a:chOff x="0" y="-243000"/>
            <a:chExt cx="8572500" cy="73440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746C574-DFF9-47C9-8465-E472708D92D7}"/>
                </a:ext>
              </a:extLst>
            </p:cNvPr>
            <p:cNvGrpSpPr/>
            <p:nvPr userDrawn="1"/>
          </p:nvGrpSpPr>
          <p:grpSpPr>
            <a:xfrm>
              <a:off x="0" y="-243000"/>
              <a:ext cx="8572500" cy="180000"/>
              <a:chOff x="0" y="-2043000"/>
              <a:chExt cx="8572500" cy="10142533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210EDD7-E90A-5B0B-7DA0-41F3DB6C50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50% Mark">
                <a:extLst>
                  <a:ext uri="{FF2B5EF4-FFF2-40B4-BE49-F238E27FC236}">
                    <a16:creationId xmlns:a16="http://schemas.microsoft.com/office/drawing/2014/main" id="{0907C615-7953-B6BC-B232-117A3505D7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100% Mark">
                <a:extLst>
                  <a:ext uri="{FF2B5EF4-FFF2-40B4-BE49-F238E27FC236}">
                    <a16:creationId xmlns:a16="http://schemas.microsoft.com/office/drawing/2014/main" id="{A1870CA0-2057-F5FE-F291-517441788C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50% Mark">
                <a:extLst>
                  <a:ext uri="{FF2B5EF4-FFF2-40B4-BE49-F238E27FC236}">
                    <a16:creationId xmlns:a16="http://schemas.microsoft.com/office/drawing/2014/main" id="{9272DAEC-25F2-C107-BC7F-DEB28692EB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200% Mark">
                <a:extLst>
                  <a:ext uri="{FF2B5EF4-FFF2-40B4-BE49-F238E27FC236}">
                    <a16:creationId xmlns:a16="http://schemas.microsoft.com/office/drawing/2014/main" id="{9CD4C702-DE53-7369-FCA2-CA099703CC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250% Mark">
                <a:extLst>
                  <a:ext uri="{FF2B5EF4-FFF2-40B4-BE49-F238E27FC236}">
                    <a16:creationId xmlns:a16="http://schemas.microsoft.com/office/drawing/2014/main" id="{4A48A43B-A8D6-AB86-ED70-634A2B93BB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C85D123-A188-4A7D-5844-87CF77D86C91}"/>
                </a:ext>
              </a:extLst>
            </p:cNvPr>
            <p:cNvGrpSpPr/>
            <p:nvPr userDrawn="1"/>
          </p:nvGrpSpPr>
          <p:grpSpPr>
            <a:xfrm>
              <a:off x="0" y="6921000"/>
              <a:ext cx="8572500" cy="180000"/>
              <a:chOff x="0" y="-2043000"/>
              <a:chExt cx="8572500" cy="10142533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460F146-04EC-0F01-7040-9C3F0B6FA3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50% Mark">
                <a:extLst>
                  <a:ext uri="{FF2B5EF4-FFF2-40B4-BE49-F238E27FC236}">
                    <a16:creationId xmlns:a16="http://schemas.microsoft.com/office/drawing/2014/main" id="{8C333C07-FF82-9C27-D689-C080DCDC2F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714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100% Mark">
                <a:extLst>
                  <a:ext uri="{FF2B5EF4-FFF2-40B4-BE49-F238E27FC236}">
                    <a16:creationId xmlns:a16="http://schemas.microsoft.com/office/drawing/2014/main" id="{D1DC9600-412F-57C4-651A-A4B1423EFAD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429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150% Mark">
                <a:extLst>
                  <a:ext uri="{FF2B5EF4-FFF2-40B4-BE49-F238E27FC236}">
                    <a16:creationId xmlns:a16="http://schemas.microsoft.com/office/drawing/2014/main" id="{DB4DD0AB-49E8-6F63-A125-6CBA3B9E0A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146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200% Mark">
                <a:extLst>
                  <a:ext uri="{FF2B5EF4-FFF2-40B4-BE49-F238E27FC236}">
                    <a16:creationId xmlns:a16="http://schemas.microsoft.com/office/drawing/2014/main" id="{9F985A50-5519-D6DF-8B96-39A47A3A3D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8610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250% Mark">
                <a:extLst>
                  <a:ext uri="{FF2B5EF4-FFF2-40B4-BE49-F238E27FC236}">
                    <a16:creationId xmlns:a16="http://schemas.microsoft.com/office/drawing/2014/main" id="{28480E8E-5094-5366-DA51-AA3F67F622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72500" y="-2043000"/>
                <a:ext cx="0" cy="101425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AC169E5-16B0-10D4-5B53-5FF1BDBBC8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8193" y="1773000"/>
            <a:ext cx="7582946" cy="431923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650C64-D872-AD2C-9700-2773C86DE6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8193" y="1075636"/>
            <a:ext cx="7582943" cy="4813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200" b="0">
                <a:latin typeface="+mj-lt"/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2924D50-C209-CFBF-2D4E-2FC62B71E3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8193" y="596235"/>
            <a:ext cx="7582943" cy="379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GB"/>
              <a:t>One line master title style hea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CD712-6FAF-5FDE-6B79-FCA56C826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34A39A2A-0F29-178B-687F-4086C24C4D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-8711" y="0"/>
            <a:ext cx="3656786" cy="6858000"/>
          </a:xfrm>
          <a:prstGeom prst="rect">
            <a:avLst/>
          </a:prstGeom>
        </p:spPr>
      </p:pic>
      <p:pic>
        <p:nvPicPr>
          <p:cNvPr id="8" name="Logo">
            <a:extLst>
              <a:ext uri="{FF2B5EF4-FFF2-40B4-BE49-F238E27FC236}">
                <a16:creationId xmlns:a16="http://schemas.microsoft.com/office/drawing/2014/main" id="{39273CA8-BE2E-8DF0-0E20-3DCA45037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10" name="footnotes">
            <a:extLst>
              <a:ext uri="{FF2B5EF4-FFF2-40B4-BE49-F238E27FC236}">
                <a16:creationId xmlns:a16="http://schemas.microsoft.com/office/drawing/2014/main" id="{88766D66-80DF-CFA4-6500-8193E011B4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8193" y="6102000"/>
            <a:ext cx="6165806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3F28D0E1-CC1C-26A8-8FEA-FC95BD3D8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-1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C8288AA7-680E-FD75-F1FD-4B7D5D578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373" y="2000250"/>
            <a:ext cx="2736000" cy="285840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3600">
                <a:latin typeface="+mj-lt"/>
              </a:defRPr>
            </a:lvl1pPr>
          </a:lstStyle>
          <a:p>
            <a:pPr>
              <a:buClrTx/>
              <a:buFontTx/>
            </a:pPr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279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hape and cont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0E75F1E-9709-A462-7622-3312930DD6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-381001" y="381001"/>
            <a:ext cx="6858002" cy="6096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176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BA2B9A-D146-D79C-2973-FBA71B289A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52000" y="1269000"/>
            <a:ext cx="5089138" cy="4320000"/>
          </a:xfrm>
        </p:spPr>
        <p:txBody>
          <a:bodyPr anchor="ctr" anchorCtr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24">
            <a:extLst>
              <a:ext uri="{FF2B5EF4-FFF2-40B4-BE49-F238E27FC236}">
                <a16:creationId xmlns:a16="http://schemas.microsoft.com/office/drawing/2014/main" id="{E771E2DA-73C3-0E8A-268E-FA5A54032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4" y="1989000"/>
            <a:ext cx="4833712" cy="2880000"/>
          </a:xfrm>
        </p:spPr>
        <p:txBody>
          <a:bodyPr anchor="ctr" anchorCtr="0"/>
          <a:lstStyle>
            <a:lvl1pPr>
              <a:defRPr sz="3600"/>
            </a:lvl1pPr>
          </a:lstStyle>
          <a:p>
            <a:r>
              <a:rPr lang="en-GB"/>
              <a:t>Click to edit Master tit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8BFB1252-EE08-A006-609A-C769559E3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550D960F-C29D-1310-3A35-25ABC86D60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1999" y="6102000"/>
            <a:ext cx="3671999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Slide Number Placeholder 11">
            <a:extLst>
              <a:ext uri="{FF2B5EF4-FFF2-40B4-BE49-F238E27FC236}">
                <a16:creationId xmlns:a16="http://schemas.microsoft.com/office/drawing/2014/main" id="{851E7199-129C-AE41-A2CF-BA5042B7CF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5842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874690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48B5E5E6-46C5-C5FB-B84C-8786631B6A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2273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56E353B-FE13-3E43-79DF-F5007735A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2272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D142ECC-8720-B38C-F938-BEE77618D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2272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B4BDA9A-EAAE-5D7C-031C-0C032BBF48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2272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9B26A0F-2CBF-58D1-5428-894A4AC424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2272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DDADA2B-D2CF-39B5-8286-AD5CD424B1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2272" y="2127876"/>
            <a:ext cx="5015681" cy="1555667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9EE4BD78-C610-03A0-0D74-43B7DEA792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622" y="3028348"/>
            <a:ext cx="5339782" cy="265699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2F73341-2F13-5FBA-4514-FFA008B6CEB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6611" y="-80533"/>
            <a:ext cx="5859941" cy="5859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357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611" userDrawn="1">
          <p15:clr>
            <a:srgbClr val="FBAE40"/>
          </p15:clr>
        </p15:guide>
        <p15:guide id="4" pos="3069" userDrawn="1">
          <p15:clr>
            <a:srgbClr val="FBAE40"/>
          </p15:clr>
        </p15:guide>
        <p15:guide id="5" pos="2298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5382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C9F2BD7-DF93-876E-AF58-AA3C7C4FE4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12700" y="0"/>
            <a:ext cx="4883823" cy="6858000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1218586-CFF9-D1B9-A7B1-D06ABC4D38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320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218586-CFF9-D1B9-A7B1-D06ABC4D384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21B11C8A-95E4-FA97-3593-EBA151E16C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0500" y="7094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46D62C-B037-86B2-F031-9D7CB1AE96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00500" y="1321400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6FA0464-8B17-496A-FA4C-57E96C00D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00500" y="26174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FF1CCA5E-6795-1E3C-5218-0B3080BC06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0500" y="3229400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DF651931-7D32-AF36-EB33-181A9C5ED4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0500" y="45254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3EBF013-1DF3-6C0C-5595-34FA4DDD21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0500" y="5137400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33988DFE-A57F-87ED-75E3-003856244E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96500" y="7094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BCAAFFA4-9925-CF4B-EDD6-C21D117C97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96500" y="1321400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4E3D30E5-8A57-CDD7-DA25-100B803CA7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96500" y="26174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98896E69-B5C1-DD0C-DEBD-1D63423353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96500" y="3229400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64B036E8-0AB2-175D-6923-18F103BC90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96500" y="4525400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E656E6B1-C23F-11A3-AAEA-E43A083EE0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96500" y="5137400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4" name="Title 24">
            <a:extLst>
              <a:ext uri="{FF2B5EF4-FFF2-40B4-BE49-F238E27FC236}">
                <a16:creationId xmlns:a16="http://schemas.microsoft.com/office/drawing/2014/main" id="{9D7FFDBD-E006-A01B-B1F3-D2C0C8BB1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3420624" cy="2880000"/>
          </a:xfrm>
        </p:spPr>
        <p:txBody>
          <a:bodyPr anchor="ctr" anchorCtr="0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C84B36E-9A9A-0CB0-90BD-C89F2DB5F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7C8ABE00-69D0-161F-04B2-5AE6D3E8C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>
                <a:solidFill>
                  <a:schemeClr val="bg1"/>
                </a:solidFill>
              </a:rPr>
              <a:pPr>
                <a:lnSpc>
                  <a:spcPct val="90000"/>
                </a:lnSpc>
              </a:pPr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119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4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  <p15:guide id="4" pos="4611">
          <p15:clr>
            <a:srgbClr val="FBAE40"/>
          </p15:clr>
        </p15:guide>
        <p15:guide id="5" pos="5382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orient="horz" pos="1729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Sh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66901A0F-E76C-EC3A-21C4-9081731E5B0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-1613192" y="1613191"/>
            <a:ext cx="6874458" cy="3648075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6387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4">
            <a:extLst>
              <a:ext uri="{FF2B5EF4-FFF2-40B4-BE49-F238E27FC236}">
                <a16:creationId xmlns:a16="http://schemas.microsoft.com/office/drawing/2014/main" id="{91300826-E7FB-D075-6CD0-78A254007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2906939" cy="2880000"/>
          </a:xfrm>
        </p:spPr>
        <p:txBody>
          <a:bodyPr anchor="ctr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E73F8095-1F83-A0EF-92B9-08ABBA803A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7" name="footnotes">
            <a:extLst>
              <a:ext uri="{FF2B5EF4-FFF2-40B4-BE49-F238E27FC236}">
                <a16:creationId xmlns:a16="http://schemas.microsoft.com/office/drawing/2014/main" id="{F3FBD5EE-89DA-9F44-9C3F-81F8ABF097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3587" y="6102000"/>
            <a:ext cx="7660412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7420F7-9D20-1A9A-A1FA-CAE814918AE1}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977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Shap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E3B1703B-FA9B-21D7-417A-9EAD9B319E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5595" y="0"/>
            <a:ext cx="3653670" cy="6858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10C4DE-F4FD-D2BD-CE6B-597493B90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74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10C4DE-F4FD-D2BD-CE6B-597493B9036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24">
            <a:extLst>
              <a:ext uri="{FF2B5EF4-FFF2-40B4-BE49-F238E27FC236}">
                <a16:creationId xmlns:a16="http://schemas.microsoft.com/office/drawing/2014/main" id="{8AB35433-B050-D98F-95A3-6ADFAF064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2906939" cy="2880000"/>
          </a:xfrm>
        </p:spPr>
        <p:txBody>
          <a:bodyPr anchor="ctr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7F6A55F9-D85C-342B-B7AF-7F5087624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6" name="footnotes">
            <a:extLst>
              <a:ext uri="{FF2B5EF4-FFF2-40B4-BE49-F238E27FC236}">
                <a16:creationId xmlns:a16="http://schemas.microsoft.com/office/drawing/2014/main" id="{F8F8986E-AD8A-124F-001B-573B15FDE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8075" y="6102000"/>
            <a:ext cx="6575923" cy="756000"/>
          </a:xfrm>
        </p:spPr>
        <p:txBody>
          <a:bodyPr bIns="176400" anchor="b" anchorCtr="0"/>
          <a:lstStyle>
            <a:lvl1pPr>
              <a:lnSpc>
                <a:spcPct val="90000"/>
              </a:lnSpc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en-GB"/>
              <a:t>Click to edit footnote/source [this field will not be displayed when it is not filled in]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D8FB1EBE-19BB-94F0-3F4C-BC200A2DF901}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1606C5-D483-4832-A0E9-CF578A9B5883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603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B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C211FBC-463F-4EC5-8080-632A5BB8AFA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-1002507" y="992982"/>
            <a:ext cx="6858002" cy="4872038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A0ACED-E331-1403-1DFD-5D1ABE8623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27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A0ACED-E331-1403-1DFD-5D1ABE86233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7341C52D-490F-1432-1653-501EF401A0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3840" y="599776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0E215712-819F-2D9E-EA72-3DC5951C57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03840" y="1211776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B43CAF3E-D765-8A25-4BEC-02C5A1FD85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03840" y="2628096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9FD24BAF-68F2-E28B-790E-7D6F0A5F4E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3840" y="3240096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98D4B18B-5FE7-79B1-BD85-0B5E78D30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3840" y="4680476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86F4F90-3EF8-6E78-2BE0-F933FFE9A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3840" y="5292476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F9870F8B-0915-7A65-3BAA-83EE3446E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99840" y="599776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30E7F4-CD4D-A152-1D72-1F0D8ABE17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99840" y="1211776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F25BFA45-C130-F0AB-AA11-784D4F6221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99840" y="2628096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1421A988-A0D7-014D-AC35-35B80B0FD9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99840" y="3240096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9734DE0C-AD30-1996-B4A5-6EE4399CE8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99840" y="4680476"/>
            <a:ext cx="2952000" cy="6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4000" b="0">
                <a:latin typeface="+mj-lt"/>
              </a:defRPr>
            </a:lvl1pPr>
          </a:lstStyle>
          <a:p>
            <a:pPr lvl="0"/>
            <a:r>
              <a:rPr lang="en-GB"/>
              <a:t>Nr.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5D7EF3CF-1F48-BE4F-D625-4D90E45F60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99840" y="5292476"/>
            <a:ext cx="2952000" cy="9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Agenda topic</a:t>
            </a: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9A5A441-BF53-89AB-0EF7-C5C4DBC8D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989000"/>
            <a:ext cx="3420624" cy="2880000"/>
          </a:xfrm>
        </p:spPr>
        <p:txBody>
          <a:bodyPr anchor="ctr" anchorCtr="0"/>
          <a:lstStyle>
            <a:lvl1pPr>
              <a:defRPr sz="3600"/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8A1CB53A-B029-0916-2240-01D2179FB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  <p:sp>
        <p:nvSpPr>
          <p:cNvPr id="2" name="Slide Number Static">
            <a:extLst>
              <a:ext uri="{FF2B5EF4-FFF2-40B4-BE49-F238E27FC236}">
                <a16:creationId xmlns:a16="http://schemas.microsoft.com/office/drawing/2014/main" id="{A9CB3487-F002-86BA-E7E1-7621721A7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0012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  <p15:guide id="4" pos="4611">
          <p15:clr>
            <a:srgbClr val="FBAE40"/>
          </p15:clr>
        </p15:guide>
        <p15:guide id="5" pos="5382">
          <p15:clr>
            <a:srgbClr val="FBAE40"/>
          </p15:clr>
        </p15:guide>
        <p15:guide id="6" pos="2298">
          <p15:clr>
            <a:srgbClr val="FBAE40"/>
          </p15:clr>
        </p15:guide>
        <p15:guide id="7" orient="horz" pos="1729">
          <p15:clr>
            <a:srgbClr val="FBAE40"/>
          </p15:clr>
        </p15:guide>
        <p15:guide id="8" orient="horz" pos="259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9DA44C5-759C-86D6-2BFE-0A72E0BD5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30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DA44C5-759C-86D6-2BFE-0A72E0BD523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B22594F9-0BB8-7792-AE0C-94FE452A5C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8675378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A69F945-AD9B-325F-DF07-52216CBE6C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EBBE698-1152-EE3E-6379-0B931EBA4A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1B23141-87E5-384D-30A4-B09644DA6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94137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95C3106-D51A-4B26-F01B-6C92F09A7E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3FD9A8E-D3C5-9FC9-DBF8-EF5B3E7931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89ECC432-A351-15AA-6B5D-CC39368396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7333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9DA44C5-759C-86D6-2BFE-0A72E0BD5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30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DA44C5-759C-86D6-2BFE-0A72E0BD523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6874A-FA12-2517-B453-C324E0434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884570"/>
            <a:ext cx="9252153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short heading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22594F9-0BB8-7792-AE0C-94FE452A5C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867027"/>
            <a:ext cx="9252154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A69F945-AD9B-325F-DF07-52216CBE6C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EBBE698-1152-EE3E-6379-0B931EBA4A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1884640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1B23141-87E5-384D-30A4-B09644DA6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4882891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95C3106-D51A-4B26-F01B-6C92F09A7E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5208027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3FD9A8E-D3C5-9FC9-DBF8-EF5B3E7931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5B06503-ABF5-C3C4-D5DB-5D518083D51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937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7333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ong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9DA44C5-759C-86D6-2BFE-0A72E0BD5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30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DA44C5-759C-86D6-2BFE-0A72E0BD523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C83E6D63-4A9D-B171-5573-BE44572473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884570"/>
            <a:ext cx="9252153" cy="1703458"/>
          </a:xfrm>
        </p:spPr>
        <p:txBody>
          <a:bodyPr vert="horz" wrap="square" anchor="b" anchorCtr="0">
            <a:noAutofit/>
          </a:bodyPr>
          <a:lstStyle>
            <a:lvl1pPr algn="l">
              <a:lnSpc>
                <a:spcPct val="85000"/>
              </a:lnSpc>
              <a:defRPr sz="4800" kern="100" spc="-120" baseline="0"/>
            </a:lvl1pPr>
          </a:lstStyle>
          <a:p>
            <a:r>
              <a:rPr lang="en-GB"/>
              <a:t>Click to add a heading</a:t>
            </a:r>
            <a:br>
              <a:rPr lang="en-GB"/>
            </a:br>
            <a:r>
              <a:rPr lang="en-GB"/>
              <a:t>over two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51E15A0-B0B9-BB14-1BAD-869D72DEF4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867027"/>
            <a:ext cx="9252154" cy="4320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C76498E-8211-F629-88E0-5705E5D49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75C03A7-86C6-3D97-5D27-E68A93E5EC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1884640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D66D60A-0804-85B3-684C-E6FC08F335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4882891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54E86508-6842-7CF8-F807-9339665FFE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5208027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F10FA55-7696-06A3-45A6-76306671F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A7D1EB7-0189-4782-CF7E-955F22753D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947" y="5584874"/>
            <a:ext cx="2221191" cy="68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5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33">
          <p15:clr>
            <a:srgbClr val="FBAE40"/>
          </p15:clr>
        </p15:guide>
        <p15:guide id="4" pos="370">
          <p15:clr>
            <a:srgbClr val="FBAE40"/>
          </p15:clr>
        </p15:guide>
        <p15:guide id="5" orient="horz" pos="368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82A25633-5587-7E69-32AC-BB94856215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90781" y="-1"/>
            <a:ext cx="3324477" cy="6865567"/>
          </a:xfrm>
          <a:prstGeom prst="rect">
            <a:avLst/>
          </a:prstGeom>
        </p:spPr>
      </p:pic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5DCC880C-AA17-DC67-FACE-EF362931E7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21A907D-FCCD-7731-894A-AD523A240F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1D18EAE-179B-9CD3-BF39-4E8E80B1C3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B304E1-BD23-0C90-293D-4DB64525C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7F99191-1444-7AB5-122A-B43964FD0E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0823776-4915-2D63-94B1-1834FA6481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4B241EB1-9163-BFCA-5FC0-E2AD6A2DDA9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960"/>
          <a:stretch>
            <a:fillRect/>
          </a:stretch>
        </p:blipFill>
        <p:spPr>
          <a:xfrm>
            <a:off x="6204309" y="1219048"/>
            <a:ext cx="5987691" cy="447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805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5DCC880C-AA17-DC67-FACE-EF362931E7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21A907D-FCCD-7731-894A-AD523A240F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1D18EAE-179B-9CD3-BF39-4E8E80B1C3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B304E1-BD23-0C90-293D-4DB64525C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7F99191-1444-7AB5-122A-B43964FD0E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0823776-4915-2D63-94B1-1834FA6481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F2916C8-3543-DC6C-DD0F-2649896098C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88947" y="1109976"/>
            <a:ext cx="4638048" cy="463804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856DCAB-6304-135A-FD68-BEBD58DE9C7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15472"/>
          <a:stretch>
            <a:fillRect/>
          </a:stretch>
        </p:blipFill>
        <p:spPr>
          <a:xfrm>
            <a:off x="5384074" y="1079055"/>
            <a:ext cx="6796801" cy="565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77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– sha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BF8F5F-733E-74E4-7C64-9117FC4D5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F8F5F-733E-74E4-7C64-9117FC4D5B0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">
            <a:extLst>
              <a:ext uri="{FF2B5EF4-FFF2-40B4-BE49-F238E27FC236}">
                <a16:creationId xmlns:a16="http://schemas.microsoft.com/office/drawing/2014/main" id="{65CD8FD2-6779-79A3-CBFE-5BEE7285D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5" r="45"/>
          <a:stretch/>
        </p:blipFill>
        <p:spPr>
          <a:xfrm>
            <a:off x="-118516" y="-126587"/>
            <a:ext cx="3528043" cy="1859646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5DCC880C-AA17-DC67-FACE-EF362931E7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927302"/>
            <a:ext cx="5508624" cy="86317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21A907D-FCCD-7731-894A-AD523A240F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74930"/>
            <a:ext cx="1430268" cy="298870"/>
          </a:xfrm>
          <a:solidFill>
            <a:schemeClr val="tx1"/>
          </a:solidFill>
        </p:spPr>
        <p:txBody>
          <a:bodyPr wrap="square" lIns="75600" tIns="75600" rIns="75600" bIns="75600" anchor="b" anchorCtr="0">
            <a:sp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[Confidentiality level]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1D18EAE-179B-9CD3-BF39-4E8E80B1C3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4" y="1598259"/>
            <a:ext cx="5508625" cy="2635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audience indicato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B304E1-BD23-0C90-293D-4DB64525C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080069"/>
            <a:ext cx="5508625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en-GB"/>
              <a:t>[Presenter name]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7F99191-1444-7AB5-122A-B43964FD0E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4" y="5405205"/>
            <a:ext cx="5508625" cy="25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GB"/>
              <a:t>[City, Country, Month date, Year]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0823776-4915-2D63-94B1-1834FA6481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374" y="2113808"/>
            <a:ext cx="5015681" cy="1555667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98667E8-42C5-301D-F411-7450F6FB736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 flipH="1">
            <a:off x="6945998" y="1597930"/>
            <a:ext cx="6858002" cy="3662142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79B629D-9F42-CEF1-E62F-A03E4DD9E0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34533"/>
          <a:stretch>
            <a:fillRect/>
          </a:stretch>
        </p:blipFill>
        <p:spPr>
          <a:xfrm>
            <a:off x="5538497" y="210590"/>
            <a:ext cx="6487956" cy="691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6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611">
          <p15:clr>
            <a:srgbClr val="FBAE40"/>
          </p15:clr>
        </p15:guide>
        <p15:guide id="4" pos="3069">
          <p15:clr>
            <a:srgbClr val="FBAE40"/>
          </p15:clr>
        </p15:guide>
        <p15:guide id="5" pos="2298">
          <p15:clr>
            <a:srgbClr val="FBAE40"/>
          </p15:clr>
        </p15:guide>
        <p15:guide id="6" orient="horz" pos="1729">
          <p15:clr>
            <a:srgbClr val="FBAE40"/>
          </p15:clr>
        </p15:guide>
        <p15:guide id="7" orient="horz" pos="259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9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35.xml"/><Relationship Id="rId47" Type="http://schemas.openxmlformats.org/officeDocument/2006/relationships/slideLayout" Target="../slideLayouts/slideLayout140.xml"/><Relationship Id="rId63" Type="http://schemas.openxmlformats.org/officeDocument/2006/relationships/slideLayout" Target="../slideLayouts/slideLayout156.xml"/><Relationship Id="rId68" Type="http://schemas.openxmlformats.org/officeDocument/2006/relationships/slideLayout" Target="../slideLayouts/slideLayout161.xml"/><Relationship Id="rId84" Type="http://schemas.openxmlformats.org/officeDocument/2006/relationships/slideLayout" Target="../slideLayouts/slideLayout177.xml"/><Relationship Id="rId89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9" Type="http://schemas.openxmlformats.org/officeDocument/2006/relationships/slideLayout" Target="../slideLayouts/slideLayout122.xml"/><Relationship Id="rId107" Type="http://schemas.openxmlformats.org/officeDocument/2006/relationships/oleObject" Target="../embeddings/oleObject1.bin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32" Type="http://schemas.openxmlformats.org/officeDocument/2006/relationships/slideLayout" Target="../slideLayouts/slideLayout125.xml"/><Relationship Id="rId37" Type="http://schemas.openxmlformats.org/officeDocument/2006/relationships/slideLayout" Target="../slideLayouts/slideLayout130.xml"/><Relationship Id="rId40" Type="http://schemas.openxmlformats.org/officeDocument/2006/relationships/slideLayout" Target="../slideLayouts/slideLayout133.xml"/><Relationship Id="rId45" Type="http://schemas.openxmlformats.org/officeDocument/2006/relationships/slideLayout" Target="../slideLayouts/slideLayout138.xml"/><Relationship Id="rId53" Type="http://schemas.openxmlformats.org/officeDocument/2006/relationships/slideLayout" Target="../slideLayouts/slideLayout146.xml"/><Relationship Id="rId58" Type="http://schemas.openxmlformats.org/officeDocument/2006/relationships/slideLayout" Target="../slideLayouts/slideLayout151.xml"/><Relationship Id="rId66" Type="http://schemas.openxmlformats.org/officeDocument/2006/relationships/slideLayout" Target="../slideLayouts/slideLayout159.xml"/><Relationship Id="rId74" Type="http://schemas.openxmlformats.org/officeDocument/2006/relationships/slideLayout" Target="../slideLayouts/slideLayout167.xml"/><Relationship Id="rId79" Type="http://schemas.openxmlformats.org/officeDocument/2006/relationships/slideLayout" Target="../slideLayouts/slideLayout172.xml"/><Relationship Id="rId87" Type="http://schemas.openxmlformats.org/officeDocument/2006/relationships/slideLayout" Target="../slideLayouts/slideLayout180.xml"/><Relationship Id="rId102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98.xml"/><Relationship Id="rId61" Type="http://schemas.openxmlformats.org/officeDocument/2006/relationships/slideLayout" Target="../slideLayouts/slideLayout154.xml"/><Relationship Id="rId82" Type="http://schemas.openxmlformats.org/officeDocument/2006/relationships/slideLayout" Target="../slideLayouts/slideLayout175.xml"/><Relationship Id="rId90" Type="http://schemas.openxmlformats.org/officeDocument/2006/relationships/slideLayout" Target="../slideLayouts/slideLayout183.xml"/><Relationship Id="rId95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23.xml"/><Relationship Id="rId35" Type="http://schemas.openxmlformats.org/officeDocument/2006/relationships/slideLayout" Target="../slideLayouts/slideLayout128.xml"/><Relationship Id="rId43" Type="http://schemas.openxmlformats.org/officeDocument/2006/relationships/slideLayout" Target="../slideLayouts/slideLayout136.xml"/><Relationship Id="rId48" Type="http://schemas.openxmlformats.org/officeDocument/2006/relationships/slideLayout" Target="../slideLayouts/slideLayout141.xml"/><Relationship Id="rId56" Type="http://schemas.openxmlformats.org/officeDocument/2006/relationships/slideLayout" Target="../slideLayouts/slideLayout149.xml"/><Relationship Id="rId64" Type="http://schemas.openxmlformats.org/officeDocument/2006/relationships/slideLayout" Target="../slideLayouts/slideLayout157.xml"/><Relationship Id="rId69" Type="http://schemas.openxmlformats.org/officeDocument/2006/relationships/slideLayout" Target="../slideLayouts/slideLayout162.xml"/><Relationship Id="rId77" Type="http://schemas.openxmlformats.org/officeDocument/2006/relationships/slideLayout" Target="../slideLayouts/slideLayout170.xml"/><Relationship Id="rId100" Type="http://schemas.openxmlformats.org/officeDocument/2006/relationships/slideLayout" Target="../slideLayouts/slideLayout193.xml"/><Relationship Id="rId105" Type="http://schemas.openxmlformats.org/officeDocument/2006/relationships/theme" Target="../theme/theme2.xml"/><Relationship Id="rId8" Type="http://schemas.openxmlformats.org/officeDocument/2006/relationships/slideLayout" Target="../slideLayouts/slideLayout101.xml"/><Relationship Id="rId51" Type="http://schemas.openxmlformats.org/officeDocument/2006/relationships/slideLayout" Target="../slideLayouts/slideLayout144.xml"/><Relationship Id="rId72" Type="http://schemas.openxmlformats.org/officeDocument/2006/relationships/slideLayout" Target="../slideLayouts/slideLayout165.xml"/><Relationship Id="rId80" Type="http://schemas.openxmlformats.org/officeDocument/2006/relationships/slideLayout" Target="../slideLayouts/slideLayout173.xml"/><Relationship Id="rId85" Type="http://schemas.openxmlformats.org/officeDocument/2006/relationships/slideLayout" Target="../slideLayouts/slideLayout178.xml"/><Relationship Id="rId93" Type="http://schemas.openxmlformats.org/officeDocument/2006/relationships/slideLayout" Target="../slideLayouts/slideLayout186.xml"/><Relationship Id="rId98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33" Type="http://schemas.openxmlformats.org/officeDocument/2006/relationships/slideLayout" Target="../slideLayouts/slideLayout126.xml"/><Relationship Id="rId38" Type="http://schemas.openxmlformats.org/officeDocument/2006/relationships/slideLayout" Target="../slideLayouts/slideLayout131.xml"/><Relationship Id="rId46" Type="http://schemas.openxmlformats.org/officeDocument/2006/relationships/slideLayout" Target="../slideLayouts/slideLayout139.xml"/><Relationship Id="rId59" Type="http://schemas.openxmlformats.org/officeDocument/2006/relationships/slideLayout" Target="../slideLayouts/slideLayout152.xml"/><Relationship Id="rId67" Type="http://schemas.openxmlformats.org/officeDocument/2006/relationships/slideLayout" Target="../slideLayouts/slideLayout160.xml"/><Relationship Id="rId103" Type="http://schemas.openxmlformats.org/officeDocument/2006/relationships/slideLayout" Target="../slideLayouts/slideLayout196.xml"/><Relationship Id="rId108" Type="http://schemas.openxmlformats.org/officeDocument/2006/relationships/image" Target="../media/image1.emf"/><Relationship Id="rId20" Type="http://schemas.openxmlformats.org/officeDocument/2006/relationships/slideLayout" Target="../slideLayouts/slideLayout113.xml"/><Relationship Id="rId41" Type="http://schemas.openxmlformats.org/officeDocument/2006/relationships/slideLayout" Target="../slideLayouts/slideLayout134.xml"/><Relationship Id="rId54" Type="http://schemas.openxmlformats.org/officeDocument/2006/relationships/slideLayout" Target="../slideLayouts/slideLayout147.xml"/><Relationship Id="rId62" Type="http://schemas.openxmlformats.org/officeDocument/2006/relationships/slideLayout" Target="../slideLayouts/slideLayout155.xml"/><Relationship Id="rId70" Type="http://schemas.openxmlformats.org/officeDocument/2006/relationships/slideLayout" Target="../slideLayouts/slideLayout163.xml"/><Relationship Id="rId75" Type="http://schemas.openxmlformats.org/officeDocument/2006/relationships/slideLayout" Target="../slideLayouts/slideLayout168.xml"/><Relationship Id="rId83" Type="http://schemas.openxmlformats.org/officeDocument/2006/relationships/slideLayout" Target="../slideLayouts/slideLayout176.xml"/><Relationship Id="rId88" Type="http://schemas.openxmlformats.org/officeDocument/2006/relationships/slideLayout" Target="../slideLayouts/slideLayout181.xml"/><Relationship Id="rId91" Type="http://schemas.openxmlformats.org/officeDocument/2006/relationships/slideLayout" Target="../slideLayouts/slideLayout184.xml"/><Relationship Id="rId96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36" Type="http://schemas.openxmlformats.org/officeDocument/2006/relationships/slideLayout" Target="../slideLayouts/slideLayout129.xml"/><Relationship Id="rId49" Type="http://schemas.openxmlformats.org/officeDocument/2006/relationships/slideLayout" Target="../slideLayouts/slideLayout142.xml"/><Relationship Id="rId57" Type="http://schemas.openxmlformats.org/officeDocument/2006/relationships/slideLayout" Target="../slideLayouts/slideLayout150.xml"/><Relationship Id="rId106" Type="http://schemas.openxmlformats.org/officeDocument/2006/relationships/tags" Target="../tags/tag47.xml"/><Relationship Id="rId10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24.xml"/><Relationship Id="rId44" Type="http://schemas.openxmlformats.org/officeDocument/2006/relationships/slideLayout" Target="../slideLayouts/slideLayout137.xml"/><Relationship Id="rId52" Type="http://schemas.openxmlformats.org/officeDocument/2006/relationships/slideLayout" Target="../slideLayouts/slideLayout145.xml"/><Relationship Id="rId60" Type="http://schemas.openxmlformats.org/officeDocument/2006/relationships/slideLayout" Target="../slideLayouts/slideLayout153.xml"/><Relationship Id="rId65" Type="http://schemas.openxmlformats.org/officeDocument/2006/relationships/slideLayout" Target="../slideLayouts/slideLayout158.xml"/><Relationship Id="rId73" Type="http://schemas.openxmlformats.org/officeDocument/2006/relationships/slideLayout" Target="../slideLayouts/slideLayout166.xml"/><Relationship Id="rId78" Type="http://schemas.openxmlformats.org/officeDocument/2006/relationships/slideLayout" Target="../slideLayouts/slideLayout171.xml"/><Relationship Id="rId81" Type="http://schemas.openxmlformats.org/officeDocument/2006/relationships/slideLayout" Target="../slideLayouts/slideLayout174.xml"/><Relationship Id="rId86" Type="http://schemas.openxmlformats.org/officeDocument/2006/relationships/slideLayout" Target="../slideLayouts/slideLayout179.xml"/><Relationship Id="rId94" Type="http://schemas.openxmlformats.org/officeDocument/2006/relationships/slideLayout" Target="../slideLayouts/slideLayout187.xml"/><Relationship Id="rId99" Type="http://schemas.openxmlformats.org/officeDocument/2006/relationships/slideLayout" Target="../slideLayouts/slideLayout192.xml"/><Relationship Id="rId101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32.xml"/><Relationship Id="rId109" Type="http://schemas.openxmlformats.org/officeDocument/2006/relationships/image" Target="../media/image2.svg"/><Relationship Id="rId34" Type="http://schemas.openxmlformats.org/officeDocument/2006/relationships/slideLayout" Target="../slideLayouts/slideLayout127.xml"/><Relationship Id="rId50" Type="http://schemas.openxmlformats.org/officeDocument/2006/relationships/slideLayout" Target="../slideLayouts/slideLayout143.xml"/><Relationship Id="rId55" Type="http://schemas.openxmlformats.org/officeDocument/2006/relationships/slideLayout" Target="../slideLayouts/slideLayout148.xml"/><Relationship Id="rId76" Type="http://schemas.openxmlformats.org/officeDocument/2006/relationships/slideLayout" Target="../slideLayouts/slideLayout169.xml"/><Relationship Id="rId97" Type="http://schemas.openxmlformats.org/officeDocument/2006/relationships/slideLayout" Target="../slideLayouts/slideLayout190.xml"/><Relationship Id="rId104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100.xml"/><Relationship Id="rId71" Type="http://schemas.openxmlformats.org/officeDocument/2006/relationships/slideLayout" Target="../slideLayouts/slideLayout164.xml"/><Relationship Id="rId92" Type="http://schemas.openxmlformats.org/officeDocument/2006/relationships/slideLayout" Target="../slideLayouts/slideLayout1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D7DBB37-5DB1-AF5A-3D0F-54CF80A6E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25605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6" imgW="306" imgH="306" progId="TCLayout.ActiveDocument.1">
                  <p:embed/>
                </p:oleObj>
              </mc:Choice>
              <mc:Fallback>
                <p:oleObj name="think-cell Slide" r:id="rId96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DBB37-5DB1-AF5A-3D0F-54CF80A6EF4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001C83-36AE-A5E2-4E80-B3AD2D747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7714"/>
            <a:ext cx="11053762" cy="92358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another 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A85944-6880-CBB6-BA63-4A90CA9359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4" y="1669774"/>
            <a:ext cx="11053763" cy="4431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C48B9D-E96E-CF7A-0393-A815621AA3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E2A65B7-C498-C19F-571F-ECCE64119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 hidden="1">
            <a:extLst>
              <a:ext uri="{FF2B5EF4-FFF2-40B4-BE49-F238E27FC236}">
                <a16:creationId xmlns:a16="http://schemas.microsoft.com/office/drawing/2014/main" id="{BA72FC20-E2CA-59C4-7B21-62C9115E4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282166" y="-250200"/>
            <a:ext cx="12756333" cy="7357336"/>
            <a:chOff x="-282166" y="-250200"/>
            <a:chExt cx="12756333" cy="7357336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2B8D85E-52EF-FA63-9592-265E43AD271D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282166" y="-249136"/>
              <a:ext cx="766850" cy="1806436"/>
              <a:chOff x="-282166" y="-249136"/>
              <a:chExt cx="766850" cy="1806436"/>
            </a:xfrm>
          </p:grpSpPr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D6D0D5E-5313-2E8E-FAC4-9AE8AC71A06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8468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2E47E72-9EED-156D-E1C9-0EF9F58EB76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4860373-8117-E073-7E3E-240392FEC0F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173599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B8D9028B-4948-B67E-79B8-A1A4C3540EC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4619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97BD11A-2E6F-80FC-4AC5-0F4673578EF2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flipV="1">
              <a:off x="-282166" y="6669000"/>
              <a:ext cx="766850" cy="438136"/>
              <a:chOff x="-282166" y="-249136"/>
              <a:chExt cx="766850" cy="438136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333A3C60-6DDF-0E86-7A5D-C9E2DC700AC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8468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1973A5B8-A847-F13D-C557-F6CAA8F1C3B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D787A70-EF66-4785-95AD-991F81706E7F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flipH="1">
              <a:off x="11716147" y="-250200"/>
              <a:ext cx="758020" cy="1806436"/>
              <a:chOff x="-282166" y="-249136"/>
              <a:chExt cx="758020" cy="1806436"/>
            </a:xfrm>
          </p:grpSpPr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0C36DF73-1683-B9E0-DAE2-CC4FA941174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7585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074D68E9-43F3-F793-E58E-42D96487CDA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FA51D9C8-457F-A702-330E-3E83FF49A9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173599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8317C7D4-4BF5-ECE3-AB0F-69BAEB0392E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4619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B1F3722B-662F-EE1F-F28F-2117DFF43FC7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flipH="1" flipV="1">
              <a:off x="11716147" y="6669000"/>
              <a:ext cx="758020" cy="438136"/>
              <a:chOff x="-282166" y="-249136"/>
              <a:chExt cx="758020" cy="438136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31A63819-901C-AE9C-B688-44EE3E52D12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7585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E85C02E4-A713-5717-13B4-0D5BEFA009B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Slide Number Static">
            <a:extLst>
              <a:ext uri="{FF2B5EF4-FFF2-40B4-BE49-F238E27FC236}">
                <a16:creationId xmlns:a16="http://schemas.microsoft.com/office/drawing/2014/main" id="{0F53755A-AAEB-1479-514E-151376946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83B174F-3BFC-84F6-A642-3492728A4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8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41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4568" r:id="rId2"/>
    <p:sldLayoutId id="2147483764" r:id="rId3"/>
    <p:sldLayoutId id="2147483927" r:id="rId4"/>
    <p:sldLayoutId id="2147484575" r:id="rId5"/>
    <p:sldLayoutId id="2147484574" r:id="rId6"/>
    <p:sldLayoutId id="2147484569" r:id="rId7"/>
    <p:sldLayoutId id="2147484571" r:id="rId8"/>
    <p:sldLayoutId id="2147484572" r:id="rId9"/>
    <p:sldLayoutId id="2147484570" r:id="rId10"/>
    <p:sldLayoutId id="2147484573" r:id="rId11"/>
    <p:sldLayoutId id="2147484583" r:id="rId12"/>
    <p:sldLayoutId id="2147484584" r:id="rId13"/>
    <p:sldLayoutId id="2147484585" r:id="rId14"/>
    <p:sldLayoutId id="2147484586" r:id="rId15"/>
    <p:sldLayoutId id="2147484588" r:id="rId16"/>
    <p:sldLayoutId id="2147484589" r:id="rId17"/>
    <p:sldLayoutId id="2147484587" r:id="rId18"/>
    <p:sldLayoutId id="2147483903" r:id="rId19"/>
    <p:sldLayoutId id="2147483950" r:id="rId20"/>
    <p:sldLayoutId id="2147484580" r:id="rId21"/>
    <p:sldLayoutId id="2147484576" r:id="rId22"/>
    <p:sldLayoutId id="2147484579" r:id="rId23"/>
    <p:sldLayoutId id="2147484581" r:id="rId24"/>
    <p:sldLayoutId id="2147484577" r:id="rId25"/>
    <p:sldLayoutId id="2147484578" r:id="rId26"/>
    <p:sldLayoutId id="2147483957" r:id="rId27"/>
    <p:sldLayoutId id="2147483959" r:id="rId28"/>
    <p:sldLayoutId id="2147483960" r:id="rId29"/>
    <p:sldLayoutId id="2147483785" r:id="rId30"/>
    <p:sldLayoutId id="2147483961" r:id="rId31"/>
    <p:sldLayoutId id="2147483786" r:id="rId32"/>
    <p:sldLayoutId id="2147483813" r:id="rId33"/>
    <p:sldLayoutId id="2147484132" r:id="rId34"/>
    <p:sldLayoutId id="2147484133" r:id="rId35"/>
    <p:sldLayoutId id="2147483814" r:id="rId36"/>
    <p:sldLayoutId id="2147483815" r:id="rId37"/>
    <p:sldLayoutId id="2147483816" r:id="rId38"/>
    <p:sldLayoutId id="2147483817" r:id="rId39"/>
    <p:sldLayoutId id="2147483818" r:id="rId40"/>
    <p:sldLayoutId id="2147483819" r:id="rId41"/>
    <p:sldLayoutId id="2147483820" r:id="rId42"/>
    <p:sldLayoutId id="2147483821" r:id="rId43"/>
    <p:sldLayoutId id="2147483822" r:id="rId44"/>
    <p:sldLayoutId id="2147483962" r:id="rId45"/>
    <p:sldLayoutId id="2147484611" r:id="rId46"/>
    <p:sldLayoutId id="2147484593" r:id="rId47"/>
    <p:sldLayoutId id="2147483963" r:id="rId48"/>
    <p:sldLayoutId id="2147484582" r:id="rId49"/>
    <p:sldLayoutId id="2147484590" r:id="rId50"/>
    <p:sldLayoutId id="2147484591" r:id="rId51"/>
    <p:sldLayoutId id="2147484592" r:id="rId52"/>
    <p:sldLayoutId id="2147484610" r:id="rId53"/>
    <p:sldLayoutId id="2147483972" r:id="rId54"/>
    <p:sldLayoutId id="2147483966" r:id="rId55"/>
    <p:sldLayoutId id="2147483969" r:id="rId56"/>
    <p:sldLayoutId id="2147484594" r:id="rId57"/>
    <p:sldLayoutId id="2147484597" r:id="rId58"/>
    <p:sldLayoutId id="2147484596" r:id="rId59"/>
    <p:sldLayoutId id="2147483968" r:id="rId60"/>
    <p:sldLayoutId id="2147483843" r:id="rId61"/>
    <p:sldLayoutId id="2147483829" r:id="rId62"/>
    <p:sldLayoutId id="2147483830" r:id="rId63"/>
    <p:sldLayoutId id="2147483831" r:id="rId64"/>
    <p:sldLayoutId id="2147483832" r:id="rId65"/>
    <p:sldLayoutId id="2147483836" r:id="rId66"/>
    <p:sldLayoutId id="2147483837" r:id="rId67"/>
    <p:sldLayoutId id="2147483838" r:id="rId68"/>
    <p:sldLayoutId id="2147483839" r:id="rId69"/>
    <p:sldLayoutId id="2147483840" r:id="rId70"/>
    <p:sldLayoutId id="2147483842" r:id="rId71"/>
    <p:sldLayoutId id="2147483841" r:id="rId72"/>
    <p:sldLayoutId id="2147483846" r:id="rId73"/>
    <p:sldLayoutId id="2147483873" r:id="rId74"/>
    <p:sldLayoutId id="2147483996" r:id="rId75"/>
    <p:sldLayoutId id="2147484563" r:id="rId76"/>
    <p:sldLayoutId id="2147484564" r:id="rId77"/>
    <p:sldLayoutId id="2147484566" r:id="rId78"/>
    <p:sldLayoutId id="2147484602" r:id="rId79"/>
    <p:sldLayoutId id="2147484603" r:id="rId80"/>
    <p:sldLayoutId id="2147484604" r:id="rId81"/>
    <p:sldLayoutId id="2147484607" r:id="rId82"/>
    <p:sldLayoutId id="2147484608" r:id="rId83"/>
    <p:sldLayoutId id="2147484609" r:id="rId84"/>
    <p:sldLayoutId id="2147484605" r:id="rId85"/>
    <p:sldLayoutId id="2147484612" r:id="rId86"/>
    <p:sldLayoutId id="2147484606" r:id="rId87"/>
    <p:sldLayoutId id="2147484613" r:id="rId88"/>
    <p:sldLayoutId id="2147484614" r:id="rId89"/>
    <p:sldLayoutId id="2147484615" r:id="rId90"/>
    <p:sldLayoutId id="2147484616" r:id="rId91"/>
    <p:sldLayoutId id="2147484617" r:id="rId92"/>
    <p:sldLayoutId id="2147484618" r:id="rId9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kern="100" spc="-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Clr>
          <a:srgbClr val="281805"/>
        </a:buClr>
        <a:buFont typeface="Arial" panose="020B0604020202020204" pitchFamily="34" charset="0"/>
        <a:buChar char="​"/>
        <a:defRPr sz="1800" b="0" kern="1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540000" rtl="0" eaLnBrk="1" latinLnBrk="0" hangingPunct="1">
        <a:lnSpc>
          <a:spcPct val="95000"/>
        </a:lnSpc>
        <a:spcBef>
          <a:spcPts val="600"/>
        </a:spcBef>
        <a:buClrTx/>
        <a:buFont typeface="Wingdings" pitchFamily="2" charset="2"/>
        <a:buChar char="§"/>
        <a:defRPr sz="1800" b="0" kern="1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540000" rtl="0" eaLnBrk="1" latinLnBrk="0" hangingPunct="1">
        <a:lnSpc>
          <a:spcPct val="95000"/>
        </a:lnSpc>
        <a:spcBef>
          <a:spcPts val="300"/>
        </a:spcBef>
        <a:buClrTx/>
        <a:buFont typeface="Wingdings" pitchFamily="2" charset="2"/>
        <a:buChar char="§"/>
        <a:defRPr sz="1600" b="0" kern="1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540000" rtl="0" eaLnBrk="1" latinLnBrk="0" hangingPunct="1">
        <a:lnSpc>
          <a:spcPct val="95000"/>
        </a:lnSpc>
        <a:spcBef>
          <a:spcPts val="300"/>
        </a:spcBef>
        <a:buClrTx/>
        <a:buFont typeface="Wingdings" pitchFamily="2" charset="2"/>
        <a:buChar char="§"/>
        <a:defRPr sz="1600" kern="100" spc="-30" baseline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5000"/>
        </a:lnSpc>
        <a:spcBef>
          <a:spcPts val="300"/>
        </a:spcBef>
        <a:buClrTx/>
        <a:buSzPct val="100000"/>
        <a:buFont typeface="Arial" panose="020E0502030303020204" pitchFamily="34" charset="0"/>
        <a:buChar char="–"/>
        <a:defRPr sz="1600" kern="100" spc="-30" baseline="0">
          <a:solidFill>
            <a:schemeClr val="tx1"/>
          </a:solidFill>
          <a:latin typeface="+mn-lt"/>
          <a:ea typeface="+mn-ea"/>
          <a:cs typeface="+mn-cs"/>
        </a:defRPr>
      </a:lvl5pPr>
      <a:lvl6pPr marL="358775" indent="-358775" algn="l" defTabSz="914400" rtl="0" eaLnBrk="1" latinLnBrk="0" hangingPunct="1">
        <a:lnSpc>
          <a:spcPct val="95000"/>
        </a:lnSpc>
        <a:spcBef>
          <a:spcPts val="600"/>
        </a:spcBef>
        <a:buClr>
          <a:srgbClr val="281805"/>
        </a:buClr>
        <a:buSzPct val="90000"/>
        <a:buFont typeface="+mj-lt"/>
        <a:buAutoNum type="arabicPeriod"/>
        <a:tabLst/>
        <a:defRPr sz="1800" kern="100" spc="-30" baseline="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95000"/>
        </a:lnSpc>
        <a:spcBef>
          <a:spcPts val="300"/>
        </a:spcBef>
        <a:buClr>
          <a:srgbClr val="281805"/>
        </a:buClr>
        <a:buSzPct val="100000"/>
        <a:buFont typeface="Arial" panose="020E0502030303020204" pitchFamily="34" charset="0"/>
        <a:buChar char="–"/>
        <a:defRPr sz="1600" kern="100" spc="-30" baseline="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360000" algn="l" defTabSz="914400" rtl="0" eaLnBrk="1" latinLnBrk="0" hangingPunct="1">
        <a:lnSpc>
          <a:spcPct val="95000"/>
        </a:lnSpc>
        <a:spcBef>
          <a:spcPts val="600"/>
        </a:spcBef>
        <a:buClr>
          <a:srgbClr val="281805"/>
        </a:buClr>
        <a:buFont typeface="+mj-lt"/>
        <a:buAutoNum type="alphaLcPeriod"/>
        <a:defRPr sz="1800" b="0" kern="100" spc="-30" baseline="0">
          <a:solidFill>
            <a:srgbClr val="281805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95000"/>
        </a:lnSpc>
        <a:spcBef>
          <a:spcPts val="300"/>
        </a:spcBef>
        <a:buClrTx/>
        <a:buFont typeface="Arial" panose="02040503050406030204" pitchFamily="18" charset="0"/>
        <a:buChar char="–"/>
        <a:defRPr sz="1600" b="0" kern="100" spc="-30" baseline="0">
          <a:solidFill>
            <a:srgbClr val="28180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B0604020202020204" pitchFamily="34" charset="0"/>
        <a:buChar char="​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E0502030303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E0502030303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E05020303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SzPct val="100000"/>
        <a:buFont typeface="Arial" panose="020E0502030303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SzPct val="90000"/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SzPct val="100000"/>
        <a:buFont typeface="Arial" panose="020E0502030303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B0604020202020204" pitchFamily="34" charset="0"/>
        <a:buChar char="​"/>
        <a:defRPr sz="1800" b="1" kern="1200">
          <a:solidFill>
            <a:srgbClr val="281805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B0604020202020204" pitchFamily="34" charset="0"/>
        <a:buChar char="​"/>
        <a:defRPr sz="1800" b="1" kern="1200">
          <a:solidFill>
            <a:srgbClr val="281805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70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orient="horz" pos="368" userDrawn="1">
          <p15:clr>
            <a:srgbClr val="F26B43"/>
          </p15:clr>
        </p15:guide>
        <p15:guide id="6" pos="2298" userDrawn="1">
          <p15:clr>
            <a:srgbClr val="F26B43"/>
          </p15:clr>
        </p15:guide>
        <p15:guide id="7" pos="3069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611" userDrawn="1">
          <p15:clr>
            <a:srgbClr val="F26B43"/>
          </p15:clr>
        </p15:guide>
        <p15:guide id="10" pos="5382" userDrawn="1">
          <p15:clr>
            <a:srgbClr val="F26B43"/>
          </p15:clr>
        </p15:guide>
        <p15:guide id="11" orient="horz" pos="4201" userDrawn="1">
          <p15:clr>
            <a:srgbClr val="F26B43"/>
          </p15:clr>
        </p15:guide>
        <p15:guide id="12" orient="horz" pos="259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D7DBB37-5DB1-AF5A-3D0F-54CF80A6E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6"/>
            </p:custDataLst>
            <p:extLst>
              <p:ext uri="{D42A27DB-BD31-4B8C-83A1-F6EECF244321}">
                <p14:modId xmlns:p14="http://schemas.microsoft.com/office/powerpoint/2010/main" val="25605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7" imgW="306" imgH="306" progId="TCLayout.ActiveDocument.1">
                  <p:embed/>
                </p:oleObj>
              </mc:Choice>
              <mc:Fallback>
                <p:oleObj name="think-cell Slide" r:id="rId107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DBB37-5DB1-AF5A-3D0F-54CF80A6EF4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001C83-36AE-A5E2-4E80-B3AD2D747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7714"/>
            <a:ext cx="11053762" cy="92358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another 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A85944-6880-CBB6-BA63-4A90CA9359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4" y="1669774"/>
            <a:ext cx="11053763" cy="4431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C48B9D-E96E-CF7A-0393-A815621AA3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0" y="-208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E2A65B7-C498-C19F-571F-ECCE64119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6886575"/>
            <a:ext cx="0" cy="180000"/>
          </a:xfrm>
          <a:prstGeom prst="line">
            <a:avLst/>
          </a:prstGeom>
          <a:ln>
            <a:solidFill>
              <a:srgbClr val="28180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 hidden="1">
            <a:extLst>
              <a:ext uri="{FF2B5EF4-FFF2-40B4-BE49-F238E27FC236}">
                <a16:creationId xmlns:a16="http://schemas.microsoft.com/office/drawing/2014/main" id="{BA72FC20-E2CA-59C4-7B21-62C9115E4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282166" y="-250200"/>
            <a:ext cx="12756333" cy="7357336"/>
            <a:chOff x="-282166" y="-250200"/>
            <a:chExt cx="12756333" cy="7357336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2B8D85E-52EF-FA63-9592-265E43AD271D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282166" y="-249136"/>
              <a:ext cx="766850" cy="1806436"/>
              <a:chOff x="-282166" y="-249136"/>
              <a:chExt cx="766850" cy="1806436"/>
            </a:xfrm>
          </p:grpSpPr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D6D0D5E-5313-2E8E-FAC4-9AE8AC71A06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8468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2E47E72-9EED-156D-E1C9-0EF9F58EB76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4860373-8117-E073-7E3E-240392FEC0F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173599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B8D9028B-4948-B67E-79B8-A1A4C3540EC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4619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97BD11A-2E6F-80FC-4AC5-0F4673578EF2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flipV="1">
              <a:off x="-282166" y="6669000"/>
              <a:ext cx="766850" cy="438136"/>
              <a:chOff x="-282166" y="-249136"/>
              <a:chExt cx="766850" cy="438136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333A3C60-6DDF-0E86-7A5D-C9E2DC700AC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8468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1973A5B8-A847-F13D-C557-F6CAA8F1C3B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D787A70-EF66-4785-95AD-991F81706E7F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flipH="1">
              <a:off x="11716147" y="-250200"/>
              <a:ext cx="758020" cy="1806436"/>
              <a:chOff x="-282166" y="-249136"/>
              <a:chExt cx="758020" cy="1806436"/>
            </a:xfrm>
          </p:grpSpPr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0C36DF73-1683-B9E0-DAE2-CC4FA941174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7585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074D68E9-43F3-F793-E58E-42D96487CDA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FA51D9C8-457F-A702-330E-3E83FF49A90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173599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8317C7D4-4BF5-ECE3-AB0F-69BAEB0392E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14619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B1F3722B-662F-EE1F-F28F-2117DFF43FC7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flipH="1" flipV="1">
              <a:off x="11716147" y="6669000"/>
              <a:ext cx="758020" cy="438136"/>
              <a:chOff x="-282166" y="-249136"/>
              <a:chExt cx="758020" cy="438136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31A63819-901C-AE9C-B688-44EE3E52D12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75854" y="-249136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E85C02E4-A713-5717-13B4-0D5BEFA009B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16200000" flipH="1">
                <a:off x="-186766" y="93600"/>
                <a:ext cx="0" cy="190800"/>
              </a:xfrm>
              <a:prstGeom prst="line">
                <a:avLst/>
              </a:prstGeom>
              <a:ln>
                <a:solidFill>
                  <a:srgbClr val="281805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Slide Number Static">
            <a:extLst>
              <a:ext uri="{FF2B5EF4-FFF2-40B4-BE49-F238E27FC236}">
                <a16:creationId xmlns:a16="http://schemas.microsoft.com/office/drawing/2014/main" id="{0F53755A-AAEB-1479-514E-151376946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6100935"/>
            <a:ext cx="828000" cy="757065"/>
          </a:xfrm>
          <a:prstGeom prst="rect">
            <a:avLst/>
          </a:prstGeom>
        </p:spPr>
        <p:txBody>
          <a:bodyPr vert="horz" lIns="475200" tIns="0" rIns="64800" bIns="176400" rtlCol="0" anchor="b" anchorCtr="0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9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▪"/>
              <a:defRPr sz="1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◦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1C1606C5-D483-4832-A0E9-CF578A9B5883}" type="slidenum">
              <a:rPr lang="en-GB" sz="1000" smtClean="0"/>
              <a:pPr>
                <a:lnSpc>
                  <a:spcPct val="90000"/>
                </a:lnSpc>
              </a:pPr>
              <a:t>‹#›</a:t>
            </a:fld>
            <a:endParaRPr lang="en-GB" sz="100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83B174F-3BFC-84F6-A642-3492728A4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9"/>
              </a:ext>
            </a:extLst>
          </a:blip>
          <a:srcRect l="26" r="26"/>
          <a:stretch/>
        </p:blipFill>
        <p:spPr>
          <a:xfrm>
            <a:off x="10432800" y="6195600"/>
            <a:ext cx="1554359" cy="81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39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0" r:id="rId1"/>
    <p:sldLayoutId id="2147484621" r:id="rId2"/>
    <p:sldLayoutId id="2147484622" r:id="rId3"/>
    <p:sldLayoutId id="2147484623" r:id="rId4"/>
    <p:sldLayoutId id="2147484624" r:id="rId5"/>
    <p:sldLayoutId id="2147484625" r:id="rId6"/>
    <p:sldLayoutId id="2147484626" r:id="rId7"/>
    <p:sldLayoutId id="2147484627" r:id="rId8"/>
    <p:sldLayoutId id="2147484628" r:id="rId9"/>
    <p:sldLayoutId id="2147484629" r:id="rId10"/>
    <p:sldLayoutId id="2147484630" r:id="rId11"/>
    <p:sldLayoutId id="2147484631" r:id="rId12"/>
    <p:sldLayoutId id="2147484632" r:id="rId13"/>
    <p:sldLayoutId id="2147484633" r:id="rId14"/>
    <p:sldLayoutId id="2147484634" r:id="rId15"/>
    <p:sldLayoutId id="2147484635" r:id="rId16"/>
    <p:sldLayoutId id="2147484636" r:id="rId17"/>
    <p:sldLayoutId id="2147484637" r:id="rId18"/>
    <p:sldLayoutId id="2147484638" r:id="rId19"/>
    <p:sldLayoutId id="2147484639" r:id="rId20"/>
    <p:sldLayoutId id="2147484640" r:id="rId21"/>
    <p:sldLayoutId id="2147484641" r:id="rId22"/>
    <p:sldLayoutId id="2147484642" r:id="rId23"/>
    <p:sldLayoutId id="2147484643" r:id="rId24"/>
    <p:sldLayoutId id="2147484644" r:id="rId25"/>
    <p:sldLayoutId id="2147484645" r:id="rId26"/>
    <p:sldLayoutId id="2147484646" r:id="rId27"/>
    <p:sldLayoutId id="2147484647" r:id="rId28"/>
    <p:sldLayoutId id="2147484648" r:id="rId29"/>
    <p:sldLayoutId id="2147484649" r:id="rId30"/>
    <p:sldLayoutId id="2147484650" r:id="rId31"/>
    <p:sldLayoutId id="2147484651" r:id="rId32"/>
    <p:sldLayoutId id="2147484652" r:id="rId33"/>
    <p:sldLayoutId id="2147484653" r:id="rId34"/>
    <p:sldLayoutId id="2147484654" r:id="rId35"/>
    <p:sldLayoutId id="2147484655" r:id="rId36"/>
    <p:sldLayoutId id="2147484656" r:id="rId37"/>
    <p:sldLayoutId id="2147484657" r:id="rId38"/>
    <p:sldLayoutId id="2147484658" r:id="rId39"/>
    <p:sldLayoutId id="2147484659" r:id="rId40"/>
    <p:sldLayoutId id="2147484660" r:id="rId41"/>
    <p:sldLayoutId id="2147484661" r:id="rId42"/>
    <p:sldLayoutId id="2147484662" r:id="rId43"/>
    <p:sldLayoutId id="2147484663" r:id="rId44"/>
    <p:sldLayoutId id="2147484664" r:id="rId45"/>
    <p:sldLayoutId id="2147484665" r:id="rId46"/>
    <p:sldLayoutId id="2147484666" r:id="rId47"/>
    <p:sldLayoutId id="2147484667" r:id="rId48"/>
    <p:sldLayoutId id="2147484668" r:id="rId49"/>
    <p:sldLayoutId id="2147484669" r:id="rId50"/>
    <p:sldLayoutId id="2147484670" r:id="rId51"/>
    <p:sldLayoutId id="2147484671" r:id="rId52"/>
    <p:sldLayoutId id="2147484672" r:id="rId53"/>
    <p:sldLayoutId id="2147484673" r:id="rId54"/>
    <p:sldLayoutId id="2147484674" r:id="rId55"/>
    <p:sldLayoutId id="2147484675" r:id="rId56"/>
    <p:sldLayoutId id="2147484676" r:id="rId57"/>
    <p:sldLayoutId id="2147484677" r:id="rId58"/>
    <p:sldLayoutId id="2147484678" r:id="rId59"/>
    <p:sldLayoutId id="2147484679" r:id="rId60"/>
    <p:sldLayoutId id="2147484680" r:id="rId61"/>
    <p:sldLayoutId id="2147484681" r:id="rId62"/>
    <p:sldLayoutId id="2147484682" r:id="rId63"/>
    <p:sldLayoutId id="2147484683" r:id="rId64"/>
    <p:sldLayoutId id="2147484684" r:id="rId65"/>
    <p:sldLayoutId id="2147484685" r:id="rId66"/>
    <p:sldLayoutId id="2147484686" r:id="rId67"/>
    <p:sldLayoutId id="2147484687" r:id="rId68"/>
    <p:sldLayoutId id="2147484688" r:id="rId69"/>
    <p:sldLayoutId id="2147484689" r:id="rId70"/>
    <p:sldLayoutId id="2147484690" r:id="rId71"/>
    <p:sldLayoutId id="2147484691" r:id="rId72"/>
    <p:sldLayoutId id="2147484692" r:id="rId73"/>
    <p:sldLayoutId id="2147484693" r:id="rId74"/>
    <p:sldLayoutId id="2147484694" r:id="rId75"/>
    <p:sldLayoutId id="2147484695" r:id="rId76"/>
    <p:sldLayoutId id="2147484696" r:id="rId77"/>
    <p:sldLayoutId id="2147484697" r:id="rId78"/>
    <p:sldLayoutId id="2147484698" r:id="rId79"/>
    <p:sldLayoutId id="2147484699" r:id="rId80"/>
    <p:sldLayoutId id="2147484700" r:id="rId81"/>
    <p:sldLayoutId id="2147484701" r:id="rId82"/>
    <p:sldLayoutId id="2147484702" r:id="rId83"/>
    <p:sldLayoutId id="2147484703" r:id="rId84"/>
    <p:sldLayoutId id="2147484704" r:id="rId85"/>
    <p:sldLayoutId id="2147484705" r:id="rId86"/>
    <p:sldLayoutId id="2147484706" r:id="rId87"/>
    <p:sldLayoutId id="2147484707" r:id="rId88"/>
    <p:sldLayoutId id="2147484708" r:id="rId89"/>
    <p:sldLayoutId id="2147484709" r:id="rId90"/>
    <p:sldLayoutId id="2147484710" r:id="rId91"/>
    <p:sldLayoutId id="2147484711" r:id="rId92"/>
    <p:sldLayoutId id="2147484712" r:id="rId93"/>
    <p:sldLayoutId id="2147484713" r:id="rId94"/>
    <p:sldLayoutId id="2147484714" r:id="rId95"/>
    <p:sldLayoutId id="2147484715" r:id="rId96"/>
    <p:sldLayoutId id="2147484716" r:id="rId97"/>
    <p:sldLayoutId id="2147484717" r:id="rId98"/>
    <p:sldLayoutId id="2147484718" r:id="rId99"/>
    <p:sldLayoutId id="2147484719" r:id="rId100"/>
    <p:sldLayoutId id="2147484720" r:id="rId101"/>
    <p:sldLayoutId id="2147484721" r:id="rId102"/>
    <p:sldLayoutId id="2147484722" r:id="rId103"/>
    <p:sldLayoutId id="2147484723" r:id="rId104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kern="100" spc="-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Clr>
          <a:srgbClr val="281805"/>
        </a:buClr>
        <a:buFont typeface="Arial" panose="020B0604020202020204" pitchFamily="34" charset="0"/>
        <a:buChar char="​"/>
        <a:defRPr sz="1800" b="0" kern="1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540000" rtl="0" eaLnBrk="1" latinLnBrk="0" hangingPunct="1">
        <a:lnSpc>
          <a:spcPct val="95000"/>
        </a:lnSpc>
        <a:spcBef>
          <a:spcPts val="600"/>
        </a:spcBef>
        <a:buClrTx/>
        <a:buFont typeface="Wingdings" pitchFamily="2" charset="2"/>
        <a:buChar char="§"/>
        <a:defRPr sz="1800" b="0" kern="1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540000" rtl="0" eaLnBrk="1" latinLnBrk="0" hangingPunct="1">
        <a:lnSpc>
          <a:spcPct val="95000"/>
        </a:lnSpc>
        <a:spcBef>
          <a:spcPts val="300"/>
        </a:spcBef>
        <a:buClrTx/>
        <a:buFont typeface="Wingdings" pitchFamily="2" charset="2"/>
        <a:buChar char="§"/>
        <a:defRPr sz="1600" b="0" kern="1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540000" rtl="0" eaLnBrk="1" latinLnBrk="0" hangingPunct="1">
        <a:lnSpc>
          <a:spcPct val="95000"/>
        </a:lnSpc>
        <a:spcBef>
          <a:spcPts val="300"/>
        </a:spcBef>
        <a:buClrTx/>
        <a:buFont typeface="Wingdings" pitchFamily="2" charset="2"/>
        <a:buChar char="§"/>
        <a:defRPr sz="1600" kern="100" spc="-30" baseline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5000"/>
        </a:lnSpc>
        <a:spcBef>
          <a:spcPts val="300"/>
        </a:spcBef>
        <a:buClrTx/>
        <a:buSzPct val="100000"/>
        <a:buFont typeface="Arial" panose="020E0502030303020204" pitchFamily="34" charset="0"/>
        <a:buChar char="–"/>
        <a:defRPr sz="1600" kern="100" spc="-30" baseline="0">
          <a:solidFill>
            <a:schemeClr val="tx1"/>
          </a:solidFill>
          <a:latin typeface="+mn-lt"/>
          <a:ea typeface="+mn-ea"/>
          <a:cs typeface="+mn-cs"/>
        </a:defRPr>
      </a:lvl5pPr>
      <a:lvl6pPr marL="358775" indent="-358775" algn="l" defTabSz="914400" rtl="0" eaLnBrk="1" latinLnBrk="0" hangingPunct="1">
        <a:lnSpc>
          <a:spcPct val="95000"/>
        </a:lnSpc>
        <a:spcBef>
          <a:spcPts val="600"/>
        </a:spcBef>
        <a:buClr>
          <a:srgbClr val="281805"/>
        </a:buClr>
        <a:buSzPct val="90000"/>
        <a:buFont typeface="+mj-lt"/>
        <a:buAutoNum type="arabicPeriod"/>
        <a:tabLst/>
        <a:defRPr sz="1800" kern="100" spc="-30" baseline="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95000"/>
        </a:lnSpc>
        <a:spcBef>
          <a:spcPts val="300"/>
        </a:spcBef>
        <a:buClr>
          <a:srgbClr val="281805"/>
        </a:buClr>
        <a:buSzPct val="100000"/>
        <a:buFont typeface="Arial" panose="020E0502030303020204" pitchFamily="34" charset="0"/>
        <a:buChar char="–"/>
        <a:defRPr sz="1600" kern="100" spc="-30" baseline="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360000" algn="l" defTabSz="914400" rtl="0" eaLnBrk="1" latinLnBrk="0" hangingPunct="1">
        <a:lnSpc>
          <a:spcPct val="95000"/>
        </a:lnSpc>
        <a:spcBef>
          <a:spcPts val="600"/>
        </a:spcBef>
        <a:buClr>
          <a:srgbClr val="281805"/>
        </a:buClr>
        <a:buFont typeface="+mj-lt"/>
        <a:buAutoNum type="alphaLcPeriod"/>
        <a:defRPr sz="1800" b="0" kern="100" spc="-30" baseline="0">
          <a:solidFill>
            <a:srgbClr val="281805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95000"/>
        </a:lnSpc>
        <a:spcBef>
          <a:spcPts val="300"/>
        </a:spcBef>
        <a:buClrTx/>
        <a:buFont typeface="Arial" panose="02040503050406030204" pitchFamily="18" charset="0"/>
        <a:buChar char="–"/>
        <a:defRPr sz="1600" b="0" kern="100" spc="-30" baseline="0">
          <a:solidFill>
            <a:srgbClr val="28180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B0604020202020204" pitchFamily="34" charset="0"/>
        <a:buChar char="​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E0502030303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E0502030303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E05020303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SzPct val="100000"/>
        <a:buFont typeface="Arial" panose="020E0502030303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SzPct val="90000"/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SzPct val="100000"/>
        <a:buFont typeface="Arial" panose="020E0502030303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B0604020202020204" pitchFamily="34" charset="0"/>
        <a:buChar char="​"/>
        <a:defRPr sz="1800" b="1" kern="1200">
          <a:solidFill>
            <a:srgbClr val="281805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Clr>
          <a:srgbClr val="281805"/>
        </a:buClr>
        <a:buFont typeface="Arial" panose="020B0604020202020204" pitchFamily="34" charset="0"/>
        <a:buChar char="​"/>
        <a:defRPr sz="1800" b="1" kern="1200">
          <a:solidFill>
            <a:srgbClr val="281805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70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orient="horz" pos="368">
          <p15:clr>
            <a:srgbClr val="F26B43"/>
          </p15:clr>
        </p15:guide>
        <p15:guide id="6" pos="2298">
          <p15:clr>
            <a:srgbClr val="F26B43"/>
          </p15:clr>
        </p15:guide>
        <p15:guide id="7" pos="3069">
          <p15:clr>
            <a:srgbClr val="F26B43"/>
          </p15:clr>
        </p15:guide>
        <p15:guide id="8" pos="3840">
          <p15:clr>
            <a:srgbClr val="F26B43"/>
          </p15:clr>
        </p15:guide>
        <p15:guide id="9" pos="4611">
          <p15:clr>
            <a:srgbClr val="F26B43"/>
          </p15:clr>
        </p15:guide>
        <p15:guide id="10" pos="5382">
          <p15:clr>
            <a:srgbClr val="F26B43"/>
          </p15:clr>
        </p15:guide>
        <p15:guide id="11" orient="horz" pos="4201">
          <p15:clr>
            <a:srgbClr val="F26B43"/>
          </p15:clr>
        </p15:guide>
        <p15:guide id="12" orient="horz" pos="25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3C5B83-AD69-2FFC-243A-BEC72380CE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0A66EDB-DC7A-577B-88FF-431858CD507D}"/>
              </a:ext>
            </a:extLst>
          </p:cNvPr>
          <p:cNvSpPr/>
          <p:nvPr/>
        </p:nvSpPr>
        <p:spPr>
          <a:xfrm>
            <a:off x="438787" y="6437376"/>
            <a:ext cx="237869" cy="26776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92DFAF-8ECB-637D-5C35-7C864EEF59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909" y="4110423"/>
            <a:ext cx="1525968" cy="147893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F328A6E-A8CC-B2DE-F5AA-02B95C2C9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158" y="256059"/>
            <a:ext cx="11401619" cy="379893"/>
          </a:xfrm>
        </p:spPr>
        <p:txBody>
          <a:bodyPr/>
          <a:lstStyle/>
          <a:p>
            <a:r>
              <a:rPr lang="en-GB" dirty="0"/>
              <a:t>Sample financial life plan					</a:t>
            </a:r>
            <a:r>
              <a:rPr lang="en-GB" sz="1800" b="1" dirty="0">
                <a:latin typeface="+mn-lt"/>
              </a:rPr>
              <a:t>For members only </a:t>
            </a:r>
            <a:br>
              <a:rPr lang="en-US" dirty="0"/>
            </a:b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6D8632-0629-D879-CD9C-2455CCA81095}"/>
              </a:ext>
            </a:extLst>
          </p:cNvPr>
          <p:cNvSpPr/>
          <p:nvPr/>
        </p:nvSpPr>
        <p:spPr>
          <a:xfrm>
            <a:off x="587375" y="2057400"/>
            <a:ext cx="2574926" cy="1874520"/>
          </a:xfrm>
          <a:prstGeom prst="rect">
            <a:avLst/>
          </a:prstGeom>
          <a:solidFill>
            <a:srgbClr val="D1E4F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n-GB" sz="1600" b="1" dirty="0">
                <a:solidFill>
                  <a:schemeClr val="tx1"/>
                </a:solidFill>
              </a:rPr>
              <a:t>My principl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To max time with partner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To be self-sufficient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To be able to enjoy different arts and cultur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77D225-E663-F9FA-2676-8C830E058B89}"/>
              </a:ext>
            </a:extLst>
          </p:cNvPr>
          <p:cNvSpPr/>
          <p:nvPr/>
        </p:nvSpPr>
        <p:spPr>
          <a:xfrm>
            <a:off x="591185" y="4072890"/>
            <a:ext cx="2574926" cy="1874520"/>
          </a:xfrm>
          <a:prstGeom prst="rect">
            <a:avLst/>
          </a:prstGeom>
          <a:solidFill>
            <a:srgbClr val="D1E4F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n-GB" sz="1600" b="1" dirty="0">
                <a:solidFill>
                  <a:schemeClr val="tx1"/>
                </a:solidFill>
              </a:rPr>
              <a:t>My goal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To be mortgage free by 55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Plan for kids education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Use ISAs, pensions and allowances more wisely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E733BF-05D8-33FF-175C-EDE302A6288B}"/>
              </a:ext>
            </a:extLst>
          </p:cNvPr>
          <p:cNvSpPr txBox="1"/>
          <p:nvPr/>
        </p:nvSpPr>
        <p:spPr>
          <a:xfrm>
            <a:off x="587375" y="1712863"/>
            <a:ext cx="914400" cy="3798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b="1" kern="100" spc="-30" dirty="0"/>
              <a:t>Your life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764426-8BF5-8A00-91BB-ED1046BDCF92}"/>
              </a:ext>
            </a:extLst>
          </p:cNvPr>
          <p:cNvSpPr txBox="1"/>
          <p:nvPr/>
        </p:nvSpPr>
        <p:spPr>
          <a:xfrm>
            <a:off x="3494405" y="1716673"/>
            <a:ext cx="914400" cy="3798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b="1" kern="100" spc="-30" dirty="0"/>
              <a:t>Your money: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EF886FE-E5B2-D8F9-EEBC-ED63A1ACB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677643"/>
              </p:ext>
            </p:extLst>
          </p:nvPr>
        </p:nvGraphicFramePr>
        <p:xfrm>
          <a:off x="3490277" y="2073659"/>
          <a:ext cx="2270444" cy="18973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35222">
                  <a:extLst>
                    <a:ext uri="{9D8B030D-6E8A-4147-A177-3AD203B41FA5}">
                      <a16:colId xmlns:a16="http://schemas.microsoft.com/office/drawing/2014/main" val="2353218613"/>
                    </a:ext>
                  </a:extLst>
                </a:gridCol>
                <a:gridCol w="1135222">
                  <a:extLst>
                    <a:ext uri="{9D8B030D-6E8A-4147-A177-3AD203B41FA5}">
                      <a16:colId xmlns:a16="http://schemas.microsoft.com/office/drawing/2014/main" val="3496655805"/>
                    </a:ext>
                  </a:extLst>
                </a:gridCol>
              </a:tblGrid>
              <a:tr h="235672">
                <a:tc>
                  <a:txBody>
                    <a:bodyPr/>
                    <a:lstStyle/>
                    <a:p>
                      <a:r>
                        <a:rPr lang="en-GB" sz="1050" dirty="0"/>
                        <a:t>Ass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Lia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8951032"/>
                  </a:ext>
                </a:extLst>
              </a:tr>
              <a:tr h="385645"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chemeClr val="accent1">
                              <a:lumMod val="50000"/>
                            </a:schemeClr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/>
                        <a:t> Property:</a:t>
                      </a:r>
                    </a:p>
                    <a:p>
                      <a:r>
                        <a:rPr lang="en-GB" sz="1050" dirty="0"/>
                        <a:t>£35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rgbClr val="E97132"/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>
                          <a:sym typeface="Wingdings 2" panose="05020102010507070707" pitchFamily="18" charset="2"/>
                        </a:rPr>
                        <a:t> Mo</a:t>
                      </a:r>
                      <a:r>
                        <a:rPr lang="en-GB" sz="1050" dirty="0"/>
                        <a:t>rtgage: £19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747467"/>
                  </a:ext>
                </a:extLst>
              </a:tr>
              <a:tr h="385645"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rgbClr val="156082"/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>
                          <a:sym typeface="Wingdings 2" panose="05020102010507070707" pitchFamily="18" charset="2"/>
                        </a:rPr>
                        <a:t> </a:t>
                      </a:r>
                      <a:r>
                        <a:rPr lang="en-GB" sz="1050" dirty="0"/>
                        <a:t>Pensions:</a:t>
                      </a:r>
                    </a:p>
                    <a:p>
                      <a:r>
                        <a:rPr lang="en-GB" sz="1050" dirty="0"/>
                        <a:t>£12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rgbClr val="FFC000"/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>
                          <a:sym typeface="Wingdings 2" panose="05020102010507070707" pitchFamily="18" charset="2"/>
                        </a:rPr>
                        <a:t> </a:t>
                      </a:r>
                      <a:r>
                        <a:rPr lang="en-GB" sz="1050" dirty="0"/>
                        <a:t>Student loan: £4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7356337"/>
                  </a:ext>
                </a:extLst>
              </a:tr>
              <a:tr h="385645"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chemeClr val="accent3"/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>
                          <a:sym typeface="Wingdings 2" panose="05020102010507070707" pitchFamily="18" charset="2"/>
                        </a:rPr>
                        <a:t> </a:t>
                      </a:r>
                      <a:r>
                        <a:rPr lang="en-GB" sz="1050" dirty="0"/>
                        <a:t>Investments: £12,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rgbClr val="FFFF00"/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>
                          <a:sym typeface="Wingdings 2" panose="05020102010507070707" pitchFamily="18" charset="2"/>
                        </a:rPr>
                        <a:t> </a:t>
                      </a:r>
                      <a:r>
                        <a:rPr lang="en-GB" sz="1050" dirty="0"/>
                        <a:t>Other debt:</a:t>
                      </a:r>
                    </a:p>
                    <a:p>
                      <a:r>
                        <a:rPr lang="en-GB" sz="1050" dirty="0"/>
                        <a:t>£5,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960281"/>
                  </a:ext>
                </a:extLst>
              </a:tr>
              <a:tr h="385645"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rgbClr val="7030A0"/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>
                          <a:sym typeface="Wingdings 2" panose="05020102010507070707" pitchFamily="18" charset="2"/>
                        </a:rPr>
                        <a:t> </a:t>
                      </a:r>
                      <a:r>
                        <a:rPr lang="en-GB" sz="1050" dirty="0"/>
                        <a:t>Cash:</a:t>
                      </a:r>
                    </a:p>
                    <a:p>
                      <a:r>
                        <a:rPr lang="en-GB" sz="1050" dirty="0"/>
                        <a:t>£1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rgbClr val="CF0000"/>
                          </a:solidFill>
                          <a:sym typeface="Wingdings 2" panose="05020102010507070707" pitchFamily="18" charset="2"/>
                        </a:rPr>
                        <a:t></a:t>
                      </a:r>
                      <a:r>
                        <a:rPr lang="en-GB" sz="1050" dirty="0">
                          <a:sym typeface="Wingdings 2" panose="05020102010507070707" pitchFamily="18" charset="2"/>
                        </a:rPr>
                        <a:t> </a:t>
                      </a:r>
                      <a:r>
                        <a:rPr lang="en-GB" sz="1050" dirty="0"/>
                        <a:t>Credit cards: £2,6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055053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2C7FC3E1-FFA9-7CEE-7197-9FD1C410C884}"/>
              </a:ext>
            </a:extLst>
          </p:cNvPr>
          <p:cNvSpPr txBox="1"/>
          <p:nvPr/>
        </p:nvSpPr>
        <p:spPr>
          <a:xfrm>
            <a:off x="3494405" y="5724256"/>
            <a:ext cx="914400" cy="3798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sz="1600" b="1" kern="100" spc="-30" dirty="0"/>
              <a:t>Your net worth</a:t>
            </a:r>
            <a:br>
              <a:rPr lang="en-GB" sz="1600" b="1" kern="100" spc="-30" dirty="0"/>
            </a:br>
            <a:r>
              <a:rPr lang="en-GB" sz="1200" b="1" dirty="0"/>
              <a:t>assets</a:t>
            </a:r>
            <a:r>
              <a:rPr lang="en-GB" sz="1200" b="1" kern="100" spc="-30" dirty="0"/>
              <a:t> – liabilities =</a:t>
            </a:r>
            <a:br>
              <a:rPr lang="en-GB" sz="1200" b="1" kern="100" spc="-30" dirty="0"/>
            </a:br>
            <a:r>
              <a:rPr lang="en-GB" sz="1200" b="1" kern="100" spc="-30" dirty="0"/>
              <a:t>£295,400</a:t>
            </a:r>
            <a:endParaRPr lang="en-GB" b="1" kern="100" spc="-3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1124B5-B419-3CFC-4731-0D7F91B5219E}"/>
              </a:ext>
            </a:extLst>
          </p:cNvPr>
          <p:cNvCxnSpPr>
            <a:cxnSpLocks/>
          </p:cNvCxnSpPr>
          <p:nvPr/>
        </p:nvCxnSpPr>
        <p:spPr>
          <a:xfrm>
            <a:off x="4149090" y="4194810"/>
            <a:ext cx="914400" cy="0"/>
          </a:xfrm>
          <a:prstGeom prst="line">
            <a:avLst/>
          </a:prstGeom>
          <a:ln w="19050">
            <a:solidFill>
              <a:schemeClr val="accent1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5F3F739-64E6-A17F-C696-42D1E2983FD3}"/>
              </a:ext>
            </a:extLst>
          </p:cNvPr>
          <p:cNvCxnSpPr>
            <a:cxnSpLocks/>
          </p:cNvCxnSpPr>
          <p:nvPr/>
        </p:nvCxnSpPr>
        <p:spPr>
          <a:xfrm>
            <a:off x="4514850" y="5004469"/>
            <a:ext cx="582825" cy="0"/>
          </a:xfrm>
          <a:prstGeom prst="line">
            <a:avLst/>
          </a:prstGeom>
          <a:ln w="19050">
            <a:solidFill>
              <a:schemeClr val="accent5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F29E48E-6D69-C70A-F13A-FA2E4E9D2BEE}"/>
              </a:ext>
            </a:extLst>
          </p:cNvPr>
          <p:cNvSpPr txBox="1"/>
          <p:nvPr/>
        </p:nvSpPr>
        <p:spPr>
          <a:xfrm>
            <a:off x="5181601" y="4115219"/>
            <a:ext cx="914400" cy="37989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None/>
            </a:pPr>
            <a:r>
              <a:rPr lang="en-GB" sz="1050" b="1" dirty="0"/>
              <a:t>Asse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8057E1D-1195-C682-E4CC-29F8C4646355}"/>
              </a:ext>
            </a:extLst>
          </p:cNvPr>
          <p:cNvSpPr txBox="1"/>
          <p:nvPr/>
        </p:nvSpPr>
        <p:spPr>
          <a:xfrm>
            <a:off x="5185411" y="4953419"/>
            <a:ext cx="914400" cy="37989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None/>
            </a:pPr>
            <a:r>
              <a:rPr lang="en-GB" sz="1050" b="1" dirty="0"/>
              <a:t>Liabiliti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589EAD-FA22-B8F6-932C-4B3975E0A680}"/>
              </a:ext>
            </a:extLst>
          </p:cNvPr>
          <p:cNvSpPr/>
          <p:nvPr/>
        </p:nvSpPr>
        <p:spPr>
          <a:xfrm>
            <a:off x="6035040" y="2073659"/>
            <a:ext cx="2270444" cy="418810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0"/>
              </a:spcBef>
            </a:pPr>
            <a:r>
              <a:rPr lang="en-GB" sz="1600" b="1" dirty="0">
                <a:solidFill>
                  <a:schemeClr val="tx1"/>
                </a:solidFill>
              </a:rPr>
              <a:t>Your spending plan:</a:t>
            </a:r>
          </a:p>
          <a:p>
            <a:pPr>
              <a:spcBef>
                <a:spcPts val="0"/>
              </a:spcBef>
            </a:pPr>
            <a:r>
              <a:rPr lang="en-GB" sz="1600" u="sng" dirty="0">
                <a:solidFill>
                  <a:schemeClr val="tx1"/>
                </a:solidFill>
              </a:rPr>
              <a:t>Total income:</a:t>
            </a:r>
            <a:endParaRPr lang="en-GB" sz="16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Matt’s salary: £45k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Deb’s salary: £45k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None/>
            </a:pPr>
            <a:r>
              <a:rPr lang="en-GB" sz="1600" u="sng" dirty="0">
                <a:solidFill>
                  <a:schemeClr val="tx1"/>
                </a:solidFill>
              </a:rPr>
              <a:t>Total expenditure</a:t>
            </a:r>
            <a:endParaRPr lang="en-GB" sz="16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None/>
            </a:pPr>
            <a:r>
              <a:rPr lang="en-GB" sz="1600" dirty="0">
                <a:solidFill>
                  <a:schemeClr val="tx1"/>
                </a:solidFill>
              </a:rPr>
              <a:t>Needs: £60k</a:t>
            </a:r>
            <a:r>
              <a:rPr lang="en-GB" sz="1100" dirty="0">
                <a:solidFill>
                  <a:schemeClr val="tx1"/>
                </a:solidFill>
              </a:rPr>
              <a:t> (65%)</a:t>
            </a:r>
            <a:endParaRPr lang="en-GB" sz="16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None/>
            </a:pPr>
            <a:r>
              <a:rPr lang="en-GB" sz="1600" dirty="0">
                <a:solidFill>
                  <a:schemeClr val="tx1"/>
                </a:solidFill>
              </a:rPr>
              <a:t>Wants: £22k</a:t>
            </a:r>
            <a:r>
              <a:rPr lang="en-GB" sz="1100" dirty="0">
                <a:solidFill>
                  <a:schemeClr val="tx1"/>
                </a:solidFill>
              </a:rPr>
              <a:t> (25%)</a:t>
            </a:r>
          </a:p>
          <a:p>
            <a:pPr>
              <a:spcBef>
                <a:spcPts val="0"/>
              </a:spcBef>
              <a:buNone/>
            </a:pPr>
            <a:r>
              <a:rPr lang="en-GB" sz="1600" dirty="0">
                <a:solidFill>
                  <a:schemeClr val="tx1"/>
                </a:solidFill>
              </a:rPr>
              <a:t>Financial goals: £8k </a:t>
            </a:r>
            <a:r>
              <a:rPr lang="en-GB" sz="1100" dirty="0">
                <a:solidFill>
                  <a:schemeClr val="tx1"/>
                </a:solidFill>
              </a:rPr>
              <a:t>(5%)</a:t>
            </a:r>
          </a:p>
          <a:p>
            <a:pPr>
              <a:spcBef>
                <a:spcPts val="0"/>
              </a:spcBef>
              <a:buNone/>
            </a:pPr>
            <a:endParaRPr lang="en-GB" sz="16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None/>
            </a:pPr>
            <a:r>
              <a:rPr lang="en-GB" sz="1600" u="sng" dirty="0">
                <a:solidFill>
                  <a:schemeClr val="tx1"/>
                </a:solidFill>
              </a:rPr>
              <a:t>Saving nets</a:t>
            </a:r>
          </a:p>
          <a:p>
            <a:pPr>
              <a:spcBef>
                <a:spcPts val="0"/>
              </a:spcBef>
              <a:buNone/>
            </a:pPr>
            <a:r>
              <a:rPr lang="en-GB" sz="1600" dirty="0">
                <a:solidFill>
                  <a:schemeClr val="tx1"/>
                </a:solidFill>
              </a:rPr>
              <a:t>Emergency fund: £8k</a:t>
            </a:r>
          </a:p>
          <a:p>
            <a:pPr>
              <a:spcBef>
                <a:spcPts val="0"/>
              </a:spcBef>
              <a:buNone/>
            </a:pPr>
            <a:r>
              <a:rPr lang="en-GB" sz="1600" dirty="0">
                <a:solidFill>
                  <a:schemeClr val="tx1"/>
                </a:solidFill>
              </a:rPr>
              <a:t>Transition funds: £4k</a:t>
            </a:r>
          </a:p>
          <a:p>
            <a:pPr>
              <a:spcBef>
                <a:spcPts val="0"/>
              </a:spcBef>
              <a:buNone/>
            </a:pPr>
            <a:endParaRPr lang="en-GB" sz="16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None/>
            </a:pPr>
            <a:r>
              <a:rPr lang="en-GB" sz="1600" u="sng" dirty="0">
                <a:solidFill>
                  <a:schemeClr val="tx1"/>
                </a:solidFill>
              </a:rPr>
              <a:t>Your money-mindset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Matt: Joy-seeker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Deb: Nurturer</a:t>
            </a:r>
          </a:p>
          <a:p>
            <a:pPr>
              <a:spcBef>
                <a:spcPts val="0"/>
              </a:spcBef>
              <a:buNone/>
            </a:pP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A1F7536-5FD5-406D-BD15-6591DDAD59F6}"/>
              </a:ext>
            </a:extLst>
          </p:cNvPr>
          <p:cNvSpPr/>
          <p:nvPr/>
        </p:nvSpPr>
        <p:spPr>
          <a:xfrm>
            <a:off x="8454073" y="2073659"/>
            <a:ext cx="3299141" cy="1874520"/>
          </a:xfrm>
          <a:prstGeom prst="rect">
            <a:avLst/>
          </a:prstGeom>
          <a:solidFill>
            <a:srgbClr val="D1E4F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0"/>
              </a:spcBef>
            </a:pPr>
            <a:r>
              <a:rPr lang="en-GB" sz="1600" b="1" dirty="0">
                <a:solidFill>
                  <a:schemeClr val="tx1"/>
                </a:solidFill>
              </a:rPr>
              <a:t>Overview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Goals unlikely achievable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Current expenditures deviate from 50-30-20 rule of thumb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Emergency funds sufficient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Protection against job-loss low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Savings rates low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087A8C6-7AEA-92BA-DDAE-504F7AFD0300}"/>
              </a:ext>
            </a:extLst>
          </p:cNvPr>
          <p:cNvSpPr/>
          <p:nvPr/>
        </p:nvSpPr>
        <p:spPr>
          <a:xfrm>
            <a:off x="8454072" y="4115219"/>
            <a:ext cx="3299141" cy="1874520"/>
          </a:xfrm>
          <a:prstGeom prst="rect">
            <a:avLst/>
          </a:prstGeom>
          <a:solidFill>
            <a:srgbClr val="D1E4F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0"/>
              </a:spcBef>
            </a:pPr>
            <a:r>
              <a:rPr lang="en-GB" sz="1600" b="1" dirty="0">
                <a:solidFill>
                  <a:schemeClr val="tx1"/>
                </a:solidFill>
              </a:rPr>
              <a:t>In next 12-18 month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Cut expenses on needs or increase income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Use ISAs to up transition fund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Spend more on arts and culture and time together to address money mindset and principles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E31261B-9F2F-2619-96C2-F59946C56AD2}"/>
              </a:ext>
            </a:extLst>
          </p:cNvPr>
          <p:cNvSpPr txBox="1"/>
          <p:nvPr/>
        </p:nvSpPr>
        <p:spPr>
          <a:xfrm>
            <a:off x="508159" y="835378"/>
            <a:ext cx="11525797" cy="313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600" kern="100" spc="-30" dirty="0"/>
              <a:t>We’ve designed this template to give you an idea of the </a:t>
            </a:r>
            <a:r>
              <a:rPr lang="en-GB" sz="1600" dirty="0"/>
              <a:t>things</a:t>
            </a:r>
            <a:r>
              <a:rPr lang="en-GB" sz="1600" kern="100" spc="-30" dirty="0"/>
              <a:t> you need to consider when creating a financial life plan – you can add your own details to create your personalised plan.</a:t>
            </a:r>
            <a:r>
              <a:rPr lang="en-GB" sz="1600" dirty="0"/>
              <a:t> (The figures used here are just an example for illustrative and educational purposes.)</a:t>
            </a:r>
          </a:p>
          <a:p>
            <a:endParaRPr lang="en-GB" kern="100" spc="-3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7BFA4F-F70F-B8C6-6A43-9C51AD9ECBFF}"/>
              </a:ext>
            </a:extLst>
          </p:cNvPr>
          <p:cNvSpPr txBox="1"/>
          <p:nvPr/>
        </p:nvSpPr>
        <p:spPr>
          <a:xfrm>
            <a:off x="0" y="6437376"/>
            <a:ext cx="10769249" cy="267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egon UK plc, registered office: Level 26, The Leadenhall Building, 122 Leadenhall Street, London, EC3V 4AB. Registered in England and Wales (No. 03679296). © 2026 Aegon UK plc </a:t>
            </a:r>
            <a:endParaRPr lang="en-GB" sz="120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99D35F0-7551-7E06-D287-059572F11520}"/>
              </a:ext>
            </a:extLst>
          </p:cNvPr>
          <p:cNvSpPr txBox="1">
            <a:spLocks/>
          </p:cNvSpPr>
          <p:nvPr/>
        </p:nvSpPr>
        <p:spPr>
          <a:xfrm>
            <a:off x="587375" y="1081422"/>
            <a:ext cx="9396000" cy="756000"/>
          </a:xfrm>
          <a:prstGeom prst="rect">
            <a:avLst/>
          </a:prstGeom>
        </p:spPr>
        <p:txBody>
          <a:bodyPr vert="horz" lIns="0" tIns="0" rIns="0" bIns="1764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281805"/>
              </a:buClr>
              <a:buFont typeface="Arial" panose="020B0604020202020204" pitchFamily="34" charset="0"/>
              <a:buChar char="​"/>
              <a:defRPr sz="10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5400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Wingdings" pitchFamily="2" charset="2"/>
              <a:buChar char="§"/>
              <a:defRPr sz="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400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Wingdings" pitchFamily="2" charset="2"/>
              <a:buChar char="§"/>
              <a:defRPr sz="800" b="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5400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Wingdings" pitchFamily="2" charset="2"/>
              <a:buChar char="§"/>
              <a:defRPr sz="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SzPct val="100000"/>
              <a:buFont typeface="Arial" panose="020E0502030303020204" pitchFamily="34" charset="0"/>
              <a:buChar char="–"/>
              <a:defRPr sz="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775" indent="-35877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SzPct val="90000"/>
              <a:buFont typeface="+mj-lt"/>
              <a:buAutoNum type="arabicPeriod"/>
              <a:tabLst/>
              <a:defRPr sz="18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rgbClr val="281805"/>
              </a:buClr>
              <a:buSzPct val="100000"/>
              <a:buFont typeface="Arial" panose="020E0502030303020204" pitchFamily="34" charset="0"/>
              <a:buChar char="–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360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281805"/>
              </a:buClr>
              <a:buFont typeface="+mj-lt"/>
              <a:buAutoNum type="alphaLcPeriod"/>
              <a:defRPr sz="18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Tx/>
              <a:buFont typeface="Arial" panose="02040503050406030204" pitchFamily="18" charset="0"/>
              <a:buChar char="–"/>
              <a:defRPr sz="1600" b="0" kern="100" spc="-30" baseline="0">
                <a:solidFill>
                  <a:srgbClr val="28180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en-GB" sz="1400" b="1" dirty="0"/>
          </a:p>
        </p:txBody>
      </p:sp>
    </p:spTree>
    <p:extLst>
      <p:ext uri="{BB962C8B-B14F-4D97-AF65-F5344CB8AC3E}">
        <p14:creationId xmlns:p14="http://schemas.microsoft.com/office/powerpoint/2010/main" val="942345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gon bu 2024">
  <a:themeElements>
    <a:clrScheme name="Aegon 2024">
      <a:dk1>
        <a:srgbClr val="000000"/>
      </a:dk1>
      <a:lt1>
        <a:srgbClr val="FFFFFF"/>
      </a:lt1>
      <a:dk2>
        <a:srgbClr val="1D2550"/>
      </a:dk2>
      <a:lt2>
        <a:srgbClr val="E5E4E0"/>
      </a:lt2>
      <a:accent1>
        <a:srgbClr val="278904"/>
      </a:accent1>
      <a:accent2>
        <a:srgbClr val="CC1AD4"/>
      </a:accent2>
      <a:accent3>
        <a:srgbClr val="187AC9"/>
      </a:accent3>
      <a:accent4>
        <a:srgbClr val="38179E"/>
      </a:accent4>
      <a:accent5>
        <a:srgbClr val="BA1C21"/>
      </a:accent5>
      <a:accent6>
        <a:srgbClr val="6F6B66"/>
      </a:accent6>
      <a:hlink>
        <a:srgbClr val="641EE0"/>
      </a:hlink>
      <a:folHlink>
        <a:srgbClr val="81368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1E4F4"/>
        </a:solidFill>
        <a:ln w="6350"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28180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kern="100" spc="-30" dirty="0" smtClean="0"/>
        </a:defPPr>
      </a:lstStyle>
    </a:txDef>
  </a:objectDefaults>
  <a:extraClrSchemeLst/>
  <a:custClrLst>
    <a:custClr name="White">
      <a:srgbClr val="FFFFFF"/>
    </a:custClr>
    <a:custClr name="Fresh Lime">
      <a:srgbClr val="E7FF00"/>
    </a:custClr>
    <a:custClr name="Grass Green">
      <a:srgbClr val="4CD300"/>
    </a:custClr>
    <a:custClr name="Hot Pink">
      <a:srgbClr val="FA69FF"/>
    </a:custClr>
    <a:custClr name="Sky Blue">
      <a:srgbClr val="63B6FF"/>
    </a:custClr>
    <a:custClr name="Lavender Purple">
      <a:srgbClr val="641EE0"/>
    </a:custClr>
    <a:custClr name="Crimson Red">
      <a:srgbClr val="CF0000"/>
    </a:custClr>
    <a:custClr name="Chocolate Brown">
      <a:srgbClr val="5E3930"/>
    </a:custClr>
    <a:custClr name="Forest Green">
      <a:srgbClr val="0B3F2D"/>
    </a:custClr>
    <a:custClr name="Night Blue">
      <a:srgbClr val="1D2550"/>
    </a:custClr>
    <a:custClr name="Dark Grass Green 120">
      <a:srgbClr val="276806"/>
    </a:custClr>
    <a:custClr name="Dark Grass Green">
      <a:srgbClr val="278904"/>
    </a:custClr>
    <a:custClr name="80%">
      <a:srgbClr val="52A136"/>
    </a:custClr>
    <a:custClr name="60%">
      <a:srgbClr val="7DB868"/>
    </a:custClr>
    <a:custClr name="40%">
      <a:srgbClr val="A9D09B"/>
    </a:custClr>
    <a:custClr name="20%">
      <a:srgbClr val="D4E7CD"/>
    </a:custClr>
    <a:custClr name="Dark Hot Pink 120">
      <a:srgbClr val="9E06A1"/>
    </a:custClr>
    <a:custClr name="Dark Hot Pink">
      <a:srgbClr val="CC1AD4"/>
    </a:custClr>
    <a:custClr name="80%">
      <a:srgbClr val="D648DD"/>
    </a:custClr>
    <a:custClr name="60%">
      <a:srgbClr val="E076E5"/>
    </a:custClr>
    <a:custClr name="40%">
      <a:srgbClr val="EBA3EE"/>
    </a:custClr>
    <a:custClr name="20%">
      <a:srgbClr val="F5D1F6"/>
    </a:custClr>
    <a:custClr name="Dark Sky Blue 120">
      <a:srgbClr val="066090"/>
    </a:custClr>
    <a:custClr name="Dark Sky Blue">
      <a:srgbClr val="187AC9"/>
    </a:custClr>
    <a:custClr name="80%">
      <a:srgbClr val="4695D4"/>
    </a:custClr>
    <a:custClr name="60%">
      <a:srgbClr val="74AFDF"/>
    </a:custClr>
    <a:custClr name="40%">
      <a:srgbClr val="A3CAE9"/>
    </a:custClr>
    <a:custClr name="20%">
      <a:srgbClr val="D1E4F4"/>
    </a:custClr>
    <a:custClr name="Dark Lavender Purple 120">
      <a:srgbClr val="361787"/>
    </a:custClr>
    <a:custClr name="Dark Lavender Purple">
      <a:srgbClr val="38179E"/>
    </a:custClr>
    <a:custClr name="80%">
      <a:srgbClr val="6045B1"/>
    </a:custClr>
    <a:custClr name="60%">
      <a:srgbClr val="8874C5"/>
    </a:custClr>
    <a:custClr name="40%">
      <a:srgbClr val="AFA2D8"/>
    </a:custClr>
    <a:custClr name="20%">
      <a:srgbClr val="D7D1EC"/>
    </a:custClr>
    <a:custClr name="Dark Crimson Red 120">
      <a:srgbClr val="B30606"/>
    </a:custClr>
    <a:custClr name="Dark Crimson Red">
      <a:srgbClr val="BA1C21"/>
    </a:custClr>
    <a:custClr name="80%">
      <a:srgbClr val="C8494D"/>
    </a:custClr>
    <a:custClr name="60%">
      <a:srgbClr val="D6777A"/>
    </a:custClr>
    <a:custClr name="40%">
      <a:srgbClr val="E3A4A6"/>
    </a:custClr>
    <a:custClr name="20%">
      <a:srgbClr val="F1D2D3"/>
    </a:custClr>
    <a:custClr name="Warm Grey 120">
      <a:srgbClr val="5F5B57"/>
    </a:custClr>
    <a:custClr name="Warm Grey">
      <a:srgbClr val="6F6B66"/>
    </a:custClr>
    <a:custClr name="80%">
      <a:srgbClr val="959185"/>
    </a:custClr>
    <a:custClr name="60%">
      <a:srgbClr val="B0ADA3"/>
    </a:custClr>
    <a:custClr name="40%">
      <a:srgbClr val="CAC8C2"/>
    </a:custClr>
    <a:custClr name="20%">
      <a:srgbClr val="E5E4E0"/>
    </a:custClr>
  </a:custClrLst>
</a:theme>
</file>

<file path=ppt/theme/theme2.xml><?xml version="1.0" encoding="utf-8"?>
<a:theme xmlns:a="http://schemas.openxmlformats.org/drawingml/2006/main" name="1_aegon bu 2024">
  <a:themeElements>
    <a:clrScheme name="Aegon 2024">
      <a:dk1>
        <a:srgbClr val="000000"/>
      </a:dk1>
      <a:lt1>
        <a:srgbClr val="FFFFFF"/>
      </a:lt1>
      <a:dk2>
        <a:srgbClr val="1D2550"/>
      </a:dk2>
      <a:lt2>
        <a:srgbClr val="E5E4E0"/>
      </a:lt2>
      <a:accent1>
        <a:srgbClr val="278904"/>
      </a:accent1>
      <a:accent2>
        <a:srgbClr val="CC1AD4"/>
      </a:accent2>
      <a:accent3>
        <a:srgbClr val="187AC9"/>
      </a:accent3>
      <a:accent4>
        <a:srgbClr val="38179E"/>
      </a:accent4>
      <a:accent5>
        <a:srgbClr val="BA1C21"/>
      </a:accent5>
      <a:accent6>
        <a:srgbClr val="6F6B66"/>
      </a:accent6>
      <a:hlink>
        <a:srgbClr val="641EE0"/>
      </a:hlink>
      <a:folHlink>
        <a:srgbClr val="81368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1E4F4"/>
        </a:solidFill>
        <a:ln w="6350"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28180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kern="100" spc="-30" dirty="0" smtClean="0"/>
        </a:defPPr>
      </a:lstStyle>
    </a:txDef>
  </a:objectDefaults>
  <a:extraClrSchemeLst/>
  <a:custClrLst>
    <a:custClr name="White">
      <a:srgbClr val="FFFFFF"/>
    </a:custClr>
    <a:custClr name="Fresh Lime">
      <a:srgbClr val="E7FF00"/>
    </a:custClr>
    <a:custClr name="Grass Green">
      <a:srgbClr val="4CD300"/>
    </a:custClr>
    <a:custClr name="Hot Pink">
      <a:srgbClr val="FA69FF"/>
    </a:custClr>
    <a:custClr name="Sky Blue">
      <a:srgbClr val="63B6FF"/>
    </a:custClr>
    <a:custClr name="Lavender Purple">
      <a:srgbClr val="641EE0"/>
    </a:custClr>
    <a:custClr name="Crimson Red">
      <a:srgbClr val="CF0000"/>
    </a:custClr>
    <a:custClr name="Chocolate Brown">
      <a:srgbClr val="5E3930"/>
    </a:custClr>
    <a:custClr name="Forest Green">
      <a:srgbClr val="0B3F2D"/>
    </a:custClr>
    <a:custClr name="Night Blue">
      <a:srgbClr val="1D2550"/>
    </a:custClr>
    <a:custClr name="Dark Grass Green 120">
      <a:srgbClr val="276806"/>
    </a:custClr>
    <a:custClr name="Dark Grass Green">
      <a:srgbClr val="278904"/>
    </a:custClr>
    <a:custClr name="80%">
      <a:srgbClr val="52A136"/>
    </a:custClr>
    <a:custClr name="60%">
      <a:srgbClr val="7DB868"/>
    </a:custClr>
    <a:custClr name="40%">
      <a:srgbClr val="A9D09B"/>
    </a:custClr>
    <a:custClr name="20%">
      <a:srgbClr val="D4E7CD"/>
    </a:custClr>
    <a:custClr name="Dark Hot Pink 120">
      <a:srgbClr val="9E06A1"/>
    </a:custClr>
    <a:custClr name="Dark Hot Pink">
      <a:srgbClr val="CC1AD4"/>
    </a:custClr>
    <a:custClr name="80%">
      <a:srgbClr val="D648DD"/>
    </a:custClr>
    <a:custClr name="60%">
      <a:srgbClr val="E076E5"/>
    </a:custClr>
    <a:custClr name="40%">
      <a:srgbClr val="EBA3EE"/>
    </a:custClr>
    <a:custClr name="20%">
      <a:srgbClr val="F5D1F6"/>
    </a:custClr>
    <a:custClr name="Dark Sky Blue 120">
      <a:srgbClr val="066090"/>
    </a:custClr>
    <a:custClr name="Dark Sky Blue">
      <a:srgbClr val="187AC9"/>
    </a:custClr>
    <a:custClr name="80%">
      <a:srgbClr val="4695D4"/>
    </a:custClr>
    <a:custClr name="60%">
      <a:srgbClr val="74AFDF"/>
    </a:custClr>
    <a:custClr name="40%">
      <a:srgbClr val="A3CAE9"/>
    </a:custClr>
    <a:custClr name="20%">
      <a:srgbClr val="D1E4F4"/>
    </a:custClr>
    <a:custClr name="Dark Lavender Purple 120">
      <a:srgbClr val="361787"/>
    </a:custClr>
    <a:custClr name="Dark Lavender Purple">
      <a:srgbClr val="38179E"/>
    </a:custClr>
    <a:custClr name="80%">
      <a:srgbClr val="6045B1"/>
    </a:custClr>
    <a:custClr name="60%">
      <a:srgbClr val="8874C5"/>
    </a:custClr>
    <a:custClr name="40%">
      <a:srgbClr val="AFA2D8"/>
    </a:custClr>
    <a:custClr name="20%">
      <a:srgbClr val="D7D1EC"/>
    </a:custClr>
    <a:custClr name="Dark Crimson Red 120">
      <a:srgbClr val="B30606"/>
    </a:custClr>
    <a:custClr name="Dark Crimson Red">
      <a:srgbClr val="BA1C21"/>
    </a:custClr>
    <a:custClr name="80%">
      <a:srgbClr val="C8494D"/>
    </a:custClr>
    <a:custClr name="60%">
      <a:srgbClr val="D6777A"/>
    </a:custClr>
    <a:custClr name="40%">
      <a:srgbClr val="E3A4A6"/>
    </a:custClr>
    <a:custClr name="20%">
      <a:srgbClr val="F1D2D3"/>
    </a:custClr>
    <a:custClr name="Warm Grey 120">
      <a:srgbClr val="5F5B57"/>
    </a:custClr>
    <a:custClr name="Warm Grey">
      <a:srgbClr val="6F6B66"/>
    </a:custClr>
    <a:custClr name="80%">
      <a:srgbClr val="959185"/>
    </a:custClr>
    <a:custClr name="60%">
      <a:srgbClr val="B0ADA3"/>
    </a:custClr>
    <a:custClr name="40%">
      <a:srgbClr val="CAC8C2"/>
    </a:custClr>
    <a:custClr name="20%">
      <a:srgbClr val="E5E4E0"/>
    </a:custClr>
  </a:custClrLst>
  <a:extLst>
    <a:ext uri="{05A4C25C-085E-4340-85A3-A5531E510DB2}">
      <thm15:themeFamily xmlns:thm15="http://schemas.microsoft.com/office/thememl/2012/main" name="MM Template" id="{9EA7ACE6-4FC1-4A32-BA64-F64676BA79FD}" vid="{C704DBA7-8AB4-4195-AFDE-E571AF49D7F1}"/>
    </a:ext>
  </a:extLst>
</a:theme>
</file>

<file path=ppt/theme/theme3.xml><?xml version="1.0" encoding="utf-8"?>
<a:theme xmlns:a="http://schemas.openxmlformats.org/drawingml/2006/main" name="aegon 2024">
  <a:themeElements>
    <a:clrScheme name="Aegon 2024">
      <a:dk1>
        <a:srgbClr val="000000"/>
      </a:dk1>
      <a:lt1>
        <a:srgbClr val="FFFFFF"/>
      </a:lt1>
      <a:dk2>
        <a:srgbClr val="1D2550"/>
      </a:dk2>
      <a:lt2>
        <a:srgbClr val="E5E4E0"/>
      </a:lt2>
      <a:accent1>
        <a:srgbClr val="278904"/>
      </a:accent1>
      <a:accent2>
        <a:srgbClr val="CC1AD4"/>
      </a:accent2>
      <a:accent3>
        <a:srgbClr val="187AC9"/>
      </a:accent3>
      <a:accent4>
        <a:srgbClr val="38179E"/>
      </a:accent4>
      <a:accent5>
        <a:srgbClr val="BA1C21"/>
      </a:accent5>
      <a:accent6>
        <a:srgbClr val="6F6B66"/>
      </a:accent6>
      <a:hlink>
        <a:srgbClr val="641EE0"/>
      </a:hlink>
      <a:folHlink>
        <a:srgbClr val="81368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28180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0800" tIns="50800" rIns="50800" bIns="50800" rtlCol="0">
        <a:noAutofit/>
      </a:bodyPr>
      <a:lstStyle>
        <a:defPPr algn="l">
          <a:defRPr kern="100" spc="-30" smtClean="0"/>
        </a:defPPr>
      </a:lstStyle>
    </a:txDef>
  </a:objectDefaults>
  <a:extraClrSchemeLst/>
  <a:custClrLst>
    <a:custClr name="White">
      <a:srgbClr val="FFFFFF"/>
    </a:custClr>
    <a:custClr name="Fresh Lime">
      <a:srgbClr val="E7FF00"/>
    </a:custClr>
    <a:custClr name="Grass Green">
      <a:srgbClr val="4CD300"/>
    </a:custClr>
    <a:custClr name="Hot Pink">
      <a:srgbClr val="FA69FF"/>
    </a:custClr>
    <a:custClr name="Sky Blue">
      <a:srgbClr val="63B6FF"/>
    </a:custClr>
    <a:custClr name="Lavender Purple">
      <a:srgbClr val="641EE0"/>
    </a:custClr>
    <a:custClr name="Crimson Red">
      <a:srgbClr val="CF0000"/>
    </a:custClr>
    <a:custClr name="Chocolate Brown">
      <a:srgbClr val="5E3930"/>
    </a:custClr>
    <a:custClr name="Forest Green">
      <a:srgbClr val="0B3F2D"/>
    </a:custClr>
    <a:custClr name="Night Blue">
      <a:srgbClr val="1D2550"/>
    </a:custClr>
    <a:custClr name="Dark Grass Green 120">
      <a:srgbClr val="276806"/>
    </a:custClr>
    <a:custClr name="Dark Grass Green">
      <a:srgbClr val="278904"/>
    </a:custClr>
    <a:custClr name="80%">
      <a:srgbClr val="52A136"/>
    </a:custClr>
    <a:custClr name="60%">
      <a:srgbClr val="7DB868"/>
    </a:custClr>
    <a:custClr name="40%">
      <a:srgbClr val="A9D09B"/>
    </a:custClr>
    <a:custClr name="20%">
      <a:srgbClr val="D4E7CD"/>
    </a:custClr>
    <a:custClr name="Dark Hot Pink 120">
      <a:srgbClr val="9E06A1"/>
    </a:custClr>
    <a:custClr name="Dark Hot Pink">
      <a:srgbClr val="CC1AD4"/>
    </a:custClr>
    <a:custClr name="80%">
      <a:srgbClr val="D648DD"/>
    </a:custClr>
    <a:custClr name="60%">
      <a:srgbClr val="E076E5"/>
    </a:custClr>
    <a:custClr name="40%">
      <a:srgbClr val="EBA3EE"/>
    </a:custClr>
    <a:custClr name="20%">
      <a:srgbClr val="F5D1F6"/>
    </a:custClr>
    <a:custClr name="Dark Sky Blue 120">
      <a:srgbClr val="066090"/>
    </a:custClr>
    <a:custClr name="Dark Sky Blue">
      <a:srgbClr val="187AC9"/>
    </a:custClr>
    <a:custClr name="80%">
      <a:srgbClr val="4695D4"/>
    </a:custClr>
    <a:custClr name="60%">
      <a:srgbClr val="74AFDF"/>
    </a:custClr>
    <a:custClr name="40%">
      <a:srgbClr val="A3CAE9"/>
    </a:custClr>
    <a:custClr name="20%">
      <a:srgbClr val="D1E4F4"/>
    </a:custClr>
    <a:custClr name="Dark Lavender Purple 120">
      <a:srgbClr val="361787"/>
    </a:custClr>
    <a:custClr name="Dark Lavender Purple">
      <a:srgbClr val="38179E"/>
    </a:custClr>
    <a:custClr name="80%">
      <a:srgbClr val="6045B1"/>
    </a:custClr>
    <a:custClr name="60%">
      <a:srgbClr val="8874C5"/>
    </a:custClr>
    <a:custClr name="40%">
      <a:srgbClr val="AFA2D8"/>
    </a:custClr>
    <a:custClr name="20%">
      <a:srgbClr val="D7D1EC"/>
    </a:custClr>
    <a:custClr name="Dark Crimson Red 120">
      <a:srgbClr val="B30606"/>
    </a:custClr>
    <a:custClr name="Dark Crimson Red">
      <a:srgbClr val="BA1C21"/>
    </a:custClr>
    <a:custClr name="80%">
      <a:srgbClr val="C8494D"/>
    </a:custClr>
    <a:custClr name="60%">
      <a:srgbClr val="D6777A"/>
    </a:custClr>
    <a:custClr name="40%">
      <a:srgbClr val="E3A4A6"/>
    </a:custClr>
    <a:custClr name="20%">
      <a:srgbClr val="F1D2D3"/>
    </a:custClr>
    <a:custClr name="Warm Grey 120">
      <a:srgbClr val="5F5B57"/>
    </a:custClr>
    <a:custClr name="Warm Grey">
      <a:srgbClr val="6F6B66"/>
    </a:custClr>
    <a:custClr name="80%">
      <a:srgbClr val="959185"/>
    </a:custClr>
    <a:custClr name="60%">
      <a:srgbClr val="B0ADA3"/>
    </a:custClr>
    <a:custClr name="40%">
      <a:srgbClr val="CAC8C2"/>
    </a:custClr>
    <a:custClr name="20%">
      <a:srgbClr val="E5E4E0"/>
    </a:custClr>
  </a:custClrLst>
</a:theme>
</file>

<file path=ppt/theme/theme4.xml><?xml version="1.0" encoding="utf-8"?>
<a:theme xmlns:a="http://schemas.openxmlformats.org/drawingml/2006/main" name="aegon 2024">
  <a:themeElements>
    <a:clrScheme name="Aegon 2024">
      <a:dk1>
        <a:srgbClr val="000000"/>
      </a:dk1>
      <a:lt1>
        <a:srgbClr val="FFFFFF"/>
      </a:lt1>
      <a:dk2>
        <a:srgbClr val="1D2550"/>
      </a:dk2>
      <a:lt2>
        <a:srgbClr val="E5E4E0"/>
      </a:lt2>
      <a:accent1>
        <a:srgbClr val="278904"/>
      </a:accent1>
      <a:accent2>
        <a:srgbClr val="CC1AD4"/>
      </a:accent2>
      <a:accent3>
        <a:srgbClr val="187AC9"/>
      </a:accent3>
      <a:accent4>
        <a:srgbClr val="38179E"/>
      </a:accent4>
      <a:accent5>
        <a:srgbClr val="BA1C21"/>
      </a:accent5>
      <a:accent6>
        <a:srgbClr val="6F6B66"/>
      </a:accent6>
      <a:hlink>
        <a:srgbClr val="641EE0"/>
      </a:hlink>
      <a:folHlink>
        <a:srgbClr val="81368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28180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0800" tIns="50800" rIns="50800" bIns="50800" rtlCol="0">
        <a:noAutofit/>
      </a:bodyPr>
      <a:lstStyle>
        <a:defPPr algn="l">
          <a:defRPr kern="100" spc="-30" smtClean="0"/>
        </a:defPPr>
      </a:lstStyle>
    </a:txDef>
  </a:objectDefaults>
  <a:extraClrSchemeLst/>
  <a:custClrLst>
    <a:custClr name="White">
      <a:srgbClr val="FFFFFF"/>
    </a:custClr>
    <a:custClr name="Fresh Lime">
      <a:srgbClr val="E7FF00"/>
    </a:custClr>
    <a:custClr name="Grass Green">
      <a:srgbClr val="4CD300"/>
    </a:custClr>
    <a:custClr name="Hot Pink">
      <a:srgbClr val="FA69FF"/>
    </a:custClr>
    <a:custClr name="Sky Blue">
      <a:srgbClr val="63B6FF"/>
    </a:custClr>
    <a:custClr name="Lavender Purple">
      <a:srgbClr val="641EE0"/>
    </a:custClr>
    <a:custClr name="Crimson Red">
      <a:srgbClr val="CF0000"/>
    </a:custClr>
    <a:custClr name="Chocolate Brown">
      <a:srgbClr val="5E3930"/>
    </a:custClr>
    <a:custClr name="Forest Green">
      <a:srgbClr val="0B3F2D"/>
    </a:custClr>
    <a:custClr name="Night Blue">
      <a:srgbClr val="1D2550"/>
    </a:custClr>
    <a:custClr name="Dark Grass Green 120">
      <a:srgbClr val="276806"/>
    </a:custClr>
    <a:custClr name="Dark Grass Green">
      <a:srgbClr val="278904"/>
    </a:custClr>
    <a:custClr name="80%">
      <a:srgbClr val="52A136"/>
    </a:custClr>
    <a:custClr name="60%">
      <a:srgbClr val="7DB868"/>
    </a:custClr>
    <a:custClr name="40%">
      <a:srgbClr val="A9D09B"/>
    </a:custClr>
    <a:custClr name="20%">
      <a:srgbClr val="D4E7CD"/>
    </a:custClr>
    <a:custClr name="Dark Hot Pink 120">
      <a:srgbClr val="9E06A1"/>
    </a:custClr>
    <a:custClr name="Dark Hot Pink">
      <a:srgbClr val="CC1AD4"/>
    </a:custClr>
    <a:custClr name="80%">
      <a:srgbClr val="D648DD"/>
    </a:custClr>
    <a:custClr name="60%">
      <a:srgbClr val="E076E5"/>
    </a:custClr>
    <a:custClr name="40%">
      <a:srgbClr val="EBA3EE"/>
    </a:custClr>
    <a:custClr name="20%">
      <a:srgbClr val="F5D1F6"/>
    </a:custClr>
    <a:custClr name="Dark Sky Blue 120">
      <a:srgbClr val="066090"/>
    </a:custClr>
    <a:custClr name="Dark Sky Blue">
      <a:srgbClr val="187AC9"/>
    </a:custClr>
    <a:custClr name="80%">
      <a:srgbClr val="4695D4"/>
    </a:custClr>
    <a:custClr name="60%">
      <a:srgbClr val="74AFDF"/>
    </a:custClr>
    <a:custClr name="40%">
      <a:srgbClr val="A3CAE9"/>
    </a:custClr>
    <a:custClr name="20%">
      <a:srgbClr val="D1E4F4"/>
    </a:custClr>
    <a:custClr name="Dark Lavender Purple 120">
      <a:srgbClr val="361787"/>
    </a:custClr>
    <a:custClr name="Dark Lavender Purple">
      <a:srgbClr val="38179E"/>
    </a:custClr>
    <a:custClr name="80%">
      <a:srgbClr val="6045B1"/>
    </a:custClr>
    <a:custClr name="60%">
      <a:srgbClr val="8874C5"/>
    </a:custClr>
    <a:custClr name="40%">
      <a:srgbClr val="AFA2D8"/>
    </a:custClr>
    <a:custClr name="20%">
      <a:srgbClr val="D7D1EC"/>
    </a:custClr>
    <a:custClr name="Dark Crimson Red 120">
      <a:srgbClr val="B30606"/>
    </a:custClr>
    <a:custClr name="Dark Crimson Red">
      <a:srgbClr val="BA1C21"/>
    </a:custClr>
    <a:custClr name="80%">
      <a:srgbClr val="C8494D"/>
    </a:custClr>
    <a:custClr name="60%">
      <a:srgbClr val="D6777A"/>
    </a:custClr>
    <a:custClr name="40%">
      <a:srgbClr val="E3A4A6"/>
    </a:custClr>
    <a:custClr name="20%">
      <a:srgbClr val="F1D2D3"/>
    </a:custClr>
    <a:custClr name="Warm Grey 120">
      <a:srgbClr val="5F5B57"/>
    </a:custClr>
    <a:custClr name="Warm Grey">
      <a:srgbClr val="6F6B66"/>
    </a:custClr>
    <a:custClr name="80%">
      <a:srgbClr val="959185"/>
    </a:custClr>
    <a:custClr name="60%">
      <a:srgbClr val="B0ADA3"/>
    </a:custClr>
    <a:custClr name="40%">
      <a:srgbClr val="CAC8C2"/>
    </a:custClr>
    <a:custClr name="20%">
      <a:srgbClr val="E5E4E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1992746470714CAD9CE5DF3CB9B854" ma:contentTypeVersion="22" ma:contentTypeDescription="Create a new document." ma:contentTypeScope="" ma:versionID="0f37be7c4b5f9f6dab26fa0dd8cdc49f">
  <xsd:schema xmlns:xsd="http://www.w3.org/2001/XMLSchema" xmlns:xs="http://www.w3.org/2001/XMLSchema" xmlns:p="http://schemas.microsoft.com/office/2006/metadata/properties" xmlns:ns1="http://schemas.microsoft.com/sharepoint/v3" xmlns:ns2="8960e48e-6218-48c3-8de8-6112787a01af" xmlns:ns3="8be50da4-64b4-453a-8fd0-0bab19044a5d" xmlns:ns4="bfe6e0b6-a5a6-435d-956e-8490d4b03c3e" targetNamespace="http://schemas.microsoft.com/office/2006/metadata/properties" ma:root="true" ma:fieldsID="9c9e58b4f2427b7df834edc67ca5c4c8" ns1:_="" ns2:_="" ns3:_="" ns4:_="">
    <xsd:import namespace="http://schemas.microsoft.com/sharepoint/v3"/>
    <xsd:import namespace="8960e48e-6218-48c3-8de8-6112787a01af"/>
    <xsd:import namespace="8be50da4-64b4-453a-8fd0-0bab19044a5d"/>
    <xsd:import namespace="bfe6e0b6-a5a6-435d-956e-8490d4b03c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60e48e-6218-48c3-8de8-6112787a01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33ecf46e-890a-4d8f-8227-d99d79ddb8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28" nillable="true" ma:displayName="Sign-off status" ma:internalName="Sign_x002d_off_x0020_status">
      <xsd:simpleType>
        <xsd:restriction base="dms:Text"/>
      </xsd:simpleType>
    </xsd:element>
    <xsd:element name="MediaServiceBillingMetadata" ma:index="2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e50da4-64b4-453a-8fd0-0bab19044a5d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e6e0b6-a5a6-435d-956e-8490d4b03c3e" elementFormDefault="qualified">
    <xsd:import namespace="http://schemas.microsoft.com/office/2006/documentManagement/types"/>
    <xsd:import namespace="http://schemas.microsoft.com/office/infopath/2007/PartnerControls"/>
    <xsd:element name="TaxCatchAll" ma:index="25" nillable="true" ma:displayName="Taxonomy Catch All Column" ma:hidden="true" ma:list="{91dc8cf4-9745-4532-a3a2-c75d73d3108a}" ma:internalName="TaxCatchAll" ma:showField="CatchAllData" ma:web="8be50da4-64b4-453a-8fd0-0bab19044a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bfe6e0b6-a5a6-435d-956e-8490d4b03c3e" xsi:nil="true"/>
    <lcf76f155ced4ddcb4097134ff3c332f xmlns="8960e48e-6218-48c3-8de8-6112787a01af">
      <Terms xmlns="http://schemas.microsoft.com/office/infopath/2007/PartnerControls"/>
    </lcf76f155ced4ddcb4097134ff3c332f>
    <_Flow_SignoffStatus xmlns="8960e48e-6218-48c3-8de8-6112787a01af" xsi:nil="true"/>
    <SharedWithUsers xmlns="8be50da4-64b4-453a-8fd0-0bab19044a5d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037AA49-A9B9-43FF-8776-4650CED3C4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5143A4-7C33-4861-82F4-69632947BF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960e48e-6218-48c3-8de8-6112787a01af"/>
    <ds:schemaRef ds:uri="8be50da4-64b4-453a-8fd0-0bab19044a5d"/>
    <ds:schemaRef ds:uri="bfe6e0b6-a5a6-435d-956e-8490d4b03c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87B9F05-37E0-4F35-828D-076429559AB8}">
  <ds:schemaRefs>
    <ds:schemaRef ds:uri="http://schemas.microsoft.com/sharepoint/v3"/>
    <ds:schemaRef ds:uri="http://purl.org/dc/terms/"/>
    <ds:schemaRef ds:uri="8960e48e-6218-48c3-8de8-6112787a01af"/>
    <ds:schemaRef ds:uri="http://schemas.microsoft.com/office/2006/documentManagement/types"/>
    <ds:schemaRef ds:uri="bfe6e0b6-a5a6-435d-956e-8490d4b03c3e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be50da4-64b4-453a-8fd0-0bab19044a5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7</TotalTime>
  <Words>334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Wingdings</vt:lpstr>
      <vt:lpstr>Wingdings 2</vt:lpstr>
      <vt:lpstr>aegon bu 2024</vt:lpstr>
      <vt:lpstr>1_aegon bu 2024</vt:lpstr>
      <vt:lpstr>think-cell Slide</vt:lpstr>
      <vt:lpstr>Sample financial life plan     For members only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lhorst, Cindi</dc:creator>
  <dc:description>august 2023</dc:description>
  <cp:lastModifiedBy>Hutton, Jennifer</cp:lastModifiedBy>
  <cp:revision>6</cp:revision>
  <cp:lastPrinted>2022-11-30T15:12:21Z</cp:lastPrinted>
  <dcterms:created xsi:type="dcterms:W3CDTF">2022-10-03T11:42:27Z</dcterms:created>
  <dcterms:modified xsi:type="dcterms:W3CDTF">2026-06-04T09:1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1992746470714CAD9CE5DF3CB9B854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